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2.xml" ContentType="application/vnd.openxmlformats-officedocument.theme+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3.xml" ContentType="application/vnd.openxmlformats-officedocument.theme+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4.xml" ContentType="application/vnd.openxmlformats-officedocument.theme+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theme/theme5.xml" ContentType="application/vnd.openxmlformats-officedocument.theme+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theme/theme6.xml" ContentType="application/vnd.openxmlformats-officedocument.theme+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theme/theme7.xml" ContentType="application/vnd.openxmlformats-officedocument.theme+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theme/theme8.xml" ContentType="application/vnd.openxmlformats-officedocument.theme+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theme/theme9.xml" ContentType="application/vnd.openxmlformats-officedocument.theme+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theme/theme10.xml" ContentType="application/vnd.openxmlformats-officedocument.theme+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theme/theme11.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theme/theme12.xml" ContentType="application/vnd.openxmlformats-officedocument.theme+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theme/theme13.xml" ContentType="application/vnd.openxmlformats-officedocument.theme+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theme/theme14.xml" ContentType="application/vnd.openxmlformats-officedocument.theme+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theme/theme15.xml" ContentType="application/vnd.openxmlformats-officedocument.theme+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theme/theme16.xml" ContentType="application/vnd.openxmlformats-officedocument.theme+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theme/theme17.xml" ContentType="application/vnd.openxmlformats-officedocument.theme+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theme/theme18.xml" ContentType="application/vnd.openxmlformats-officedocument.theme+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theme/theme19.xml" ContentType="application/vnd.openxmlformats-officedocument.theme+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theme/theme20.xml" ContentType="application/vnd.openxmlformats-officedocument.theme+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theme/theme21.xml" ContentType="application/vnd.openxmlformats-officedocument.theme+xml"/>
  <Override PartName="/ppt/theme/theme22.xml" ContentType="application/vnd.openxmlformats-officedocument.theme+xml"/>
  <Override PartName="/ppt/theme/theme2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47.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7" r:id="rId4"/>
    <p:sldMasterId id="2147483834" r:id="rId5"/>
    <p:sldMasterId id="2147483845" r:id="rId6"/>
    <p:sldMasterId id="2147483857" r:id="rId7"/>
    <p:sldMasterId id="2147483871" r:id="rId8"/>
    <p:sldMasterId id="2147483883" r:id="rId9"/>
    <p:sldMasterId id="2147483897" r:id="rId10"/>
    <p:sldMasterId id="2147483919" r:id="rId11"/>
    <p:sldMasterId id="2147483931" r:id="rId12"/>
    <p:sldMasterId id="2147483943" r:id="rId13"/>
    <p:sldMasterId id="2147483955" r:id="rId14"/>
    <p:sldMasterId id="2147483962" r:id="rId15"/>
    <p:sldMasterId id="2147483969" r:id="rId16"/>
    <p:sldMasterId id="2147483981" r:id="rId17"/>
    <p:sldMasterId id="2147483993" r:id="rId18"/>
    <p:sldMasterId id="2147484005" r:id="rId19"/>
    <p:sldMasterId id="2147484017" r:id="rId20"/>
    <p:sldMasterId id="2147484028" r:id="rId21"/>
    <p:sldMasterId id="2147484039" r:id="rId22"/>
    <p:sldMasterId id="2147484059" r:id="rId23"/>
    <p:sldMasterId id="2147484071" r:id="rId24"/>
  </p:sldMasterIdLst>
  <p:notesMasterIdLst>
    <p:notesMasterId r:id="rId40"/>
  </p:notesMasterIdLst>
  <p:handoutMasterIdLst>
    <p:handoutMasterId r:id="rId41"/>
  </p:handoutMasterIdLst>
  <p:sldIdLst>
    <p:sldId id="361" r:id="rId25"/>
    <p:sldId id="428" r:id="rId26"/>
    <p:sldId id="420" r:id="rId27"/>
    <p:sldId id="414" r:id="rId28"/>
    <p:sldId id="403" r:id="rId29"/>
    <p:sldId id="427" r:id="rId30"/>
    <p:sldId id="425" r:id="rId31"/>
    <p:sldId id="370" r:id="rId32"/>
    <p:sldId id="416" r:id="rId33"/>
    <p:sldId id="383" r:id="rId34"/>
    <p:sldId id="406" r:id="rId35"/>
    <p:sldId id="400" r:id="rId36"/>
    <p:sldId id="408" r:id="rId37"/>
    <p:sldId id="409" r:id="rId38"/>
    <p:sldId id="410" r:id="rId39"/>
  </p:sldIdLst>
  <p:sldSz cx="9144000" cy="6858000" type="screen4x3"/>
  <p:notesSz cx="7010400" cy="9296400"/>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249">
          <p15:clr>
            <a:srgbClr val="A4A3A4"/>
          </p15:clr>
        </p15:guide>
        <p15:guide id="2" orient="horz" pos="653">
          <p15:clr>
            <a:srgbClr val="A4A3A4"/>
          </p15:clr>
        </p15:guide>
        <p15:guide id="3" orient="horz" pos="845">
          <p15:clr>
            <a:srgbClr val="A4A3A4"/>
          </p15:clr>
        </p15:guide>
        <p15:guide id="4" orient="horz" pos="822">
          <p15:clr>
            <a:srgbClr val="A4A3A4"/>
          </p15:clr>
        </p15:guide>
        <p15:guide id="5" orient="horz" pos="4065">
          <p15:clr>
            <a:srgbClr val="A4A3A4"/>
          </p15:clr>
        </p15:guide>
        <p15:guide id="6" orient="horz" pos="4178">
          <p15:clr>
            <a:srgbClr val="A4A3A4"/>
          </p15:clr>
        </p15:guide>
        <p15:guide id="7" orient="horz" pos="3793">
          <p15:clr>
            <a:srgbClr val="A4A3A4"/>
          </p15:clr>
        </p15:guide>
        <p15:guide id="8" orient="horz" pos="1412">
          <p15:clr>
            <a:srgbClr val="A4A3A4"/>
          </p15:clr>
        </p15:guide>
        <p15:guide id="9" orient="horz" pos="3657">
          <p15:clr>
            <a:srgbClr val="A4A3A4"/>
          </p15:clr>
        </p15:guide>
        <p15:guide id="10" pos="2880">
          <p15:clr>
            <a:srgbClr val="A4A3A4"/>
          </p15:clr>
        </p15:guide>
        <p15:guide id="11" pos="589">
          <p15:clr>
            <a:srgbClr val="A4A3A4"/>
          </p15:clr>
        </p15:guide>
        <p15:guide id="12" pos="5216">
          <p15:clr>
            <a:srgbClr val="A4A3A4"/>
          </p15:clr>
        </p15:guide>
        <p15:guide id="13" pos="5465">
          <p15:clr>
            <a:srgbClr val="A4A3A4"/>
          </p15:clr>
        </p15:guide>
        <p15:guide id="14" pos="295">
          <p15:clr>
            <a:srgbClr val="A4A3A4"/>
          </p15:clr>
        </p15:guide>
        <p15:guide id="15" pos="3334">
          <p15:clr>
            <a:srgbClr val="A4A3A4"/>
          </p15:clr>
        </p15:guide>
        <p15:guide id="16" pos="4346">
          <p15:clr>
            <a:srgbClr val="A4A3A4"/>
          </p15:clr>
        </p15:guide>
        <p15:guide id="17" pos="2641">
          <p15:clr>
            <a:srgbClr val="A4A3A4"/>
          </p15:clr>
        </p15:guide>
        <p15:guide id="18" pos="551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Devi Aung" initials="DA" lastIdx="7" clrIdx="0">
    <p:extLst>
      <p:ext uri="{19B8F6BF-5375-455C-9EA6-DF929625EA0E}">
        <p15:presenceInfo xmlns:p15="http://schemas.microsoft.com/office/powerpoint/2012/main" userId="S-1-5-21-3739340596-210742464-1625893697-12520" providerId="AD"/>
      </p:ext>
    </p:extLst>
  </p:cmAuthor>
  <p:cmAuthor id="2" name="Sara Sa Silva" initials="SSS" lastIdx="9" clrIdx="1">
    <p:extLst>
      <p:ext uri="{19B8F6BF-5375-455C-9EA6-DF929625EA0E}">
        <p15:presenceInfo xmlns:p15="http://schemas.microsoft.com/office/powerpoint/2012/main" userId="S-1-5-21-3739340596-210742464-1625893697-2022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7A9"/>
    <a:srgbClr val="41B6E6"/>
    <a:srgbClr val="005A70"/>
    <a:srgbClr val="000000"/>
    <a:srgbClr val="646363"/>
    <a:srgbClr val="878787"/>
    <a:srgbClr val="A8A8A7"/>
    <a:srgbClr val="C6C6C6"/>
    <a:srgbClr val="EAAA00"/>
    <a:srgbClr val="D8601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337" autoAdjust="0"/>
    <p:restoredTop sz="81508" autoAdjust="0"/>
  </p:normalViewPr>
  <p:slideViewPr>
    <p:cSldViewPr snapToGrid="0">
      <p:cViewPr varScale="1">
        <p:scale>
          <a:sx n="61" d="100"/>
          <a:sy n="61" d="100"/>
        </p:scale>
        <p:origin x="1584" y="60"/>
      </p:cViewPr>
      <p:guideLst>
        <p:guide orient="horz" pos="3249"/>
        <p:guide orient="horz" pos="653"/>
        <p:guide orient="horz" pos="845"/>
        <p:guide orient="horz" pos="822"/>
        <p:guide orient="horz" pos="4065"/>
        <p:guide orient="horz" pos="4178"/>
        <p:guide orient="horz" pos="3793"/>
        <p:guide orient="horz" pos="1412"/>
        <p:guide orient="horz" pos="3657"/>
        <p:guide pos="2880"/>
        <p:guide pos="589"/>
        <p:guide pos="5216"/>
        <p:guide pos="5465"/>
        <p:guide pos="295"/>
        <p:guide pos="3334"/>
        <p:guide pos="4346"/>
        <p:guide pos="2641"/>
        <p:guide pos="5511"/>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Master" Target="slideMasters/slideMaster10.xml"/><Relationship Id="rId18" Type="http://schemas.openxmlformats.org/officeDocument/2006/relationships/slideMaster" Target="slideMasters/slideMaster15.xml"/><Relationship Id="rId26" Type="http://schemas.openxmlformats.org/officeDocument/2006/relationships/slide" Target="slides/slide2.xml"/><Relationship Id="rId39" Type="http://schemas.openxmlformats.org/officeDocument/2006/relationships/slide" Target="slides/slide15.xml"/><Relationship Id="rId3" Type="http://schemas.openxmlformats.org/officeDocument/2006/relationships/customXml" Target="../customXml/item3.xml"/><Relationship Id="rId21" Type="http://schemas.openxmlformats.org/officeDocument/2006/relationships/slideMaster" Target="slideMasters/slideMaster18.xml"/><Relationship Id="rId34" Type="http://schemas.openxmlformats.org/officeDocument/2006/relationships/slide" Target="slides/slide10.xml"/><Relationship Id="rId42" Type="http://schemas.openxmlformats.org/officeDocument/2006/relationships/commentAuthors" Target="commentAuthors.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 Target="slides/slide1.xml"/><Relationship Id="rId33" Type="http://schemas.openxmlformats.org/officeDocument/2006/relationships/slide" Target="slides/slide9.xml"/><Relationship Id="rId38" Type="http://schemas.openxmlformats.org/officeDocument/2006/relationships/slide" Target="slides/slide14.xml"/><Relationship Id="rId46"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Master" Target="slideMasters/slideMaster13.xml"/><Relationship Id="rId20" Type="http://schemas.openxmlformats.org/officeDocument/2006/relationships/slideMaster" Target="slideMasters/slideMaster17.xml"/><Relationship Id="rId29" Type="http://schemas.openxmlformats.org/officeDocument/2006/relationships/slide" Target="slides/slide5.xml"/><Relationship Id="rId41"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Master" Target="slideMasters/slideMaster21.xml"/><Relationship Id="rId32" Type="http://schemas.openxmlformats.org/officeDocument/2006/relationships/slide" Target="slides/slide8.xml"/><Relationship Id="rId37" Type="http://schemas.openxmlformats.org/officeDocument/2006/relationships/slide" Target="slides/slide13.xml"/><Relationship Id="rId40" Type="http://schemas.openxmlformats.org/officeDocument/2006/relationships/notesMaster" Target="notesMasters/notesMaster1.xml"/><Relationship Id="rId45"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Master" Target="slideMasters/slideMaster20.xml"/><Relationship Id="rId28" Type="http://schemas.openxmlformats.org/officeDocument/2006/relationships/slide" Target="slides/slide4.xml"/><Relationship Id="rId36" Type="http://schemas.openxmlformats.org/officeDocument/2006/relationships/slide" Target="slides/slide12.xml"/><Relationship Id="rId10" Type="http://schemas.openxmlformats.org/officeDocument/2006/relationships/slideMaster" Target="slideMasters/slideMaster7.xml"/><Relationship Id="rId19" Type="http://schemas.openxmlformats.org/officeDocument/2006/relationships/slideMaster" Target="slideMasters/slideMaster16.xml"/><Relationship Id="rId31" Type="http://schemas.openxmlformats.org/officeDocument/2006/relationships/slide" Target="slides/slide7.xml"/><Relationship Id="rId44"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Master" Target="slideMasters/slideMaster19.xml"/><Relationship Id="rId27" Type="http://schemas.openxmlformats.org/officeDocument/2006/relationships/slide" Target="slides/slide3.xml"/><Relationship Id="rId30" Type="http://schemas.openxmlformats.org/officeDocument/2006/relationships/slide" Target="slides/slide6.xml"/><Relationship Id="rId35" Type="http://schemas.openxmlformats.org/officeDocument/2006/relationships/slide" Target="slides/slide11.xml"/><Relationship Id="rId43" Type="http://schemas.openxmlformats.org/officeDocument/2006/relationships/presProps" Target="presProps.xml"/></Relationships>
</file>

<file path=ppt/charts/_rels/chart1.xml.rels><?xml version="1.0" encoding="UTF-8" standalone="yes"?>
<Relationships xmlns="http://schemas.openxmlformats.org/package/2006/relationships"><Relationship Id="rId3" Type="http://schemas.openxmlformats.org/officeDocument/2006/relationships/oleObject" Target="Book1" TargetMode="External"/><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1" i="0" u="none" strike="noStrike" kern="1200" spc="0" baseline="0">
                <a:solidFill>
                  <a:schemeClr val="tx1">
                    <a:lumMod val="75000"/>
                    <a:lumOff val="25000"/>
                  </a:schemeClr>
                </a:solidFill>
                <a:latin typeface="+mn-lt"/>
                <a:ea typeface="+mn-ea"/>
                <a:cs typeface="+mn-cs"/>
              </a:defRPr>
            </a:pPr>
            <a:r>
              <a:rPr lang="fr-CH" sz="1200" b="1">
                <a:solidFill>
                  <a:schemeClr val="tx1">
                    <a:lumMod val="75000"/>
                    <a:lumOff val="25000"/>
                  </a:schemeClr>
                </a:solidFill>
              </a:rPr>
              <a:t>Immunisation</a:t>
            </a:r>
            <a:r>
              <a:rPr lang="fr-CH" sz="1200" b="1" baseline="0">
                <a:solidFill>
                  <a:schemeClr val="tx1">
                    <a:lumMod val="75000"/>
                    <a:lumOff val="25000"/>
                  </a:schemeClr>
                </a:solidFill>
              </a:rPr>
              <a:t> </a:t>
            </a:r>
            <a:r>
              <a:rPr lang="fr-CH" sz="1200" b="1" baseline="0" err="1">
                <a:solidFill>
                  <a:schemeClr val="tx1">
                    <a:lumMod val="75000"/>
                    <a:lumOff val="25000"/>
                  </a:schemeClr>
                </a:solidFill>
              </a:rPr>
              <a:t>coverage</a:t>
            </a:r>
            <a:r>
              <a:rPr lang="fr-CH" sz="1200" b="1" baseline="0">
                <a:solidFill>
                  <a:schemeClr val="tx1">
                    <a:lumMod val="75000"/>
                    <a:lumOff val="25000"/>
                  </a:schemeClr>
                </a:solidFill>
              </a:rPr>
              <a:t> in Gavi 73 countries, 2000-2016</a:t>
            </a:r>
            <a:endParaRPr lang="en-GB" sz="1200" b="1">
              <a:solidFill>
                <a:schemeClr val="tx1">
                  <a:lumMod val="75000"/>
                  <a:lumOff val="25000"/>
                </a:schemeClr>
              </a:solidFill>
            </a:endParaRPr>
          </a:p>
        </c:rich>
      </c:tx>
      <c:layout/>
      <c:overlay val="0"/>
      <c:spPr>
        <a:noFill/>
        <a:ln>
          <a:noFill/>
        </a:ln>
        <a:effectLst/>
      </c:spPr>
      <c:txPr>
        <a:bodyPr rot="0" spcFirstLastPara="1" vertOverflow="ellipsis" vert="horz" wrap="square" anchor="ctr" anchorCtr="1"/>
        <a:lstStyle/>
        <a:p>
          <a:pPr>
            <a:defRPr sz="1200" b="1" i="0" u="none" strike="noStrike" kern="1200" spc="0" baseline="0">
              <a:solidFill>
                <a:schemeClr val="tx1">
                  <a:lumMod val="75000"/>
                  <a:lumOff val="25000"/>
                </a:schemeClr>
              </a:solidFill>
              <a:latin typeface="+mn-lt"/>
              <a:ea typeface="+mn-ea"/>
              <a:cs typeface="+mn-cs"/>
            </a:defRPr>
          </a:pPr>
          <a:endParaRPr lang="en-US"/>
        </a:p>
      </c:txPr>
    </c:title>
    <c:autoTitleDeleted val="0"/>
    <c:plotArea>
      <c:layout/>
      <c:lineChart>
        <c:grouping val="standard"/>
        <c:varyColors val="0"/>
        <c:ser>
          <c:idx val="0"/>
          <c:order val="0"/>
          <c:tx>
            <c:strRef>
              <c:f>Sheet1!$B$4</c:f>
              <c:strCache>
                <c:ptCount val="1"/>
                <c:pt idx="0">
                  <c:v>MCV1</c:v>
                </c:pt>
              </c:strCache>
            </c:strRef>
          </c:tx>
          <c:spPr>
            <a:ln w="28575" cap="rnd">
              <a:solidFill>
                <a:srgbClr val="00B050"/>
              </a:solidFill>
              <a:round/>
            </a:ln>
            <a:effectLst/>
          </c:spPr>
          <c:marker>
            <c:symbol val="none"/>
          </c:marker>
          <c:cat>
            <c:numRef>
              <c:f>Sheet1!$C$3:$S$3</c:f>
              <c:numCache>
                <c:formatCode>General</c:formatCode>
                <c:ptCount val="17"/>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numCache>
            </c:numRef>
          </c:cat>
          <c:val>
            <c:numRef>
              <c:f>Sheet1!$C$4:$S$4</c:f>
              <c:numCache>
                <c:formatCode>0%</c:formatCode>
                <c:ptCount val="17"/>
                <c:pt idx="0">
                  <c:v>0.59353685767936304</c:v>
                </c:pt>
                <c:pt idx="1">
                  <c:v>0.60191451940386398</c:v>
                </c:pt>
                <c:pt idx="2">
                  <c:v>0.60020705227744497</c:v>
                </c:pt>
                <c:pt idx="3">
                  <c:v>0.62654421605955102</c:v>
                </c:pt>
                <c:pt idx="4">
                  <c:v>0.65855614550936503</c:v>
                </c:pt>
                <c:pt idx="5">
                  <c:v>0.68618544028258199</c:v>
                </c:pt>
                <c:pt idx="6">
                  <c:v>0.69677255535940597</c:v>
                </c:pt>
                <c:pt idx="7">
                  <c:v>0.70628962380235805</c:v>
                </c:pt>
                <c:pt idx="8">
                  <c:v>0.72408516080523999</c:v>
                </c:pt>
                <c:pt idx="9">
                  <c:v>0.755946156744848</c:v>
                </c:pt>
                <c:pt idx="10">
                  <c:v>0.77898693282185105</c:v>
                </c:pt>
                <c:pt idx="11">
                  <c:v>0.77663317652601405</c:v>
                </c:pt>
                <c:pt idx="12">
                  <c:v>0.76996163345401503</c:v>
                </c:pt>
                <c:pt idx="13">
                  <c:v>0.76879500770023701</c:v>
                </c:pt>
                <c:pt idx="14">
                  <c:v>0.775849479250587</c:v>
                </c:pt>
                <c:pt idx="15">
                  <c:v>0.78070887490281105</c:v>
                </c:pt>
                <c:pt idx="16">
                  <c:v>0.78329584195251001</c:v>
                </c:pt>
              </c:numCache>
            </c:numRef>
          </c:val>
          <c:smooth val="0"/>
          <c:extLst xmlns:c16r2="http://schemas.microsoft.com/office/drawing/2015/06/chart">
            <c:ext xmlns:c16="http://schemas.microsoft.com/office/drawing/2014/chart" uri="{C3380CC4-5D6E-409C-BE32-E72D297353CC}">
              <c16:uniqueId val="{00000000-1006-42BE-854D-F6A60AE7A80B}"/>
            </c:ext>
          </c:extLst>
        </c:ser>
        <c:ser>
          <c:idx val="1"/>
          <c:order val="1"/>
          <c:tx>
            <c:strRef>
              <c:f>Sheet1!$B$5</c:f>
              <c:strCache>
                <c:ptCount val="1"/>
                <c:pt idx="0">
                  <c:v>MCV2</c:v>
                </c:pt>
              </c:strCache>
            </c:strRef>
          </c:tx>
          <c:spPr>
            <a:ln w="28575" cap="rnd">
              <a:solidFill>
                <a:srgbClr val="92D050"/>
              </a:solidFill>
              <a:round/>
            </a:ln>
            <a:effectLst/>
          </c:spPr>
          <c:marker>
            <c:symbol val="none"/>
          </c:marker>
          <c:cat>
            <c:numRef>
              <c:f>Sheet1!$C$3:$S$3</c:f>
              <c:numCache>
                <c:formatCode>General</c:formatCode>
                <c:ptCount val="17"/>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numCache>
            </c:numRef>
          </c:cat>
          <c:val>
            <c:numRef>
              <c:f>Sheet1!$C$5:$S$5</c:f>
              <c:numCache>
                <c:formatCode>0%</c:formatCode>
                <c:ptCount val="17"/>
                <c:pt idx="0">
                  <c:v>2.0598562716792598E-2</c:v>
                </c:pt>
                <c:pt idx="1">
                  <c:v>2.41527032841743E-2</c:v>
                </c:pt>
                <c:pt idx="2">
                  <c:v>2.61080056408317E-2</c:v>
                </c:pt>
                <c:pt idx="3">
                  <c:v>3.9318041018571503E-2</c:v>
                </c:pt>
                <c:pt idx="4">
                  <c:v>4.5079727141414998E-2</c:v>
                </c:pt>
                <c:pt idx="5">
                  <c:v>4.3117286972911797E-2</c:v>
                </c:pt>
                <c:pt idx="6">
                  <c:v>6.08468038575114E-2</c:v>
                </c:pt>
                <c:pt idx="7">
                  <c:v>7.5276546799330199E-2</c:v>
                </c:pt>
                <c:pt idx="8">
                  <c:v>9.9165725798869897E-2</c:v>
                </c:pt>
                <c:pt idx="9">
                  <c:v>0.11582239186859</c:v>
                </c:pt>
                <c:pt idx="10">
                  <c:v>0.13765915287257399</c:v>
                </c:pt>
                <c:pt idx="11">
                  <c:v>0.236963235305826</c:v>
                </c:pt>
                <c:pt idx="12">
                  <c:v>0.28053339356131701</c:v>
                </c:pt>
                <c:pt idx="13">
                  <c:v>0.35921806620890101</c:v>
                </c:pt>
                <c:pt idx="14">
                  <c:v>0.37810018029879799</c:v>
                </c:pt>
                <c:pt idx="15">
                  <c:v>0.43576200969258699</c:v>
                </c:pt>
                <c:pt idx="16">
                  <c:v>0.50101084946769703</c:v>
                </c:pt>
              </c:numCache>
            </c:numRef>
          </c:val>
          <c:smooth val="0"/>
          <c:extLst xmlns:c16r2="http://schemas.microsoft.com/office/drawing/2015/06/chart">
            <c:ext xmlns:c16="http://schemas.microsoft.com/office/drawing/2014/chart" uri="{C3380CC4-5D6E-409C-BE32-E72D297353CC}">
              <c16:uniqueId val="{00000001-1006-42BE-854D-F6A60AE7A80B}"/>
            </c:ext>
          </c:extLst>
        </c:ser>
        <c:ser>
          <c:idx val="2"/>
          <c:order val="2"/>
          <c:tx>
            <c:strRef>
              <c:f>Sheet1!$B$6</c:f>
              <c:strCache>
                <c:ptCount val="1"/>
                <c:pt idx="0">
                  <c:v>DTP3</c:v>
                </c:pt>
              </c:strCache>
            </c:strRef>
          </c:tx>
          <c:spPr>
            <a:ln w="28575" cap="rnd">
              <a:solidFill>
                <a:schemeClr val="accent3"/>
              </a:solidFill>
              <a:round/>
            </a:ln>
            <a:effectLst/>
          </c:spPr>
          <c:marker>
            <c:symbol val="none"/>
          </c:marker>
          <c:cat>
            <c:numRef>
              <c:f>Sheet1!$C$3:$S$3</c:f>
              <c:numCache>
                <c:formatCode>General</c:formatCode>
                <c:ptCount val="17"/>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numCache>
            </c:numRef>
          </c:cat>
          <c:val>
            <c:numRef>
              <c:f>Sheet1!$C$6:$S$6</c:f>
              <c:numCache>
                <c:formatCode>0%</c:formatCode>
                <c:ptCount val="17"/>
                <c:pt idx="0">
                  <c:v>0.59935490559759197</c:v>
                </c:pt>
                <c:pt idx="1">
                  <c:v>0.60740382196798004</c:v>
                </c:pt>
                <c:pt idx="2">
                  <c:v>0.605964854679376</c:v>
                </c:pt>
                <c:pt idx="3">
                  <c:v>0.63202113805057003</c:v>
                </c:pt>
                <c:pt idx="4">
                  <c:v>0.65771841548933596</c:v>
                </c:pt>
                <c:pt idx="5">
                  <c:v>0.68054026897551601</c:v>
                </c:pt>
                <c:pt idx="6">
                  <c:v>0.690865940570626</c:v>
                </c:pt>
                <c:pt idx="7">
                  <c:v>0.70004082422377201</c:v>
                </c:pt>
                <c:pt idx="8">
                  <c:v>0.72568226530550095</c:v>
                </c:pt>
                <c:pt idx="9">
                  <c:v>0.75889038317553303</c:v>
                </c:pt>
                <c:pt idx="10">
                  <c:v>0.77794082079084204</c:v>
                </c:pt>
                <c:pt idx="11">
                  <c:v>0.782984733665543</c:v>
                </c:pt>
                <c:pt idx="12">
                  <c:v>0.781965796120346</c:v>
                </c:pt>
                <c:pt idx="13">
                  <c:v>0.77985322342263597</c:v>
                </c:pt>
                <c:pt idx="14">
                  <c:v>0.79340046753314297</c:v>
                </c:pt>
                <c:pt idx="15">
                  <c:v>0.79797500959231704</c:v>
                </c:pt>
                <c:pt idx="16">
                  <c:v>0.80221482313784198</c:v>
                </c:pt>
              </c:numCache>
            </c:numRef>
          </c:val>
          <c:smooth val="0"/>
          <c:extLst xmlns:c16r2="http://schemas.microsoft.com/office/drawing/2015/06/chart">
            <c:ext xmlns:c16="http://schemas.microsoft.com/office/drawing/2014/chart" uri="{C3380CC4-5D6E-409C-BE32-E72D297353CC}">
              <c16:uniqueId val="{00000002-1006-42BE-854D-F6A60AE7A80B}"/>
            </c:ext>
          </c:extLst>
        </c:ser>
        <c:dLbls>
          <c:showLegendKey val="0"/>
          <c:showVal val="0"/>
          <c:showCatName val="0"/>
          <c:showSerName val="0"/>
          <c:showPercent val="0"/>
          <c:showBubbleSize val="0"/>
        </c:dLbls>
        <c:smooth val="0"/>
        <c:axId val="732807360"/>
        <c:axId val="732807752"/>
      </c:lineChart>
      <c:catAx>
        <c:axId val="73280736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732807752"/>
        <c:crosses val="autoZero"/>
        <c:auto val="1"/>
        <c:lblAlgn val="ctr"/>
        <c:lblOffset val="100"/>
        <c:noMultiLvlLbl val="0"/>
      </c:catAx>
      <c:valAx>
        <c:axId val="732807752"/>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732807360"/>
        <c:crosses val="autoZero"/>
        <c:crossBetween val="between"/>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4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2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sz="quarter" idx="1"/>
          </p:nvPr>
        </p:nvSpPr>
        <p:spPr>
          <a:xfrm>
            <a:off x="3970938" y="0"/>
            <a:ext cx="3037840" cy="466434"/>
          </a:xfrm>
          <a:prstGeom prst="rect">
            <a:avLst/>
          </a:prstGeom>
        </p:spPr>
        <p:txBody>
          <a:bodyPr vert="horz" lIns="93177" tIns="46589" rIns="93177" bIns="46589" rtlCol="0"/>
          <a:lstStyle>
            <a:lvl1pPr algn="r">
              <a:defRPr sz="1200"/>
            </a:lvl1pPr>
          </a:lstStyle>
          <a:p>
            <a:fld id="{AECB5671-84FB-4F41-89CB-D0B9BC827BB6}" type="datetimeFigureOut">
              <a:rPr lang="en-US" smtClean="0"/>
              <a:t>9/7/2017</a:t>
            </a:fld>
            <a:endParaRPr lang="en-US"/>
          </a:p>
        </p:txBody>
      </p:sp>
      <p:sp>
        <p:nvSpPr>
          <p:cNvPr id="4" name="Footer Placeholder 3"/>
          <p:cNvSpPr>
            <a:spLocks noGrp="1"/>
          </p:cNvSpPr>
          <p:nvPr>
            <p:ph type="ftr" sz="quarter" idx="2"/>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5" name="Slide Number Placeholder 4"/>
          <p:cNvSpPr>
            <a:spLocks noGrp="1"/>
          </p:cNvSpPr>
          <p:nvPr>
            <p:ph type="sldNum" sz="quarter" idx="3"/>
          </p:nvPr>
        </p:nvSpPr>
        <p:spPr>
          <a:xfrm>
            <a:off x="3970938" y="8829967"/>
            <a:ext cx="3037840" cy="466433"/>
          </a:xfrm>
          <a:prstGeom prst="rect">
            <a:avLst/>
          </a:prstGeom>
        </p:spPr>
        <p:txBody>
          <a:bodyPr vert="horz" lIns="93177" tIns="46589" rIns="93177" bIns="46589" rtlCol="0" anchor="b"/>
          <a:lstStyle>
            <a:lvl1pPr algn="r">
              <a:defRPr sz="1200"/>
            </a:lvl1pPr>
          </a:lstStyle>
          <a:p>
            <a:fld id="{2EB9CDFF-6FE0-474F-B3F6-21822AD1E162}" type="slidenum">
              <a:rPr lang="en-US" smtClean="0"/>
              <a:t>‹#›</a:t>
            </a:fld>
            <a:endParaRPr lang="en-US"/>
          </a:p>
        </p:txBody>
      </p:sp>
    </p:spTree>
    <p:extLst>
      <p:ext uri="{BB962C8B-B14F-4D97-AF65-F5344CB8AC3E}">
        <p14:creationId xmlns:p14="http://schemas.microsoft.com/office/powerpoint/2010/main" val="307582992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3037840" cy="464820"/>
          </a:xfrm>
          <a:prstGeom prst="rect">
            <a:avLst/>
          </a:prstGeom>
        </p:spPr>
        <p:txBody>
          <a:bodyPr vert="horz" lIns="93177" tIns="46589" rIns="93177" bIns="46589" rtlCol="0"/>
          <a:lstStyle>
            <a:lvl1pPr algn="l">
              <a:defRPr sz="1200">
                <a:latin typeface="Arial" pitchFamily="34" charset="0"/>
              </a:defRPr>
            </a:lvl1pPr>
          </a:lstStyle>
          <a:p>
            <a:endParaRPr lang="fr-FR"/>
          </a:p>
        </p:txBody>
      </p:sp>
      <p:sp>
        <p:nvSpPr>
          <p:cNvPr id="3" name="Espace réservé de la date 2"/>
          <p:cNvSpPr>
            <a:spLocks noGrp="1"/>
          </p:cNvSpPr>
          <p:nvPr>
            <p:ph type="dt" idx="1"/>
          </p:nvPr>
        </p:nvSpPr>
        <p:spPr>
          <a:xfrm>
            <a:off x="3970938" y="0"/>
            <a:ext cx="3037840" cy="464820"/>
          </a:xfrm>
          <a:prstGeom prst="rect">
            <a:avLst/>
          </a:prstGeom>
        </p:spPr>
        <p:txBody>
          <a:bodyPr vert="horz" lIns="93177" tIns="46589" rIns="93177" bIns="46589" rtlCol="0"/>
          <a:lstStyle>
            <a:lvl1pPr algn="r">
              <a:defRPr sz="1200">
                <a:latin typeface="Arial" pitchFamily="34" charset="0"/>
              </a:defRPr>
            </a:lvl1pPr>
          </a:lstStyle>
          <a:p>
            <a:fld id="{D680E798-53FF-4C51-A981-953463752515}" type="datetimeFigureOut">
              <a:rPr lang="fr-FR" smtClean="0"/>
              <a:pPr/>
              <a:t>07/09/2017</a:t>
            </a:fld>
            <a:endParaRPr lang="fr-FR"/>
          </a:p>
        </p:txBody>
      </p:sp>
      <p:sp>
        <p:nvSpPr>
          <p:cNvPr id="4" name="Espace réservé de l'image des diapositives 3"/>
          <p:cNvSpPr>
            <a:spLocks noGrp="1" noRot="1" noChangeAspect="1"/>
          </p:cNvSpPr>
          <p:nvPr>
            <p:ph type="sldImg" idx="2"/>
          </p:nvPr>
        </p:nvSpPr>
        <p:spPr>
          <a:xfrm>
            <a:off x="1181100" y="696913"/>
            <a:ext cx="4648200" cy="3486150"/>
          </a:xfrm>
          <a:prstGeom prst="rect">
            <a:avLst/>
          </a:prstGeom>
          <a:noFill/>
          <a:ln w="12700">
            <a:solidFill>
              <a:prstClr val="black"/>
            </a:solidFill>
          </a:ln>
        </p:spPr>
        <p:txBody>
          <a:bodyPr vert="horz" lIns="93177" tIns="46589" rIns="93177" bIns="46589" rtlCol="0" anchor="ctr"/>
          <a:lstStyle/>
          <a:p>
            <a:endParaRPr lang="fr-FR"/>
          </a:p>
        </p:txBody>
      </p:sp>
      <p:sp>
        <p:nvSpPr>
          <p:cNvPr id="5" name="Espace réservé des commentaires 4"/>
          <p:cNvSpPr>
            <a:spLocks noGrp="1"/>
          </p:cNvSpPr>
          <p:nvPr>
            <p:ph type="body" sz="quarter" idx="3"/>
          </p:nvPr>
        </p:nvSpPr>
        <p:spPr>
          <a:xfrm>
            <a:off x="701040" y="4415790"/>
            <a:ext cx="5608320" cy="4183380"/>
          </a:xfrm>
          <a:prstGeom prst="rect">
            <a:avLst/>
          </a:prstGeom>
        </p:spPr>
        <p:txBody>
          <a:bodyPr vert="horz" lIns="93177" tIns="46589" rIns="93177" bIns="46589" rtlCol="0">
            <a:norm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6" name="Espace réservé du pied de page 5"/>
          <p:cNvSpPr>
            <a:spLocks noGrp="1"/>
          </p:cNvSpPr>
          <p:nvPr>
            <p:ph type="ftr" sz="quarter" idx="4"/>
          </p:nvPr>
        </p:nvSpPr>
        <p:spPr>
          <a:xfrm>
            <a:off x="0" y="8829967"/>
            <a:ext cx="3037840" cy="464820"/>
          </a:xfrm>
          <a:prstGeom prst="rect">
            <a:avLst/>
          </a:prstGeom>
        </p:spPr>
        <p:txBody>
          <a:bodyPr vert="horz" lIns="93177" tIns="46589" rIns="93177" bIns="46589" rtlCol="0" anchor="b"/>
          <a:lstStyle>
            <a:lvl1pPr algn="l">
              <a:defRPr sz="1200">
                <a:latin typeface="Arial" pitchFamily="34" charset="0"/>
              </a:defRPr>
            </a:lvl1pPr>
          </a:lstStyle>
          <a:p>
            <a:endParaRPr lang="fr-FR"/>
          </a:p>
        </p:txBody>
      </p:sp>
      <p:sp>
        <p:nvSpPr>
          <p:cNvPr id="7" name="Espace réservé du numéro de diapositive 6"/>
          <p:cNvSpPr>
            <a:spLocks noGrp="1"/>
          </p:cNvSpPr>
          <p:nvPr>
            <p:ph type="sldNum" sz="quarter" idx="5"/>
          </p:nvPr>
        </p:nvSpPr>
        <p:spPr>
          <a:xfrm>
            <a:off x="3970938" y="8829967"/>
            <a:ext cx="3037840" cy="464820"/>
          </a:xfrm>
          <a:prstGeom prst="rect">
            <a:avLst/>
          </a:prstGeom>
        </p:spPr>
        <p:txBody>
          <a:bodyPr vert="horz" lIns="93177" tIns="46589" rIns="93177" bIns="46589" rtlCol="0" anchor="b"/>
          <a:lstStyle>
            <a:lvl1pPr algn="r">
              <a:defRPr sz="1200">
                <a:latin typeface="Arial" pitchFamily="34" charset="0"/>
              </a:defRPr>
            </a:lvl1pPr>
          </a:lstStyle>
          <a:p>
            <a:fld id="{1B06CD8F-B7ED-4A05-9FB1-A01CC0EF02CC}" type="slidenum">
              <a:rPr lang="fr-FR" smtClean="0"/>
              <a:pPr/>
              <a:t>‹#›</a:t>
            </a:fld>
            <a:endParaRPr lang="fr-FR"/>
          </a:p>
        </p:txBody>
      </p:sp>
    </p:spTree>
    <p:extLst>
      <p:ext uri="{BB962C8B-B14F-4D97-AF65-F5344CB8AC3E}">
        <p14:creationId xmlns:p14="http://schemas.microsoft.com/office/powerpoint/2010/main" val="264938691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Arial" pitchFamily="34" charset="0"/>
        <a:ea typeface="+mn-ea"/>
        <a:cs typeface="+mn-cs"/>
      </a:defRPr>
    </a:lvl1pPr>
    <a:lvl2pPr marL="457200" algn="l" defTabSz="914400" rtl="0" eaLnBrk="1" latinLnBrk="0" hangingPunct="1">
      <a:defRPr sz="1200" kern="1200">
        <a:solidFill>
          <a:schemeClr val="tx1"/>
        </a:solidFill>
        <a:latin typeface="Arial" pitchFamily="34" charset="0"/>
        <a:ea typeface="+mn-ea"/>
        <a:cs typeface="+mn-cs"/>
      </a:defRPr>
    </a:lvl2pPr>
    <a:lvl3pPr marL="914400" algn="l" defTabSz="914400" rtl="0" eaLnBrk="1" latinLnBrk="0" hangingPunct="1">
      <a:defRPr sz="1200" kern="1200">
        <a:solidFill>
          <a:schemeClr val="tx1"/>
        </a:solidFill>
        <a:latin typeface="Arial" pitchFamily="34" charset="0"/>
        <a:ea typeface="+mn-ea"/>
        <a:cs typeface="+mn-cs"/>
      </a:defRPr>
    </a:lvl3pPr>
    <a:lvl4pPr marL="1371600" algn="l" defTabSz="914400" rtl="0" eaLnBrk="1" latinLnBrk="0" hangingPunct="1">
      <a:defRPr sz="1200" kern="1200">
        <a:solidFill>
          <a:schemeClr val="tx1"/>
        </a:solidFill>
        <a:latin typeface="Arial" pitchFamily="34" charset="0"/>
        <a:ea typeface="+mn-ea"/>
        <a:cs typeface="+mn-cs"/>
      </a:defRPr>
    </a:lvl4pPr>
    <a:lvl5pPr marL="1828800" algn="l" defTabSz="914400" rtl="0" eaLnBrk="1" latinLnBrk="0" hangingPunct="1">
      <a:defRPr sz="1200" kern="1200">
        <a:solidFill>
          <a:schemeClr val="tx1"/>
        </a:solidFill>
        <a:latin typeface="Arial"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pt-PT" dirty="0" smtClean="0"/>
              <a:t>- Introductory</a:t>
            </a:r>
            <a:r>
              <a:rPr lang="pt-PT" baseline="0" dirty="0" smtClean="0"/>
              <a:t> remarks by Michael</a:t>
            </a:r>
            <a:endParaRPr lang="en-GB" dirty="0"/>
          </a:p>
        </p:txBody>
      </p:sp>
      <p:sp>
        <p:nvSpPr>
          <p:cNvPr id="4" name="Slide Number Placeholder 3"/>
          <p:cNvSpPr>
            <a:spLocks noGrp="1"/>
          </p:cNvSpPr>
          <p:nvPr>
            <p:ph type="sldNum" sz="quarter" idx="10"/>
          </p:nvPr>
        </p:nvSpPr>
        <p:spPr/>
        <p:txBody>
          <a:bodyPr/>
          <a:lstStyle/>
          <a:p>
            <a:fld id="{1B06CD8F-B7ED-4A05-9FB1-A01CC0EF02CC}" type="slidenum">
              <a:rPr lang="fr-FR" smtClean="0"/>
              <a:pPr/>
              <a:t>1</a:t>
            </a:fld>
            <a:endParaRPr lang="fr-FR"/>
          </a:p>
        </p:txBody>
      </p:sp>
    </p:spTree>
    <p:extLst>
      <p:ext uri="{BB962C8B-B14F-4D97-AF65-F5344CB8AC3E}">
        <p14:creationId xmlns:p14="http://schemas.microsoft.com/office/powerpoint/2010/main" val="360002299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 xmlns:a14="http://schemas.microsoft.com/office/drawing/2010/main">
                <a:solidFill>
                  <a:srgbClr val="FFFFFF"/>
                </a:solidFill>
              </a14:hiddenFill>
            </a:ext>
          </a:extLst>
        </p:spPr>
      </p:sp>
      <p:sp>
        <p:nvSpPr>
          <p:cNvPr id="15363" name="Notes Placeholder 2"/>
          <p:cNvSpPr>
            <a:spLocks noGrp="1"/>
          </p:cNvSpPr>
          <p:nvPr>
            <p:ph type="body" idx="1"/>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p>
            <a:endParaRPr lang="en-GB">
              <a:ea typeface="ＭＳ Ｐゴシック" pitchFamily="34" charset="-128"/>
            </a:endParaRPr>
          </a:p>
        </p:txBody>
      </p:sp>
      <p:sp>
        <p:nvSpPr>
          <p:cNvPr id="15364" name="Slide Number Placeholder 3"/>
          <p:cNvSpPr>
            <a:spLocks noGrp="1"/>
          </p:cNvSpPr>
          <p:nvPr>
            <p:ph type="sldNum" sz="quarter" idx="5"/>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eaLnBrk="0" hangingPunct="0">
              <a:defRPr sz="1000">
                <a:solidFill>
                  <a:schemeClr val="tx1"/>
                </a:solidFill>
                <a:latin typeface="Arial" charset="0"/>
                <a:ea typeface="ＭＳ Ｐゴシック" pitchFamily="34" charset="-128"/>
              </a:defRPr>
            </a:lvl1pPr>
            <a:lvl2pPr marL="763787" indent="-293764" eaLnBrk="0" hangingPunct="0">
              <a:defRPr sz="1000">
                <a:solidFill>
                  <a:schemeClr val="tx1"/>
                </a:solidFill>
                <a:latin typeface="Arial" charset="0"/>
                <a:ea typeface="ＭＳ Ｐゴシック" pitchFamily="34" charset="-128"/>
              </a:defRPr>
            </a:lvl2pPr>
            <a:lvl3pPr marL="1175057" indent="-235011" eaLnBrk="0" hangingPunct="0">
              <a:defRPr sz="1000">
                <a:solidFill>
                  <a:schemeClr val="tx1"/>
                </a:solidFill>
                <a:latin typeface="Arial" charset="0"/>
                <a:ea typeface="ＭＳ Ｐゴシック" pitchFamily="34" charset="-128"/>
              </a:defRPr>
            </a:lvl3pPr>
            <a:lvl4pPr marL="1645081" indent="-235011" eaLnBrk="0" hangingPunct="0">
              <a:defRPr sz="1000">
                <a:solidFill>
                  <a:schemeClr val="tx1"/>
                </a:solidFill>
                <a:latin typeface="Arial" charset="0"/>
                <a:ea typeface="ＭＳ Ｐゴシック" pitchFamily="34" charset="-128"/>
              </a:defRPr>
            </a:lvl4pPr>
            <a:lvl5pPr marL="2115103" indent="-235011" eaLnBrk="0" hangingPunct="0">
              <a:defRPr sz="1000">
                <a:solidFill>
                  <a:schemeClr val="tx1"/>
                </a:solidFill>
                <a:latin typeface="Arial" charset="0"/>
                <a:ea typeface="ＭＳ Ｐゴシック" pitchFamily="34" charset="-128"/>
              </a:defRPr>
            </a:lvl5pPr>
            <a:lvl6pPr marL="2585127" indent="-235011" defTabSz="470023" eaLnBrk="0" fontAlgn="base" hangingPunct="0">
              <a:spcBef>
                <a:spcPct val="0"/>
              </a:spcBef>
              <a:spcAft>
                <a:spcPct val="0"/>
              </a:spcAft>
              <a:defRPr sz="1000">
                <a:solidFill>
                  <a:schemeClr val="tx1"/>
                </a:solidFill>
                <a:latin typeface="Arial" charset="0"/>
                <a:ea typeface="ＭＳ Ｐゴシック" pitchFamily="34" charset="-128"/>
              </a:defRPr>
            </a:lvl6pPr>
            <a:lvl7pPr marL="3055148" indent="-235011" defTabSz="470023" eaLnBrk="0" fontAlgn="base" hangingPunct="0">
              <a:spcBef>
                <a:spcPct val="0"/>
              </a:spcBef>
              <a:spcAft>
                <a:spcPct val="0"/>
              </a:spcAft>
              <a:defRPr sz="1000">
                <a:solidFill>
                  <a:schemeClr val="tx1"/>
                </a:solidFill>
                <a:latin typeface="Arial" charset="0"/>
                <a:ea typeface="ＭＳ Ｐゴシック" pitchFamily="34" charset="-128"/>
              </a:defRPr>
            </a:lvl7pPr>
            <a:lvl8pPr marL="3525172" indent="-235011" defTabSz="470023" eaLnBrk="0" fontAlgn="base" hangingPunct="0">
              <a:spcBef>
                <a:spcPct val="0"/>
              </a:spcBef>
              <a:spcAft>
                <a:spcPct val="0"/>
              </a:spcAft>
              <a:defRPr sz="1000">
                <a:solidFill>
                  <a:schemeClr val="tx1"/>
                </a:solidFill>
                <a:latin typeface="Arial" charset="0"/>
                <a:ea typeface="ＭＳ Ｐゴシック" pitchFamily="34" charset="-128"/>
              </a:defRPr>
            </a:lvl8pPr>
            <a:lvl9pPr marL="3995193" indent="-235011" defTabSz="470023" eaLnBrk="0" fontAlgn="base" hangingPunct="0">
              <a:spcBef>
                <a:spcPct val="0"/>
              </a:spcBef>
              <a:spcAft>
                <a:spcPct val="0"/>
              </a:spcAft>
              <a:defRPr sz="1000">
                <a:solidFill>
                  <a:schemeClr val="tx1"/>
                </a:solidFill>
                <a:latin typeface="Arial" charset="0"/>
                <a:ea typeface="ＭＳ Ｐゴシック" pitchFamily="34" charset="-128"/>
              </a:defRPr>
            </a:lvl9pPr>
          </a:lstStyle>
          <a:p>
            <a:pPr eaLnBrk="1" hangingPunct="1"/>
            <a:fld id="{9E7ACED8-D74F-41B5-A4CD-FB26987D9E9A}" type="slidenum">
              <a:rPr lang="en-GB" sz="1200">
                <a:solidFill>
                  <a:prstClr val="black"/>
                </a:solidFill>
              </a:rPr>
              <a:pPr eaLnBrk="1" hangingPunct="1"/>
              <a:t>11</a:t>
            </a:fld>
            <a:endParaRPr lang="en-GB" sz="1200">
              <a:solidFill>
                <a:prstClr val="black"/>
              </a:solidFill>
            </a:endParaRPr>
          </a:p>
        </p:txBody>
      </p:sp>
    </p:spTree>
    <p:extLst>
      <p:ext uri="{BB962C8B-B14F-4D97-AF65-F5344CB8AC3E}">
        <p14:creationId xmlns:p14="http://schemas.microsoft.com/office/powerpoint/2010/main" val="226146324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55000" lnSpcReduction="20000"/>
          </a:bodyPr>
          <a:lstStyle/>
          <a:p>
            <a:pPr algn="l" rtl="0"/>
            <a:r>
              <a:rPr lang="en-GB"/>
              <a:t>The </a:t>
            </a:r>
            <a:r>
              <a:rPr lang="en-GB" b="1"/>
              <a:t>new</a:t>
            </a:r>
            <a:r>
              <a:rPr lang="en-GB"/>
              <a:t> Gavi Measles &amp; Rubella programme includes the following components:</a:t>
            </a:r>
          </a:p>
          <a:p>
            <a:pPr algn="l" rtl="0"/>
            <a:endParaRPr lang="en-GB"/>
          </a:p>
          <a:p>
            <a:pPr lvl="0" algn="l" rtl="0"/>
            <a:r>
              <a:rPr lang="en-GB" b="1"/>
              <a:t>Measles Follow-up Campaigns</a:t>
            </a:r>
            <a:endParaRPr lang="en-GB"/>
          </a:p>
          <a:p>
            <a:pPr algn="l" rtl="0"/>
            <a:r>
              <a:rPr lang="en-GB"/>
              <a:t>Measles vaccination campaigns at national or subnational levels, for countries which have not yet introduced MR, with a focus on children up to 5 years of age; noting that the timing, target age range, and geographical scope should be based on epidemiological data. Co-financing of vaccine 2% or 5% if in transition phase</a:t>
            </a:r>
          </a:p>
          <a:p>
            <a:pPr algn="l" rtl="0"/>
            <a:endParaRPr lang="pt-PT"/>
          </a:p>
          <a:p>
            <a:r>
              <a:rPr lang="pt-PT" i="1">
                <a:solidFill>
                  <a:srgbClr val="FF0000"/>
                </a:solidFill>
              </a:rPr>
              <a:t>What is the country funding envelope ? 5 year plan, but we don’t have that yet; speak about CEF envelope for 5 years, estimated budget; Sub-national targets in some areas; Country to focus on 9mo-5yo for control purposes; Country to see if thise makes sense from an epidemiological perspective; How much is this over? We don’t want to encourage countries to; we want to encourage countries to make campaigns decision based on epidemiological data</a:t>
            </a:r>
            <a:endParaRPr lang="en-GB" i="1">
              <a:solidFill>
                <a:srgbClr val="FF0000"/>
              </a:solidFill>
            </a:endParaRPr>
          </a:p>
          <a:p>
            <a:pPr algn="l" rtl="0"/>
            <a:endParaRPr lang="en-GB"/>
          </a:p>
          <a:p>
            <a:pPr algn="l" rtl="0"/>
            <a:r>
              <a:rPr lang="en-GB"/>
              <a:t> </a:t>
            </a:r>
          </a:p>
          <a:p>
            <a:pPr lvl="0" algn="l" rtl="0"/>
            <a:r>
              <a:rPr lang="en-GB" b="1"/>
              <a:t>Measles-Rubella (MR) Catch-Up and Follow-up Campaigns</a:t>
            </a:r>
            <a:endParaRPr lang="en-GB"/>
          </a:p>
          <a:p>
            <a:pPr algn="l" rtl="0"/>
            <a:r>
              <a:rPr lang="en-GB"/>
              <a:t>MR catch-up campaign providing MR vaccine for a target population of males and females aged 9 months to 14 years, prior to introducing MR vaccine into the routine national immunisation schedule.</a:t>
            </a:r>
            <a:r>
              <a:rPr lang="en-GB" b="1"/>
              <a:t> </a:t>
            </a:r>
            <a:r>
              <a:rPr lang="en-GB"/>
              <a:t>Any expansion of the target population would need to be financed by the country. </a:t>
            </a:r>
          </a:p>
          <a:p>
            <a:pPr algn="l" rtl="0"/>
            <a:r>
              <a:rPr lang="en-GB"/>
              <a:t>Support is also available for periodic MR follow-up campaigns, noting that the timing, target age range, and geographical scope should be based on epidemiological data. Co-financing of vaccines 2% or 5% if in transition phase.</a:t>
            </a:r>
          </a:p>
          <a:p>
            <a:pPr algn="l" rtl="0"/>
            <a:endParaRPr lang="en-GB"/>
          </a:p>
          <a:p>
            <a:pPr algn="l" rtl="0"/>
            <a:r>
              <a:rPr lang="en-GB"/>
              <a:t>Gavi provides support for the above mentioned campaigns in the form of vaccines and associated supplies (i.e. auto-disable syringes, reconstitution syringes and safety boxes). In addition, Gavi provides direct financial support to cover a proportion of the operational costs related to campaigns. The exact level of support available in terms of campaigns will be communicated to countries in due course after the Gavi Board discussion in June 2016.</a:t>
            </a:r>
          </a:p>
          <a:p>
            <a:pPr algn="l" rtl="0"/>
            <a:r>
              <a:rPr lang="en-GB"/>
              <a:t> </a:t>
            </a:r>
          </a:p>
          <a:p>
            <a:pPr lvl="0" algn="l" rtl="0"/>
            <a:r>
              <a:rPr lang="en-GB" b="1"/>
              <a:t>MCV2 or MR vaccine introduction with co-financing (</a:t>
            </a:r>
            <a:r>
              <a:rPr lang="en-GB" b="1" u="sng"/>
              <a:t>only for countries who have not yet introduced MR and/or MCV2.</a:t>
            </a:r>
            <a:r>
              <a:rPr lang="en-GB" b="1"/>
              <a:t>)</a:t>
            </a:r>
            <a:endParaRPr lang="en-GB"/>
          </a:p>
          <a:p>
            <a:pPr algn="l" rtl="0"/>
            <a:r>
              <a:rPr lang="en-GB"/>
              <a:t>Routine measles second dose (MCV2) and MR vaccine introduction, requiring countries to co-finance a portion of the vaccine costs according to a specific co-financing formula (and provided that current government financing is not replaced with Gavi funds), as follows:</a:t>
            </a:r>
          </a:p>
          <a:p>
            <a:pPr algn="l" rtl="0"/>
            <a:r>
              <a:rPr lang="en-GB"/>
              <a:t>1) For countries adding a routine measles second dose: </a:t>
            </a:r>
          </a:p>
          <a:p>
            <a:pPr algn="l" rtl="0"/>
            <a:r>
              <a:rPr lang="en-GB"/>
              <a:t>Countries would pay US$ 0.40 for 2 doses of MCV, while Gavi would pay the rest (approximately US$ 0.14-US$ 0.20).</a:t>
            </a:r>
          </a:p>
          <a:p>
            <a:pPr algn="l" rtl="0"/>
            <a:r>
              <a:rPr lang="en-GB"/>
              <a:t>2) For countries introducing MR vaccine (switching from one dose measles to one dose MR vaccine): Countries would pay US$ 0.30 per dose (comparable to the current Weighted Average Price [WAP] of measles vaccine) and Gavi would pay for the rest (approximately similar amount).</a:t>
            </a:r>
          </a:p>
          <a:p>
            <a:pPr algn="l" rtl="0"/>
            <a:r>
              <a:rPr lang="en-GB"/>
              <a:t>3) For countries adding 2 doses of routine MR vaccines: </a:t>
            </a:r>
          </a:p>
          <a:p>
            <a:pPr algn="l" rtl="0"/>
            <a:r>
              <a:rPr lang="en-GB"/>
              <a:t>Countries would pay US$0.60 for 2 doses of MR (comparable to WAP of 2 doses of measles vaccine) and Gavi would pay the rest (approximately similar amount).</a:t>
            </a:r>
          </a:p>
          <a:p>
            <a:pPr algn="l" rtl="0"/>
            <a:r>
              <a:rPr lang="en-GB" b="1"/>
              <a:t> </a:t>
            </a:r>
            <a:endParaRPr lang="en-GB"/>
          </a:p>
          <a:p>
            <a:pPr algn="l" rtl="0"/>
            <a:r>
              <a:rPr lang="en-GB"/>
              <a:t>For MCV2 or MR vaccine introduction, Gavi will also provide a Vaccine Introduction Grant (VIG) to facilitate activities in the first year of new vaccine introduction.  This is a one-time cash grant of US$0.80/child in the birth cohort. Countries are encouraged to identify cross-cutting synergies across VIGs and operational cost support (e.g. communications, training, </a:t>
            </a:r>
            <a:r>
              <a:rPr lang="en-GB" err="1"/>
              <a:t>etc</a:t>
            </a:r>
            <a:r>
              <a:rPr lang="en-GB"/>
              <a:t>). </a:t>
            </a:r>
          </a:p>
          <a:p>
            <a:pPr lvl="0" algn="l" rtl="0"/>
            <a:endParaRPr lang="en-GB" b="1"/>
          </a:p>
          <a:p>
            <a:pPr lvl="0" algn="l" rtl="0"/>
            <a:r>
              <a:rPr lang="en-GB" b="1"/>
              <a:t>Outbreak response </a:t>
            </a:r>
            <a:r>
              <a:rPr lang="en-GB"/>
              <a:t>(Managed by the Measles &amp; Rubella Initiative [MRI])</a:t>
            </a:r>
          </a:p>
          <a:p>
            <a:pPr algn="l" rtl="0"/>
            <a:r>
              <a:rPr lang="en-GB"/>
              <a:t>Please refer to WHO and UNICEF for the details of this support. </a:t>
            </a:r>
          </a:p>
          <a:p>
            <a:endParaRPr lang="en-US">
              <a:latin typeface="Arial"/>
              <a:cs typeface="Arial"/>
            </a:endParaRPr>
          </a:p>
        </p:txBody>
      </p:sp>
      <p:sp>
        <p:nvSpPr>
          <p:cNvPr id="4" name="Slide Number Placeholder 3"/>
          <p:cNvSpPr>
            <a:spLocks noGrp="1"/>
          </p:cNvSpPr>
          <p:nvPr>
            <p:ph type="sldNum" sz="quarter" idx="10"/>
          </p:nvPr>
        </p:nvSpPr>
        <p:spPr/>
        <p:txBody>
          <a:bodyPr/>
          <a:lstStyle/>
          <a:p>
            <a:fld id="{1B06CD8F-B7ED-4A05-9FB1-A01CC0EF02CC}" type="slidenum">
              <a:rPr lang="fr-FR" smtClean="0">
                <a:solidFill>
                  <a:srgbClr val="000000"/>
                </a:solidFill>
              </a:rPr>
              <a:pPr/>
              <a:t>13</a:t>
            </a:fld>
            <a:endParaRPr lang="fr-FR">
              <a:solidFill>
                <a:srgbClr val="000000"/>
              </a:solidFill>
            </a:endParaRPr>
          </a:p>
        </p:txBody>
      </p:sp>
    </p:spTree>
    <p:extLst>
      <p:ext uri="{BB962C8B-B14F-4D97-AF65-F5344CB8AC3E}">
        <p14:creationId xmlns:p14="http://schemas.microsoft.com/office/powerpoint/2010/main" val="205609347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4708" indent="-174708">
              <a:buFontTx/>
              <a:buChar char="-"/>
            </a:pPr>
            <a:r>
              <a:rPr lang="pt-PT" dirty="0" smtClean="0"/>
              <a:t>Successes of the Gavi programme to date;</a:t>
            </a:r>
            <a:r>
              <a:rPr lang="pt-PT" baseline="0" dirty="0" smtClean="0"/>
              <a:t> b</a:t>
            </a:r>
            <a:r>
              <a:rPr lang="pt-PT" dirty="0" smtClean="0"/>
              <a:t>y the end of 2016, under</a:t>
            </a:r>
            <a:r>
              <a:rPr lang="pt-PT" baseline="0" dirty="0" smtClean="0"/>
              <a:t> these 3 historical support windows, Gavi had supported:</a:t>
            </a:r>
          </a:p>
          <a:p>
            <a:pPr marL="174708" indent="-174708">
              <a:buFontTx/>
              <a:buChar char="-"/>
            </a:pPr>
            <a:r>
              <a:rPr lang="pt-PT" baseline="0" dirty="0" smtClean="0"/>
              <a:t>For Measles or Measles-Rubella 2nd dose, Gavi had supported 21 countries and over 41 million people immunised</a:t>
            </a:r>
          </a:p>
          <a:p>
            <a:pPr marL="174708" indent="-174708">
              <a:buFontTx/>
              <a:buChar char="-"/>
            </a:pPr>
            <a:r>
              <a:rPr lang="pt-PT" baseline="0" dirty="0" smtClean="0"/>
              <a:t>For Measles-Rubella catch-up campaigns, 20 countries and over 196 million people immunised</a:t>
            </a:r>
          </a:p>
          <a:p>
            <a:pPr marL="174708" indent="-174708">
              <a:buFontTx/>
              <a:buChar char="-"/>
            </a:pPr>
            <a:r>
              <a:rPr lang="pt-PT" baseline="0" dirty="0" smtClean="0"/>
              <a:t>And for Measles follow-up campaigns, 9 campaigns in 6 countries, with over 132 people immunised.</a:t>
            </a:r>
            <a:endParaRPr lang="en-GB" dirty="0"/>
          </a:p>
        </p:txBody>
      </p:sp>
      <p:sp>
        <p:nvSpPr>
          <p:cNvPr id="4" name="Slide Number Placeholder 3"/>
          <p:cNvSpPr>
            <a:spLocks noGrp="1"/>
          </p:cNvSpPr>
          <p:nvPr>
            <p:ph type="sldNum" sz="quarter" idx="10"/>
          </p:nvPr>
        </p:nvSpPr>
        <p:spPr/>
        <p:txBody>
          <a:bodyPr/>
          <a:lstStyle/>
          <a:p>
            <a:fld id="{1B06CD8F-B7ED-4A05-9FB1-A01CC0EF02CC}" type="slidenum">
              <a:rPr lang="fr-FR" smtClean="0"/>
              <a:pPr/>
              <a:t>2</a:t>
            </a:fld>
            <a:endParaRPr lang="fr-FR"/>
          </a:p>
        </p:txBody>
      </p:sp>
    </p:spTree>
    <p:extLst>
      <p:ext uri="{BB962C8B-B14F-4D97-AF65-F5344CB8AC3E}">
        <p14:creationId xmlns:p14="http://schemas.microsoft.com/office/powerpoint/2010/main" val="40934487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4708" indent="-174708">
              <a:buFontTx/>
              <a:buChar char="-"/>
            </a:pPr>
            <a:r>
              <a:rPr lang="en-US" baseline="0" dirty="0" smtClean="0"/>
              <a:t>Despite these Gavi investments and broader comprehensive global efforts from the Measles &amp; Rubella Initiative, MCV1 coverage has remained stagnant at 78% for the past few years; MCV2, while increasing as new countries introduce it, lags behind MCV1 in most of the countries that have introduced it</a:t>
            </a:r>
          </a:p>
          <a:p>
            <a:pPr marL="174708" indent="-174708">
              <a:buFontTx/>
              <a:buChar char="-"/>
            </a:pPr>
            <a:r>
              <a:rPr lang="en-US" baseline="0" dirty="0" smtClean="0"/>
              <a:t>As indicated by the Midterm Review, as we move forward, we must shift towards a focus on the improvement of routine immunisation systems…. </a:t>
            </a:r>
          </a:p>
        </p:txBody>
      </p:sp>
      <p:sp>
        <p:nvSpPr>
          <p:cNvPr id="4" name="Slide Number Placeholder 3"/>
          <p:cNvSpPr>
            <a:spLocks noGrp="1"/>
          </p:cNvSpPr>
          <p:nvPr>
            <p:ph type="sldNum" sz="quarter" idx="10"/>
          </p:nvPr>
        </p:nvSpPr>
        <p:spPr/>
        <p:txBody>
          <a:bodyPr/>
          <a:lstStyle/>
          <a:p>
            <a:fld id="{1B06CD8F-B7ED-4A05-9FB1-A01CC0EF02CC}" type="slidenum">
              <a:rPr lang="fr-FR" smtClean="0">
                <a:solidFill>
                  <a:srgbClr val="000000"/>
                </a:solidFill>
              </a:rPr>
              <a:pPr/>
              <a:t>3</a:t>
            </a:fld>
            <a:endParaRPr lang="fr-FR">
              <a:solidFill>
                <a:srgbClr val="000000"/>
              </a:solidFill>
            </a:endParaRPr>
          </a:p>
        </p:txBody>
      </p:sp>
    </p:spTree>
    <p:extLst>
      <p:ext uri="{BB962C8B-B14F-4D97-AF65-F5344CB8AC3E}">
        <p14:creationId xmlns:p14="http://schemas.microsoft.com/office/powerpoint/2010/main" val="386408747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CH" sz="900" dirty="0"/>
              <a:t>Gavi </a:t>
            </a:r>
            <a:r>
              <a:rPr lang="fr-CH" sz="900" dirty="0" err="1"/>
              <a:t>will</a:t>
            </a:r>
            <a:r>
              <a:rPr lang="fr-CH" sz="900" dirty="0"/>
              <a:t> have </a:t>
            </a:r>
            <a:r>
              <a:rPr lang="fr-CH" sz="900" dirty="0" err="1"/>
              <a:t>invested</a:t>
            </a:r>
            <a:r>
              <a:rPr lang="fr-CH" sz="900" dirty="0"/>
              <a:t> </a:t>
            </a:r>
            <a:r>
              <a:rPr lang="fr-CH" sz="900" dirty="0" err="1"/>
              <a:t>approximately</a:t>
            </a:r>
            <a:r>
              <a:rPr lang="fr-CH" sz="900" dirty="0"/>
              <a:t> US$ 1.5 billion in </a:t>
            </a:r>
            <a:r>
              <a:rPr lang="fr-CH" sz="900" dirty="0" err="1"/>
              <a:t>measles</a:t>
            </a:r>
            <a:r>
              <a:rPr lang="fr-CH" sz="900" dirty="0"/>
              <a:t> and rubella </a:t>
            </a:r>
            <a:r>
              <a:rPr lang="fr-CH" sz="900" dirty="0"/>
              <a:t>by </a:t>
            </a:r>
            <a:r>
              <a:rPr lang="fr-CH" sz="900" dirty="0"/>
              <a:t>2020, and </a:t>
            </a:r>
            <a:r>
              <a:rPr lang="fr-CH" sz="900" dirty="0" err="1"/>
              <a:t>we</a:t>
            </a:r>
            <a:r>
              <a:rPr lang="fr-CH" sz="900" dirty="0"/>
              <a:t> </a:t>
            </a:r>
            <a:r>
              <a:rPr lang="fr-CH" sz="900" dirty="0" err="1"/>
              <a:t>seek</a:t>
            </a:r>
            <a:r>
              <a:rPr lang="fr-CH" sz="900" dirty="0"/>
              <a:t> a </a:t>
            </a:r>
            <a:r>
              <a:rPr lang="fr-CH" sz="900" dirty="0" err="1"/>
              <a:t>pragmatic</a:t>
            </a:r>
            <a:r>
              <a:rPr lang="fr-CH" sz="900" dirty="0"/>
              <a:t> return on </a:t>
            </a:r>
            <a:r>
              <a:rPr lang="fr-CH" sz="900" dirty="0" err="1"/>
              <a:t>this</a:t>
            </a:r>
            <a:r>
              <a:rPr lang="fr-CH" sz="900" dirty="0"/>
              <a:t> </a:t>
            </a:r>
            <a:r>
              <a:rPr lang="fr-CH" sz="900" dirty="0" err="1"/>
              <a:t>investment</a:t>
            </a:r>
            <a:r>
              <a:rPr lang="fr-CH" sz="900" dirty="0"/>
              <a:t> </a:t>
            </a:r>
            <a:r>
              <a:rPr lang="fr-CH" sz="900" dirty="0"/>
              <a:t>by </a:t>
            </a:r>
            <a:r>
              <a:rPr lang="fr-CH" sz="900" dirty="0" err="1"/>
              <a:t>working</a:t>
            </a:r>
            <a:r>
              <a:rPr lang="fr-CH" sz="900" dirty="0"/>
              <a:t> on </a:t>
            </a:r>
            <a:r>
              <a:rPr lang="fr-CH" sz="900" dirty="0" err="1"/>
              <a:t>increased</a:t>
            </a:r>
            <a:r>
              <a:rPr lang="fr-CH" sz="900" dirty="0"/>
              <a:t> country </a:t>
            </a:r>
            <a:r>
              <a:rPr lang="fr-CH" sz="900" dirty="0" err="1"/>
              <a:t>ownership</a:t>
            </a:r>
            <a:r>
              <a:rPr lang="fr-CH" sz="900" dirty="0"/>
              <a:t>, routine immunisation </a:t>
            </a:r>
            <a:r>
              <a:rPr lang="fr-CH" sz="900" dirty="0" err="1"/>
              <a:t>strengthening</a:t>
            </a:r>
            <a:r>
              <a:rPr lang="fr-CH" sz="900" dirty="0"/>
              <a:t>, and </a:t>
            </a:r>
            <a:r>
              <a:rPr lang="fr-CH" sz="900" dirty="0" err="1"/>
              <a:t>programmatic</a:t>
            </a:r>
            <a:r>
              <a:rPr lang="fr-CH" sz="900" dirty="0"/>
              <a:t> and </a:t>
            </a:r>
            <a:r>
              <a:rPr lang="fr-CH" sz="900" dirty="0" err="1"/>
              <a:t>financial</a:t>
            </a:r>
            <a:r>
              <a:rPr lang="fr-CH" sz="900" dirty="0"/>
              <a:t> </a:t>
            </a:r>
            <a:r>
              <a:rPr lang="fr-CH" sz="900" dirty="0" err="1"/>
              <a:t>sustainability</a:t>
            </a:r>
            <a:r>
              <a:rPr lang="fr-CH" sz="900" dirty="0"/>
              <a:t>.</a:t>
            </a:r>
            <a:endParaRPr lang="fr-CH" sz="900" dirty="0"/>
          </a:p>
          <a:p>
            <a:endParaRPr lang="fr-CH" sz="900" dirty="0"/>
          </a:p>
          <a:p>
            <a:r>
              <a:rPr lang="fr-CH" sz="900" dirty="0" err="1"/>
              <a:t>We</a:t>
            </a:r>
            <a:r>
              <a:rPr lang="fr-CH" sz="900" dirty="0"/>
              <a:t> </a:t>
            </a:r>
            <a:r>
              <a:rPr lang="fr-CH" sz="900" dirty="0" err="1"/>
              <a:t>would</a:t>
            </a:r>
            <a:r>
              <a:rPr lang="fr-CH" sz="900" dirty="0"/>
              <a:t> </a:t>
            </a:r>
            <a:r>
              <a:rPr lang="fr-CH" sz="900" dirty="0" err="1"/>
              <a:t>like</a:t>
            </a:r>
            <a:r>
              <a:rPr lang="fr-CH" sz="900" dirty="0"/>
              <a:t> to support countries to </a:t>
            </a:r>
            <a:r>
              <a:rPr lang="fr-CH" sz="900" dirty="0" err="1"/>
              <a:t>enable</a:t>
            </a:r>
            <a:r>
              <a:rPr lang="fr-CH" sz="900" dirty="0"/>
              <a:t> </a:t>
            </a:r>
            <a:r>
              <a:rPr lang="fr-CH" sz="900" dirty="0" err="1"/>
              <a:t>them</a:t>
            </a:r>
            <a:r>
              <a:rPr lang="fr-CH" sz="900" dirty="0"/>
              <a:t> to </a:t>
            </a:r>
            <a:r>
              <a:rPr lang="fr-CH" sz="900" dirty="0" err="1"/>
              <a:t>achieve</a:t>
            </a:r>
            <a:r>
              <a:rPr lang="fr-CH" sz="900" dirty="0"/>
              <a:t> </a:t>
            </a:r>
            <a:r>
              <a:rPr lang="fr-CH" sz="900" dirty="0" err="1"/>
              <a:t>sustainable</a:t>
            </a:r>
            <a:r>
              <a:rPr lang="fr-CH" sz="900" dirty="0"/>
              <a:t> control and </a:t>
            </a:r>
            <a:r>
              <a:rPr lang="fr-CH" sz="900" dirty="0" err="1"/>
              <a:t>elimination</a:t>
            </a:r>
            <a:r>
              <a:rPr lang="fr-CH" sz="900" dirty="0"/>
              <a:t> </a:t>
            </a:r>
            <a:r>
              <a:rPr lang="fr-CH" sz="900" dirty="0" err="1"/>
              <a:t>when</a:t>
            </a:r>
            <a:r>
              <a:rPr lang="fr-CH" sz="900" dirty="0"/>
              <a:t> the world </a:t>
            </a:r>
            <a:r>
              <a:rPr lang="fr-CH" sz="900" dirty="0" err="1"/>
              <a:t>is</a:t>
            </a:r>
            <a:r>
              <a:rPr lang="fr-CH" sz="900" dirty="0"/>
              <a:t> </a:t>
            </a:r>
            <a:r>
              <a:rPr lang="fr-CH" sz="900" dirty="0" err="1"/>
              <a:t>ready</a:t>
            </a:r>
            <a:r>
              <a:rPr lang="fr-CH" sz="900" dirty="0"/>
              <a:t> for an </a:t>
            </a:r>
            <a:r>
              <a:rPr lang="fr-CH" sz="900" dirty="0" err="1"/>
              <a:t>eradication</a:t>
            </a:r>
            <a:r>
              <a:rPr lang="fr-CH" sz="900" dirty="0"/>
              <a:t> goal. </a:t>
            </a:r>
          </a:p>
          <a:p>
            <a:endParaRPr lang="fr-CH" sz="900" dirty="0"/>
          </a:p>
          <a:p>
            <a:r>
              <a:rPr lang="fr-CH" sz="900" dirty="0"/>
              <a:t>This </a:t>
            </a:r>
            <a:r>
              <a:rPr lang="fr-CH" sz="900" dirty="0" err="1"/>
              <a:t>needs</a:t>
            </a:r>
            <a:r>
              <a:rPr lang="fr-CH" sz="900" dirty="0"/>
              <a:t> a </a:t>
            </a:r>
            <a:r>
              <a:rPr lang="fr-CH" sz="900" dirty="0" err="1"/>
              <a:t>sound</a:t>
            </a:r>
            <a:r>
              <a:rPr lang="fr-CH" sz="900" dirty="0"/>
              <a:t> </a:t>
            </a:r>
            <a:r>
              <a:rPr lang="fr-CH" sz="900" dirty="0" err="1"/>
              <a:t>health</a:t>
            </a:r>
            <a:r>
              <a:rPr lang="fr-CH" sz="900" dirty="0"/>
              <a:t> system, </a:t>
            </a:r>
            <a:r>
              <a:rPr lang="fr-CH" sz="900" dirty="0" err="1"/>
              <a:t>centered</a:t>
            </a:r>
            <a:r>
              <a:rPr lang="fr-CH" sz="900" dirty="0"/>
              <a:t> on </a:t>
            </a:r>
            <a:r>
              <a:rPr lang="fr-CH" sz="900" dirty="0" err="1"/>
              <a:t>attaining</a:t>
            </a:r>
            <a:r>
              <a:rPr lang="fr-CH" sz="900" dirty="0"/>
              <a:t> a high routine vaccine </a:t>
            </a:r>
            <a:r>
              <a:rPr lang="fr-CH" sz="900" dirty="0" err="1"/>
              <a:t>coverage</a:t>
            </a:r>
            <a:r>
              <a:rPr lang="fr-CH" sz="900" dirty="0"/>
              <a:t>, </a:t>
            </a:r>
            <a:r>
              <a:rPr lang="fr-CH" sz="900" dirty="0" err="1"/>
              <a:t>complemented</a:t>
            </a:r>
            <a:r>
              <a:rPr lang="fr-CH" sz="900" dirty="0"/>
              <a:t> by targeted </a:t>
            </a:r>
            <a:r>
              <a:rPr lang="fr-CH" sz="900" dirty="0" err="1"/>
              <a:t>campaigns</a:t>
            </a:r>
            <a:r>
              <a:rPr lang="fr-CH" sz="900" dirty="0"/>
              <a:t>.</a:t>
            </a:r>
          </a:p>
          <a:p>
            <a:endParaRPr lang="fr-CH" sz="900" dirty="0"/>
          </a:p>
          <a:p>
            <a:endParaRPr lang="en-GB" sz="900" dirty="0"/>
          </a:p>
        </p:txBody>
      </p:sp>
      <p:sp>
        <p:nvSpPr>
          <p:cNvPr id="4" name="Slide Number Placeholder 3"/>
          <p:cNvSpPr>
            <a:spLocks noGrp="1"/>
          </p:cNvSpPr>
          <p:nvPr>
            <p:ph type="sldNum" sz="quarter" idx="10"/>
          </p:nvPr>
        </p:nvSpPr>
        <p:spPr/>
        <p:txBody>
          <a:bodyPr/>
          <a:lstStyle/>
          <a:p>
            <a:fld id="{1B06CD8F-B7ED-4A05-9FB1-A01CC0EF02CC}" type="slidenum">
              <a:rPr lang="fr-FR" smtClean="0">
                <a:solidFill>
                  <a:srgbClr val="000000"/>
                </a:solidFill>
              </a:rPr>
              <a:pPr/>
              <a:t>4</a:t>
            </a:fld>
            <a:endParaRPr lang="fr-FR">
              <a:solidFill>
                <a:srgbClr val="000000"/>
              </a:solidFill>
            </a:endParaRPr>
          </a:p>
        </p:txBody>
      </p:sp>
    </p:spTree>
    <p:extLst>
      <p:ext uri="{BB962C8B-B14F-4D97-AF65-F5344CB8AC3E}">
        <p14:creationId xmlns:p14="http://schemas.microsoft.com/office/powerpoint/2010/main" val="128331521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640594" lvl="1" indent="-174708">
              <a:buFont typeface="Arial" panose="020B0604020202020204" pitchFamily="34" charset="0"/>
              <a:buChar char="•"/>
            </a:pPr>
            <a:r>
              <a:rPr lang="pt-PT" dirty="0" smtClean="0"/>
              <a:t>This slides demonstrates the large investment in measles and rubella in 2016-2025 period,</a:t>
            </a:r>
            <a:r>
              <a:rPr lang="pt-PT" baseline="0" dirty="0" smtClean="0"/>
              <a:t> amounting to close to US$1.5 billion, a steep increase from the ~US$500k for the 200-2015 period</a:t>
            </a:r>
            <a:endParaRPr lang="pt-PT" baseline="0" dirty="0"/>
          </a:p>
        </p:txBody>
      </p:sp>
      <p:sp>
        <p:nvSpPr>
          <p:cNvPr id="4" name="Slide Number Placeholder 3"/>
          <p:cNvSpPr>
            <a:spLocks noGrp="1"/>
          </p:cNvSpPr>
          <p:nvPr>
            <p:ph type="sldNum" sz="quarter" idx="10"/>
          </p:nvPr>
        </p:nvSpPr>
        <p:spPr/>
        <p:txBody>
          <a:bodyPr/>
          <a:lstStyle/>
          <a:p>
            <a:fld id="{1B06CD8F-B7ED-4A05-9FB1-A01CC0EF02CC}" type="slidenum">
              <a:rPr lang="fr-FR" smtClean="0"/>
              <a:pPr/>
              <a:t>5</a:t>
            </a:fld>
            <a:endParaRPr lang="fr-FR"/>
          </a:p>
        </p:txBody>
      </p:sp>
    </p:spTree>
    <p:extLst>
      <p:ext uri="{BB962C8B-B14F-4D97-AF65-F5344CB8AC3E}">
        <p14:creationId xmlns:p14="http://schemas.microsoft.com/office/powerpoint/2010/main" val="427251173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70000" lnSpcReduction="20000"/>
          </a:bodyPr>
          <a:lstStyle/>
          <a:p>
            <a:pPr defTabSz="931774">
              <a:defRPr/>
            </a:pPr>
            <a:r>
              <a:rPr lang="en-US" b="1" dirty="0" smtClean="0"/>
              <a:t>M&amp;RI</a:t>
            </a:r>
            <a:r>
              <a:rPr lang="en-US" b="1" baseline="0" dirty="0" smtClean="0"/>
              <a:t> is premised on the fact that partnerships are critical to achieving strong coverage of measles and rubella vaccines. Gavi and Lions Clubs International Foundation have been working in partnership to help move the needle on this strategy. </a:t>
            </a:r>
            <a:endParaRPr lang="en-US" b="1" dirty="0" smtClean="0"/>
          </a:p>
          <a:p>
            <a:endParaRPr lang="en-US" dirty="0" smtClean="0"/>
          </a:p>
          <a:p>
            <a:r>
              <a:rPr lang="en-US" dirty="0" smtClean="0"/>
              <a:t>The partnership between LCIF and Gavi is guided by </a:t>
            </a:r>
            <a:r>
              <a:rPr lang="en-US" b="1" dirty="0" smtClean="0"/>
              <a:t>a three-pronged approach </a:t>
            </a:r>
            <a:r>
              <a:rPr lang="en-US" dirty="0" smtClean="0"/>
              <a:t>that combines resource mobilization, advocacy and partnership awareness, and social mobilization to fight measles around the world. </a:t>
            </a:r>
          </a:p>
          <a:p>
            <a:endParaRPr lang="en-US" dirty="0" smtClean="0"/>
          </a:p>
          <a:p>
            <a:r>
              <a:rPr lang="en-US" b="1" dirty="0" smtClean="0"/>
              <a:t>As</a:t>
            </a:r>
            <a:r>
              <a:rPr lang="en-US" b="1" baseline="0" dirty="0" smtClean="0"/>
              <a:t> the world’s largest service club organization, LCIF has committed to:</a:t>
            </a:r>
          </a:p>
          <a:p>
            <a:pPr marL="174708" indent="-174708">
              <a:buFont typeface="Arial" panose="020B0604020202020204" pitchFamily="34" charset="0"/>
              <a:buChar char="•"/>
            </a:pPr>
            <a:r>
              <a:rPr lang="en-US" dirty="0"/>
              <a:t>Raise USD $30 million during the 2014-2017 period for the purchase of measles and measles-rubella vaccines (MR), supporting introductions and campaigns (SIAs)</a:t>
            </a:r>
          </a:p>
          <a:p>
            <a:pPr marL="174708" indent="-174708">
              <a:buFont typeface="Arial" panose="020B0604020202020204" pitchFamily="34" charset="0"/>
              <a:buChar char="•"/>
            </a:pPr>
            <a:r>
              <a:rPr lang="en-US" dirty="0"/>
              <a:t>This helps leverage an additional USD $30 million contribution through the Gavi Matching Fund in support of </a:t>
            </a:r>
            <a:r>
              <a:rPr lang="en-US" dirty="0" err="1"/>
              <a:t>Gavi’s</a:t>
            </a:r>
            <a:r>
              <a:rPr lang="en-US" dirty="0"/>
              <a:t> measles programs</a:t>
            </a:r>
          </a:p>
          <a:p>
            <a:pPr marL="174708" indent="-174708">
              <a:buFont typeface="Arial" panose="020B0604020202020204" pitchFamily="34" charset="0"/>
              <a:buChar char="•"/>
            </a:pPr>
            <a:endParaRPr lang="en-US" dirty="0"/>
          </a:p>
          <a:p>
            <a:pPr marL="174708" indent="-174708" defTabSz="931774">
              <a:buFont typeface="Arial" panose="020B0604020202020204" pitchFamily="34" charset="0"/>
              <a:buChar char="•"/>
              <a:defRPr/>
            </a:pPr>
            <a:r>
              <a:rPr lang="en-US" dirty="0"/>
              <a:t>Tap into LCIF’s global network of donors and volunteers in implementing countries to increase awareness of the benefits of measles vaccines and routine immunisation and advocate for increased funding </a:t>
            </a:r>
          </a:p>
          <a:p>
            <a:pPr marL="174708" indent="-174708" defTabSz="931774">
              <a:buFont typeface="Arial" panose="020B0604020202020204" pitchFamily="34" charset="0"/>
              <a:buChar char="•"/>
              <a:defRPr/>
            </a:pPr>
            <a:endParaRPr lang="en-US" dirty="0"/>
          </a:p>
          <a:p>
            <a:pPr marL="174708" indent="-174708" defTabSz="931774">
              <a:buFont typeface="Arial" panose="020B0604020202020204" pitchFamily="34" charset="0"/>
              <a:buChar char="•"/>
              <a:defRPr/>
            </a:pPr>
            <a:r>
              <a:rPr lang="en-US" dirty="0"/>
              <a:t>Engage local Lion’s clubs in social mobilization activities designed to address barriers affecting low immunisation coverage through community service and locally driven, interpersonal advocacy and communication to increase awareness of and participation in measles and measles-rubella campaigns</a:t>
            </a:r>
          </a:p>
          <a:p>
            <a:endParaRPr lang="en-US" dirty="0" smtClean="0"/>
          </a:p>
          <a:p>
            <a:endParaRPr lang="en-US" dirty="0" smtClean="0"/>
          </a:p>
          <a:p>
            <a:endParaRPr lang="en-US" dirty="0" smtClean="0">
              <a:latin typeface="Arial" pitchFamily="34" charset="0"/>
              <a:ea typeface="ヒラギノ角ゴ Pro W3"/>
              <a:cs typeface="ヒラギノ角ゴ Pro W3"/>
            </a:endParaRPr>
          </a:p>
          <a:p>
            <a:r>
              <a:rPr lang="en-US" u="none" baseline="0" dirty="0" smtClean="0"/>
              <a:t>The partnership with LCIF is unique because it’s not just LCIF’s incredible financial commitment to beat measles and rubella. But LCIF’s vast network of volunteers who are leaders in their communities are able to raise awareness of the benefits of vaccines, and actually increase demand for many of the measles and rubella campaigns that </a:t>
            </a:r>
            <a:r>
              <a:rPr lang="en-US" u="none" baseline="0" dirty="0" err="1" smtClean="0"/>
              <a:t>Gavi</a:t>
            </a:r>
            <a:r>
              <a:rPr lang="en-US" u="none" baseline="0" dirty="0" smtClean="0"/>
              <a:t> supports. </a:t>
            </a:r>
          </a:p>
          <a:p>
            <a:endParaRPr lang="en-US" u="none" baseline="0" dirty="0" smtClean="0"/>
          </a:p>
          <a:p>
            <a:r>
              <a:rPr lang="en-US" u="none" baseline="0" dirty="0" smtClean="0"/>
              <a:t>This slide is a snapshot of all the countries LCIF has worked on social mobilization campaigns throughout our partnership. </a:t>
            </a:r>
          </a:p>
          <a:p>
            <a:endParaRPr lang="en-US" u="none" baseline="0" dirty="0" smtClean="0"/>
          </a:p>
          <a:p>
            <a:r>
              <a:rPr lang="en-US" u="none" baseline="0" dirty="0" smtClean="0"/>
              <a:t>In countries around the world, LCIF has helped </a:t>
            </a:r>
            <a:r>
              <a:rPr lang="en-US" u="none" baseline="0" dirty="0" err="1" smtClean="0"/>
              <a:t>Gavi</a:t>
            </a:r>
            <a:r>
              <a:rPr lang="en-US" u="none" baseline="0" dirty="0" smtClean="0"/>
              <a:t>, UNICEF, WHO, and many other critical partners of M&amp;RI achieve great outcomes for MR campaigns, through </a:t>
            </a:r>
            <a:r>
              <a:rPr lang="en-US" baseline="0" dirty="0" smtClean="0"/>
              <a:t>SMS messaging, mass media campaigns, door to door outreach, and stakeholder coordination among many other activities. Ministries of Health have noted their ability to reach marginalized communities, increase demand for vaccinations, and build greater awareness within local communities about the benefits of immunization. </a:t>
            </a:r>
            <a:endParaRPr lang="en-US" u="none" baseline="0" dirty="0" smtClean="0"/>
          </a:p>
        </p:txBody>
      </p:sp>
      <p:sp>
        <p:nvSpPr>
          <p:cNvPr id="4" name="Slide Number Placeholder 3"/>
          <p:cNvSpPr>
            <a:spLocks noGrp="1"/>
          </p:cNvSpPr>
          <p:nvPr>
            <p:ph type="sldNum" sz="quarter" idx="10"/>
          </p:nvPr>
        </p:nvSpPr>
        <p:spPr/>
        <p:txBody>
          <a:bodyPr/>
          <a:lstStyle/>
          <a:p>
            <a:fld id="{1B06CD8F-B7ED-4A05-9FB1-A01CC0EF02CC}" type="slidenum">
              <a:rPr lang="fr-FR" smtClean="0"/>
              <a:pPr/>
              <a:t>6</a:t>
            </a:fld>
            <a:endParaRPr lang="fr-FR"/>
          </a:p>
        </p:txBody>
      </p:sp>
    </p:spTree>
    <p:extLst>
      <p:ext uri="{BB962C8B-B14F-4D97-AF65-F5344CB8AC3E}">
        <p14:creationId xmlns:p14="http://schemas.microsoft.com/office/powerpoint/2010/main" val="143531515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pt-PT" dirty="0" smtClean="0"/>
              <a:t>- The Gavi</a:t>
            </a:r>
            <a:r>
              <a:rPr lang="pt-PT" baseline="0" dirty="0" smtClean="0"/>
              <a:t> strategy for the 2016-2020 period places a renewed focus and aims for </a:t>
            </a:r>
            <a:r>
              <a:rPr lang="pt-PT" b="1" baseline="0" dirty="0" smtClean="0"/>
              <a:t>shared accountability </a:t>
            </a:r>
            <a:r>
              <a:rPr lang="pt-PT" baseline="0" dirty="0" smtClean="0"/>
              <a:t>on Measles and Rubella across the Alliance; CLICK</a:t>
            </a:r>
          </a:p>
          <a:p>
            <a:pPr marL="174708" indent="-174708">
              <a:buFontTx/>
              <a:buChar char="-"/>
            </a:pPr>
            <a:r>
              <a:rPr lang="pt-PT" baseline="0" dirty="0" smtClean="0"/>
              <a:t>Strategic Goal 1 in particular focuses on the coverage and equity of immunisation; </a:t>
            </a:r>
          </a:p>
          <a:p>
            <a:pPr marL="174708" indent="-174708">
              <a:buFontTx/>
              <a:buChar char="-"/>
            </a:pPr>
            <a:r>
              <a:rPr lang="pt-PT" dirty="0" smtClean="0"/>
              <a:t>As part of this</a:t>
            </a:r>
            <a:r>
              <a:rPr lang="pt-PT" baseline="0" dirty="0" smtClean="0"/>
              <a:t> Strategic Goal, there are 4 Measles and Rubella-related indicators as outline on the slide</a:t>
            </a:r>
          </a:p>
          <a:p>
            <a:pPr marL="640594" lvl="1" indent="-174708">
              <a:buFontTx/>
              <a:buChar char="-"/>
            </a:pPr>
            <a:r>
              <a:rPr lang="pt-PT" baseline="0" dirty="0" smtClean="0"/>
              <a:t>Strategic Goal on MCV1, which aims for a 5% point increase by 2020</a:t>
            </a:r>
          </a:p>
          <a:p>
            <a:pPr marL="640594" lvl="1" indent="-174708">
              <a:buFontTx/>
              <a:buChar char="-"/>
            </a:pPr>
            <a:r>
              <a:rPr lang="pt-PT" baseline="0" dirty="0" smtClean="0"/>
              <a:t>Key Performance Indicator on MCV2, which aims for MCV2 reaching 90% of MCV1 coverage within 24 months of introduction</a:t>
            </a:r>
          </a:p>
          <a:p>
            <a:pPr marL="640594" lvl="1" indent="-174708">
              <a:buFontTx/>
              <a:buChar char="-"/>
            </a:pPr>
            <a:r>
              <a:rPr lang="pt-PT" baseline="0" dirty="0" smtClean="0"/>
              <a:t>Key Performance Indicator on SIA coverage, which aims for 90% of SIAs reaching 95% coverage (as validated by survey)</a:t>
            </a:r>
          </a:p>
          <a:p>
            <a:pPr marL="640594" lvl="1" indent="-174708">
              <a:buFontTx/>
              <a:buChar char="-"/>
            </a:pPr>
            <a:r>
              <a:rPr lang="pt-PT" baseline="0" smtClean="0"/>
              <a:t>And an indicator on the disease dashboard for measles incidence, to be used for monitoring purposes</a:t>
            </a:r>
            <a:endParaRPr lang="en-GB" dirty="0"/>
          </a:p>
        </p:txBody>
      </p:sp>
      <p:sp>
        <p:nvSpPr>
          <p:cNvPr id="4" name="Slide Number Placeholder 3"/>
          <p:cNvSpPr>
            <a:spLocks noGrp="1"/>
          </p:cNvSpPr>
          <p:nvPr>
            <p:ph type="sldNum" sz="quarter" idx="10"/>
          </p:nvPr>
        </p:nvSpPr>
        <p:spPr/>
        <p:txBody>
          <a:bodyPr/>
          <a:lstStyle/>
          <a:p>
            <a:pPr>
              <a:defRPr/>
            </a:pPr>
            <a:fld id="{5F79E413-DF5A-4098-98D9-A7FB29797CF8}" type="slidenum">
              <a:rPr lang="en-US" altLang="fr-FR" smtClean="0">
                <a:solidFill>
                  <a:srgbClr val="000000"/>
                </a:solidFill>
              </a:rPr>
              <a:pPr>
                <a:defRPr/>
              </a:pPr>
              <a:t>7</a:t>
            </a:fld>
            <a:endParaRPr lang="en-US" altLang="fr-FR">
              <a:solidFill>
                <a:srgbClr val="000000"/>
              </a:solidFill>
            </a:endParaRPr>
          </a:p>
        </p:txBody>
      </p:sp>
    </p:spTree>
    <p:extLst>
      <p:ext uri="{BB962C8B-B14F-4D97-AF65-F5344CB8AC3E}">
        <p14:creationId xmlns:p14="http://schemas.microsoft.com/office/powerpoint/2010/main" val="248956255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1B06CD8F-B7ED-4A05-9FB1-A01CC0EF02CC}" type="slidenum">
              <a:rPr lang="fr-FR" smtClean="0"/>
              <a:pPr/>
              <a:t>9</a:t>
            </a:fld>
            <a:endParaRPr lang="fr-FR"/>
          </a:p>
        </p:txBody>
      </p:sp>
    </p:spTree>
    <p:extLst>
      <p:ext uri="{BB962C8B-B14F-4D97-AF65-F5344CB8AC3E}">
        <p14:creationId xmlns:p14="http://schemas.microsoft.com/office/powerpoint/2010/main" val="53704346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lnSpcReduction="20000"/>
          </a:bodyPr>
          <a:lstStyle/>
          <a:p>
            <a:r>
              <a:rPr lang="en-US" b="0"/>
              <a:t>Large Gavi</a:t>
            </a:r>
            <a:r>
              <a:rPr lang="en-US" b="0" baseline="0"/>
              <a:t> investment (1.3b) in measles, which should be protected in next measles strategy. </a:t>
            </a:r>
          </a:p>
          <a:p>
            <a:endParaRPr lang="en-US" b="1"/>
          </a:p>
          <a:p>
            <a:r>
              <a:rPr lang="en-US" b="1"/>
              <a:t>IMPACT: </a:t>
            </a:r>
          </a:p>
          <a:p>
            <a:endParaRPr lang="en-GB"/>
          </a:p>
          <a:p>
            <a:r>
              <a:rPr lang="en-GB"/>
              <a:t>Projected by</a:t>
            </a:r>
            <a:r>
              <a:rPr lang="en-GB" baseline="0"/>
              <a:t> </a:t>
            </a:r>
            <a:r>
              <a:rPr lang="en-GB"/>
              <a:t>2020: the current Gavi support totalling US $1.3 billion, countries will have averted more than 2 million future deaths from both measles and rubella.</a:t>
            </a:r>
            <a:r>
              <a:rPr lang="en-GB" baseline="0"/>
              <a:t> </a:t>
            </a:r>
          </a:p>
          <a:p>
            <a:endParaRPr lang="en-US" baseline="0"/>
          </a:p>
          <a:p>
            <a:r>
              <a:rPr lang="en-GB"/>
              <a:t>Worldwide coverage for both routine doses and SIAs contributed to a 72% reduction in measles incidence and an estimated 75% reduction in measles mortality. </a:t>
            </a:r>
          </a:p>
          <a:p>
            <a:endParaRPr lang="en-US"/>
          </a:p>
          <a:p>
            <a:r>
              <a:rPr lang="en-GB"/>
              <a:t>From inception to the end of 2014, a total of 25 million children in their second year of life have been vaccinated with measles through the routine programme with Gavi support contributing to 20,000 future deaths averted.</a:t>
            </a:r>
          </a:p>
          <a:p>
            <a:endParaRPr lang="en-US"/>
          </a:p>
          <a:p>
            <a:r>
              <a:rPr lang="en-GB"/>
              <a:t>Past Gavi’s investment in M&amp;RI of US$ 176 million contributed to averting 860,000 future deaths.</a:t>
            </a:r>
          </a:p>
          <a:p>
            <a:endParaRPr lang="en-US"/>
          </a:p>
          <a:p>
            <a:r>
              <a:rPr lang="en-US" b="1"/>
              <a:t>COST:</a:t>
            </a:r>
            <a:endParaRPr lang="en-GB" b="1"/>
          </a:p>
          <a:p>
            <a:endParaRPr lang="en-US"/>
          </a:p>
          <a:p>
            <a:r>
              <a:rPr lang="en-GB"/>
              <a:t>By the end of 2014 Gavi had disbursed US$ 338 million for the various components of the measles and rubella programme and US$ 201million to the Measles &amp; Rubella Initiative (M&amp;RI). </a:t>
            </a:r>
          </a:p>
          <a:p>
            <a:endParaRPr lang="en-GB"/>
          </a:p>
          <a:p>
            <a:r>
              <a:rPr lang="en-GB"/>
              <a:t>For the period 2015-2020, US$ 747 million are forecasted for the support to countries across the 4 components of the programme, bringing to a total of </a:t>
            </a:r>
            <a:r>
              <a:rPr lang="en-GB" b="1"/>
              <a:t>approximately US$ 1.3 billion </a:t>
            </a:r>
            <a:r>
              <a:rPr lang="en-GB"/>
              <a:t>the total size of Gavi’s investment in measles and rubella by 2020, </a:t>
            </a:r>
            <a:r>
              <a:rPr lang="en-GB" u="sng"/>
              <a:t>excluding the funds provided through the Business Plan</a:t>
            </a:r>
            <a:r>
              <a:rPr lang="en-GB"/>
              <a:t>.</a:t>
            </a:r>
          </a:p>
        </p:txBody>
      </p:sp>
      <p:sp>
        <p:nvSpPr>
          <p:cNvPr id="4" name="Slide Number Placeholder 3"/>
          <p:cNvSpPr>
            <a:spLocks noGrp="1"/>
          </p:cNvSpPr>
          <p:nvPr>
            <p:ph type="sldNum" sz="quarter" idx="10"/>
          </p:nvPr>
        </p:nvSpPr>
        <p:spPr/>
        <p:txBody>
          <a:bodyPr/>
          <a:lstStyle/>
          <a:p>
            <a:fld id="{1B06CD8F-B7ED-4A05-9FB1-A01CC0EF02CC}" type="slidenum">
              <a:rPr lang="fr-FR" smtClean="0"/>
              <a:pPr/>
              <a:t>10</a:t>
            </a:fld>
            <a:endParaRPr lang="fr-FR"/>
          </a:p>
        </p:txBody>
      </p:sp>
    </p:spTree>
    <p:extLst>
      <p:ext uri="{BB962C8B-B14F-4D97-AF65-F5344CB8AC3E}">
        <p14:creationId xmlns:p14="http://schemas.microsoft.com/office/powerpoint/2010/main" val="70475586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8.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4.png"/><Relationship Id="rId1" Type="http://schemas.openxmlformats.org/officeDocument/2006/relationships/slideMaster" Target="../slideMasters/slideMaster8.xml"/></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6.png"/><Relationship Id="rId1" Type="http://schemas.openxmlformats.org/officeDocument/2006/relationships/slideMaster" Target="../slideMasters/slideMaster8.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9.xml"/></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6.png"/><Relationship Id="rId1" Type="http://schemas.openxmlformats.org/officeDocument/2006/relationships/slideMaster" Target="../slideMasters/slideMaster9.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9.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6.png"/><Relationship Id="rId1" Type="http://schemas.openxmlformats.org/officeDocument/2006/relationships/slideMaster" Target="../slideMasters/slideMaster9.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10.xml"/></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4.png"/><Relationship Id="rId1" Type="http://schemas.openxmlformats.org/officeDocument/2006/relationships/slideMaster" Target="../slideMasters/slideMaster10.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6.png"/><Relationship Id="rId1" Type="http://schemas.openxmlformats.org/officeDocument/2006/relationships/slideMaster" Target="../slideMasters/slideMaster10.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0.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4.png"/><Relationship Id="rId1" Type="http://schemas.openxmlformats.org/officeDocument/2006/relationships/slideMaster" Target="../slideMasters/slideMaster10.xml"/></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6.png"/><Relationship Id="rId1" Type="http://schemas.openxmlformats.org/officeDocument/2006/relationships/slideMaster" Target="../slideMasters/slideMaster10.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9.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slideMaster" Target="../slideMasters/slideMaster11.xml"/><Relationship Id="rId7" Type="http://schemas.openxmlformats.org/officeDocument/2006/relationships/image" Target="../media/image3.png"/><Relationship Id="rId2" Type="http://schemas.openxmlformats.org/officeDocument/2006/relationships/tags" Target="../tags/tag20.xml"/><Relationship Id="rId1" Type="http://schemas.openxmlformats.org/officeDocument/2006/relationships/vmlDrawing" Target="../drawings/vmlDrawing2.vml"/><Relationship Id="rId6" Type="http://schemas.openxmlformats.org/officeDocument/2006/relationships/image" Target="../media/image6.png"/><Relationship Id="rId5" Type="http://schemas.openxmlformats.org/officeDocument/2006/relationships/image" Target="../media/image16.emf"/><Relationship Id="rId4" Type="http://schemas.openxmlformats.org/officeDocument/2006/relationships/oleObject" Target="../embeddings/oleObject2.bin"/><Relationship Id="rId9" Type="http://schemas.openxmlformats.org/officeDocument/2006/relationships/image" Target="../media/image18.jpeg"/></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21.xml"/><Relationship Id="rId1" Type="http://schemas.openxmlformats.org/officeDocument/2006/relationships/vmlDrawing" Target="../drawings/vmlDrawing3.vml"/><Relationship Id="rId5" Type="http://schemas.openxmlformats.org/officeDocument/2006/relationships/image" Target="../media/image19.emf"/><Relationship Id="rId4" Type="http://schemas.openxmlformats.org/officeDocument/2006/relationships/oleObject" Target="../embeddings/oleObject3.bin"/></Relationships>
</file>

<file path=ppt/slideLayouts/_rels/slideLayout131.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22.xml"/><Relationship Id="rId1" Type="http://schemas.openxmlformats.org/officeDocument/2006/relationships/vmlDrawing" Target="../drawings/vmlDrawing4.vml"/><Relationship Id="rId5" Type="http://schemas.openxmlformats.org/officeDocument/2006/relationships/image" Target="../media/image19.emf"/><Relationship Id="rId4" Type="http://schemas.openxmlformats.org/officeDocument/2006/relationships/oleObject" Target="../embeddings/oleObject4.bin"/></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4.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23.xml"/><Relationship Id="rId1" Type="http://schemas.openxmlformats.org/officeDocument/2006/relationships/vmlDrawing" Target="../drawings/vmlDrawing5.vml"/><Relationship Id="rId5" Type="http://schemas.openxmlformats.org/officeDocument/2006/relationships/image" Target="../media/image19.emf"/><Relationship Id="rId4" Type="http://schemas.openxmlformats.org/officeDocument/2006/relationships/oleObject" Target="../embeddings/oleObject5.bin"/></Relationships>
</file>

<file path=ppt/slideLayouts/_rels/slideLayout135.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slideMaster" Target="../slideMasters/slideMaster12.xml"/><Relationship Id="rId7" Type="http://schemas.openxmlformats.org/officeDocument/2006/relationships/image" Target="../media/image3.png"/><Relationship Id="rId2" Type="http://schemas.openxmlformats.org/officeDocument/2006/relationships/tags" Target="../tags/tag43.xml"/><Relationship Id="rId1" Type="http://schemas.openxmlformats.org/officeDocument/2006/relationships/vmlDrawing" Target="../drawings/vmlDrawing7.vml"/><Relationship Id="rId6" Type="http://schemas.openxmlformats.org/officeDocument/2006/relationships/image" Target="../media/image6.png"/><Relationship Id="rId5" Type="http://schemas.openxmlformats.org/officeDocument/2006/relationships/image" Target="../media/image16.emf"/><Relationship Id="rId4" Type="http://schemas.openxmlformats.org/officeDocument/2006/relationships/oleObject" Target="../embeddings/oleObject7.bin"/><Relationship Id="rId9" Type="http://schemas.openxmlformats.org/officeDocument/2006/relationships/image" Target="../media/image18.jpeg"/></Relationships>
</file>

<file path=ppt/slideLayouts/_rels/slideLayout136.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44.xml"/><Relationship Id="rId1" Type="http://schemas.openxmlformats.org/officeDocument/2006/relationships/vmlDrawing" Target="../drawings/vmlDrawing8.vml"/><Relationship Id="rId5" Type="http://schemas.openxmlformats.org/officeDocument/2006/relationships/image" Target="../media/image19.emf"/><Relationship Id="rId4" Type="http://schemas.openxmlformats.org/officeDocument/2006/relationships/oleObject" Target="../embeddings/oleObject8.bin"/></Relationships>
</file>

<file path=ppt/slideLayouts/_rels/slideLayout137.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45.xml"/><Relationship Id="rId1" Type="http://schemas.openxmlformats.org/officeDocument/2006/relationships/vmlDrawing" Target="../drawings/vmlDrawing9.vml"/><Relationship Id="rId5" Type="http://schemas.openxmlformats.org/officeDocument/2006/relationships/image" Target="../media/image19.emf"/><Relationship Id="rId4" Type="http://schemas.openxmlformats.org/officeDocument/2006/relationships/oleObject" Target="../embeddings/oleObject9.bin"/></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46.xml"/><Relationship Id="rId1" Type="http://schemas.openxmlformats.org/officeDocument/2006/relationships/vmlDrawing" Target="../drawings/vmlDrawing10.vml"/><Relationship Id="rId5" Type="http://schemas.openxmlformats.org/officeDocument/2006/relationships/image" Target="../media/image20.emf"/><Relationship Id="rId4" Type="http://schemas.openxmlformats.org/officeDocument/2006/relationships/oleObject" Target="../embeddings/oleObject10.bin"/></Relationships>
</file>

<file path=ppt/slideLayouts/_rels/slideLayout14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13.xml"/></Relationships>
</file>

<file path=ppt/slideLayouts/_rels/slideLayout14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4.png"/><Relationship Id="rId1" Type="http://schemas.openxmlformats.org/officeDocument/2006/relationships/slideMaster" Target="../slideMasters/slideMaster13.xml"/></Relationships>
</file>

<file path=ppt/slideLayouts/_rels/slideLayout14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6.png"/><Relationship Id="rId1" Type="http://schemas.openxmlformats.org/officeDocument/2006/relationships/slideMaster" Target="../slideMasters/slideMaster13.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3.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4.png"/><Relationship Id="rId1" Type="http://schemas.openxmlformats.org/officeDocument/2006/relationships/slideMaster" Target="../slideMasters/slideMaster13.xml"/></Relationships>
</file>

<file path=ppt/slideLayouts/_rels/slideLayout14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6.png"/><Relationship Id="rId1" Type="http://schemas.openxmlformats.org/officeDocument/2006/relationships/slideMaster" Target="../slideMasters/slideMaster13.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14.xml"/></Relationships>
</file>

<file path=ppt/slideLayouts/_rels/slideLayout15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4.png"/><Relationship Id="rId1" Type="http://schemas.openxmlformats.org/officeDocument/2006/relationships/slideMaster" Target="../slideMasters/slideMaster14.xml"/></Relationships>
</file>

<file path=ppt/slideLayouts/_rels/slideLayout15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6.png"/><Relationship Id="rId1" Type="http://schemas.openxmlformats.org/officeDocument/2006/relationships/slideMaster" Target="../slideMasters/slideMaster14.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4.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5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4.png"/><Relationship Id="rId1" Type="http://schemas.openxmlformats.org/officeDocument/2006/relationships/slideMaster" Target="../slideMasters/slideMaster14.xml"/></Relationships>
</file>

<file path=ppt/slideLayouts/_rels/slideLayout15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6.png"/><Relationship Id="rId1" Type="http://schemas.openxmlformats.org/officeDocument/2006/relationships/slideMaster" Target="../slideMasters/slideMaster14.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6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15.xml"/></Relationships>
</file>

<file path=ppt/slideLayouts/_rels/slideLayout16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4.png"/><Relationship Id="rId1" Type="http://schemas.openxmlformats.org/officeDocument/2006/relationships/slideMaster" Target="../slideMasters/slideMaster15.xml"/></Relationships>
</file>

<file path=ppt/slideLayouts/_rels/slideLayout16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6.png"/><Relationship Id="rId1" Type="http://schemas.openxmlformats.org/officeDocument/2006/relationships/slideMaster" Target="../slideMasters/slideMaster15.xml"/></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5.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6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4.png"/><Relationship Id="rId1" Type="http://schemas.openxmlformats.org/officeDocument/2006/relationships/slideMaster" Target="../slideMasters/slideMaster15.xml"/></Relationships>
</file>

<file path=ppt/slideLayouts/_rels/slideLayout16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6.png"/><Relationship Id="rId1" Type="http://schemas.openxmlformats.org/officeDocument/2006/relationships/slideMaster" Target="../slideMasters/slideMaster15.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7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16.xml"/></Relationships>
</file>

<file path=ppt/slideLayouts/_rels/slideLayout17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4.png"/><Relationship Id="rId1" Type="http://schemas.openxmlformats.org/officeDocument/2006/relationships/slideMaster" Target="../slideMasters/slideMaster16.xml"/></Relationships>
</file>

<file path=ppt/slideLayouts/_rels/slideLayout17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6.png"/><Relationship Id="rId1" Type="http://schemas.openxmlformats.org/officeDocument/2006/relationships/slideMaster" Target="../slideMasters/slideMaster16.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6.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7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4.png"/><Relationship Id="rId1" Type="http://schemas.openxmlformats.org/officeDocument/2006/relationships/slideMaster" Target="../slideMasters/slideMaster16.xml"/></Relationships>
</file>

<file path=ppt/slideLayouts/_rels/slideLayout17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6.png"/><Relationship Id="rId1" Type="http://schemas.openxmlformats.org/officeDocument/2006/relationships/slideMaster" Target="../slideMasters/slideMaster16.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8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17.xml"/></Relationships>
</file>

<file path=ppt/slideLayouts/_rels/slideLayout18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4.png"/><Relationship Id="rId1" Type="http://schemas.openxmlformats.org/officeDocument/2006/relationships/slideMaster" Target="../slideMasters/slideMaster17.xml"/></Relationships>
</file>

<file path=ppt/slideLayouts/_rels/slideLayout18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6.png"/><Relationship Id="rId1" Type="http://schemas.openxmlformats.org/officeDocument/2006/relationships/slideMaster" Target="../slideMasters/slideMaster17.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7.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8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4.png"/><Relationship Id="rId1" Type="http://schemas.openxmlformats.org/officeDocument/2006/relationships/slideMaster" Target="../slideMasters/slideMaster17.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6.png"/><Relationship Id="rId1" Type="http://schemas.openxmlformats.org/officeDocument/2006/relationships/slideMaster" Target="../slideMasters/slideMaster17.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9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18.xml"/></Relationships>
</file>

<file path=ppt/slideLayouts/_rels/slideLayout19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4.png"/><Relationship Id="rId1" Type="http://schemas.openxmlformats.org/officeDocument/2006/relationships/slideMaster" Target="../slideMasters/slideMaster18.xml"/></Relationships>
</file>

<file path=ppt/slideLayouts/_rels/slideLayout19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6.png"/><Relationship Id="rId1" Type="http://schemas.openxmlformats.org/officeDocument/2006/relationships/slideMaster" Target="../slideMasters/slideMaster18.xml"/></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8.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9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4.png"/><Relationship Id="rId1" Type="http://schemas.openxmlformats.org/officeDocument/2006/relationships/slideMaster" Target="../slideMasters/slideMaster18.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8.jpe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20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6.png"/><Relationship Id="rId1" Type="http://schemas.openxmlformats.org/officeDocument/2006/relationships/slideMaster" Target="../slideMasters/slideMaster18.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0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19.xml"/></Relationships>
</file>

<file path=ppt/slideLayouts/_rels/slideLayout20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png"/><Relationship Id="rId1" Type="http://schemas.openxmlformats.org/officeDocument/2006/relationships/slideMaster" Target="../slideMasters/slideMaster19.xml"/></Relationships>
</file>

<file path=ppt/slideLayouts/_rels/slideLayout20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9.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1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8.jpeg"/><Relationship Id="rId1" Type="http://schemas.openxmlformats.org/officeDocument/2006/relationships/slideMaster" Target="../slideMasters/slideMaster19.xml"/><Relationship Id="rId4" Type="http://schemas.openxmlformats.org/officeDocument/2006/relationships/image" Target="../media/image3.png"/></Relationships>
</file>

<file path=ppt/slideLayouts/_rels/slideLayout21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png"/><Relationship Id="rId1" Type="http://schemas.openxmlformats.org/officeDocument/2006/relationships/slideMaster" Target="../slideMasters/slideMaster19.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2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20.xml"/></Relationships>
</file>

<file path=ppt/slideLayouts/_rels/slideLayout22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4.png"/><Relationship Id="rId1" Type="http://schemas.openxmlformats.org/officeDocument/2006/relationships/slideMaster" Target="../slideMasters/slideMaster20.xml"/></Relationships>
</file>

<file path=ppt/slideLayouts/_rels/slideLayout22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6.png"/><Relationship Id="rId1" Type="http://schemas.openxmlformats.org/officeDocument/2006/relationships/slideMaster" Target="../slideMasters/slideMaster20.xml"/></Relationships>
</file>

<file path=ppt/slideLayouts/_rels/slideLayout22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0.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2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4.png"/><Relationship Id="rId1" Type="http://schemas.openxmlformats.org/officeDocument/2006/relationships/slideMaster" Target="../slideMasters/slideMaster20.xml"/></Relationships>
</file>

<file path=ppt/slideLayouts/_rels/slideLayout22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6.png"/><Relationship Id="rId1" Type="http://schemas.openxmlformats.org/officeDocument/2006/relationships/slideMaster" Target="../slideMasters/slideMaster20.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3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21.xml"/></Relationships>
</file>

<file path=ppt/slideLayouts/_rels/slideLayout23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4.png"/><Relationship Id="rId1" Type="http://schemas.openxmlformats.org/officeDocument/2006/relationships/slideMaster" Target="../slideMasters/slideMaster21.xml"/></Relationships>
</file>

<file path=ppt/slideLayouts/_rels/slideLayout23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6.png"/><Relationship Id="rId1" Type="http://schemas.openxmlformats.org/officeDocument/2006/relationships/slideMaster" Target="../slideMasters/slideMaster21.xml"/></Relationships>
</file>

<file path=ppt/slideLayouts/_rels/slideLayout23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1.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3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4.png"/><Relationship Id="rId1" Type="http://schemas.openxmlformats.org/officeDocument/2006/relationships/slideMaster" Target="../slideMasters/slideMaster21.xml"/></Relationships>
</file>

<file path=ppt/slideLayouts/_rels/slideLayout23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6.png"/><Relationship Id="rId1" Type="http://schemas.openxmlformats.org/officeDocument/2006/relationships/slideMaster" Target="../slideMasters/slideMaster21.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7.xml"/><Relationship Id="rId4" Type="http://schemas.openxmlformats.org/officeDocument/2006/relationships/image" Target="../media/image3.png"/></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8.jpeg"/><Relationship Id="rId1" Type="http://schemas.openxmlformats.org/officeDocument/2006/relationships/slideMaster" Target="../slideMasters/slideMaster7.xml"/><Relationship Id="rId4" Type="http://schemas.openxmlformats.org/officeDocument/2006/relationships/image" Target="../media/image3.png"/></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8.xml"/></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4.png"/><Relationship Id="rId1" Type="http://schemas.openxmlformats.org/officeDocument/2006/relationships/slideMaster" Target="../slideMasters/slideMaster8.xml"/></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6.png"/><Relationship Id="rId1" Type="http://schemas.openxmlformats.org/officeDocument/2006/relationships/slideMaster" Target="../slideMasters/slideMaster8.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_Green">
    <p:spTree>
      <p:nvGrpSpPr>
        <p:cNvPr id="1" name=""/>
        <p:cNvGrpSpPr/>
        <p:nvPr/>
      </p:nvGrpSpPr>
      <p:grpSpPr>
        <a:xfrm>
          <a:off x="0" y="0"/>
          <a:ext cx="0" cy="0"/>
          <a:chOff x="0" y="0"/>
          <a:chExt cx="0" cy="0"/>
        </a:xfrm>
      </p:grpSpPr>
      <p:pic>
        <p:nvPicPr>
          <p:cNvPr id="19" name="Image 18" descr="FD_02.png"/>
          <p:cNvPicPr>
            <a:picLocks noChangeAspect="1"/>
          </p:cNvPicPr>
          <p:nvPr userDrawn="1"/>
        </p:nvPicPr>
        <p:blipFill>
          <a:blip r:embed="rId2" cstate="print"/>
          <a:stretch>
            <a:fillRect/>
          </a:stretch>
        </p:blipFill>
        <p:spPr bwMode="gray">
          <a:xfrm>
            <a:off x="0" y="0"/>
            <a:ext cx="9144000" cy="5157788"/>
          </a:xfrm>
          <a:prstGeom prst="rect">
            <a:avLst/>
          </a:prstGeom>
        </p:spPr>
      </p:pic>
      <p:sp>
        <p:nvSpPr>
          <p:cNvPr id="22" name="Rectangle 21"/>
          <p:cNvSpPr/>
          <p:nvPr userDrawn="1"/>
        </p:nvSpPr>
        <p:spPr bwMode="gray">
          <a:xfrm>
            <a:off x="3635375" y="5265204"/>
            <a:ext cx="5508625" cy="15927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pic>
        <p:nvPicPr>
          <p:cNvPr id="20" name="Image 19" descr="Bas_couv.png"/>
          <p:cNvPicPr>
            <a:picLocks noChangeAspect="1"/>
          </p:cNvPicPr>
          <p:nvPr userDrawn="1"/>
        </p:nvPicPr>
        <p:blipFill>
          <a:blip r:embed="rId3" cstate="print"/>
          <a:srcRect r="60243" b="722"/>
          <a:stretch>
            <a:fillRect/>
          </a:stretch>
        </p:blipFill>
        <p:spPr bwMode="gray">
          <a:xfrm>
            <a:off x="0" y="5172520"/>
            <a:ext cx="3635375" cy="1685480"/>
          </a:xfrm>
          <a:prstGeom prst="rect">
            <a:avLst/>
          </a:prstGeom>
        </p:spPr>
      </p:pic>
      <p:sp>
        <p:nvSpPr>
          <p:cNvPr id="9" name="Espace réservé du texte 8"/>
          <p:cNvSpPr>
            <a:spLocks noGrp="1"/>
          </p:cNvSpPr>
          <p:nvPr>
            <p:ph type="body" sz="quarter" idx="13" hasCustomPrompt="1"/>
          </p:nvPr>
        </p:nvSpPr>
        <p:spPr bwMode="gray">
          <a:xfrm>
            <a:off x="468314" y="1036800"/>
            <a:ext cx="4824412" cy="2232000"/>
          </a:xfrm>
        </p:spPr>
        <p:txBody>
          <a:bodyPr anchor="b" anchorCtr="0"/>
          <a:lstStyle>
            <a:lvl1pPr marL="0" indent="0" algn="l">
              <a:lnSpc>
                <a:spcPct val="90000"/>
              </a:lnSpc>
              <a:buNone/>
              <a:defRPr sz="2800" b="1" cap="none" baseline="0">
                <a:solidFill>
                  <a:schemeClr val="bg1"/>
                </a:solidFill>
              </a:defRPr>
            </a:lvl1pPr>
            <a:lvl2pPr marL="0" algn="ctr">
              <a:lnSpc>
                <a:spcPct val="100000"/>
              </a:lnSpc>
              <a:spcBef>
                <a:spcPts val="6900"/>
              </a:spcBef>
              <a:defRPr sz="2000" b="1">
                <a:solidFill>
                  <a:schemeClr val="bg1"/>
                </a:solidFill>
              </a:defRPr>
            </a:lvl2pPr>
          </a:lstStyle>
          <a:p>
            <a:pPr lvl="0"/>
            <a:r>
              <a:rPr lang="en-US" noProof="0"/>
              <a:t>TITLE</a:t>
            </a:r>
          </a:p>
        </p:txBody>
      </p:sp>
      <p:sp>
        <p:nvSpPr>
          <p:cNvPr id="8" name="Espace réservé du texte 8"/>
          <p:cNvSpPr>
            <a:spLocks noGrp="1"/>
          </p:cNvSpPr>
          <p:nvPr>
            <p:ph type="body" sz="quarter" idx="14" hasCustomPrompt="1"/>
          </p:nvPr>
        </p:nvSpPr>
        <p:spPr bwMode="gray">
          <a:xfrm>
            <a:off x="468314" y="3585600"/>
            <a:ext cx="4824411" cy="1479600"/>
          </a:xfrm>
        </p:spPr>
        <p:txBody>
          <a:bodyPr anchor="t" anchorCtr="0"/>
          <a:lstStyle>
            <a:lvl1pPr marL="0" indent="0" algn="l">
              <a:lnSpc>
                <a:spcPct val="90000"/>
              </a:lnSpc>
              <a:buNone/>
              <a:defRPr sz="2000" b="0" baseline="0">
                <a:solidFill>
                  <a:schemeClr val="bg1"/>
                </a:solidFill>
              </a:defRPr>
            </a:lvl1pPr>
            <a:lvl2pPr marL="0" algn="ctr">
              <a:lnSpc>
                <a:spcPct val="100000"/>
              </a:lnSpc>
              <a:spcBef>
                <a:spcPts val="6900"/>
              </a:spcBef>
              <a:defRPr sz="2000" b="1">
                <a:solidFill>
                  <a:schemeClr val="bg1"/>
                </a:solidFill>
              </a:defRPr>
            </a:lvl2pPr>
          </a:lstStyle>
          <a:p>
            <a:pPr lvl="0"/>
            <a:r>
              <a:rPr lang="en-US" noProof="0"/>
              <a:t>SUBTITLE</a:t>
            </a:r>
          </a:p>
        </p:txBody>
      </p:sp>
      <p:sp>
        <p:nvSpPr>
          <p:cNvPr id="10" name="Espace réservé de la date 9"/>
          <p:cNvSpPr>
            <a:spLocks noGrp="1"/>
          </p:cNvSpPr>
          <p:nvPr>
            <p:ph type="dt" sz="half" idx="15"/>
          </p:nvPr>
        </p:nvSpPr>
        <p:spPr bwMode="gray"/>
        <p:txBody>
          <a:bodyPr/>
          <a:lstStyle/>
          <a:p>
            <a:r>
              <a:rPr lang="en-US" noProof="0"/>
              <a:t>Date</a:t>
            </a:r>
          </a:p>
        </p:txBody>
      </p:sp>
      <p:sp>
        <p:nvSpPr>
          <p:cNvPr id="11" name="Espace réservé du numéro de diapositive 10"/>
          <p:cNvSpPr>
            <a:spLocks noGrp="1"/>
          </p:cNvSpPr>
          <p:nvPr>
            <p:ph type="sldNum" sz="quarter" idx="16"/>
          </p:nvPr>
        </p:nvSpPr>
        <p:spPr bwMode="gray"/>
        <p:txBody>
          <a:bodyPr/>
          <a:lstStyle>
            <a:lvl1pPr>
              <a:defRPr sz="100">
                <a:solidFill>
                  <a:schemeClr val="bg1">
                    <a:alpha val="0"/>
                  </a:schemeClr>
                </a:solidFill>
              </a:defRPr>
            </a:lvl1pPr>
          </a:lstStyle>
          <a:p>
            <a:pPr algn="l"/>
            <a:r>
              <a:rPr lang="en-US" noProof="0"/>
              <a:t>Page: </a:t>
            </a:r>
            <a:fld id="{733122C9-A0B9-462F-8757-0847AD287B63}" type="slidenum">
              <a:rPr lang="en-US" noProof="0" smtClean="0"/>
              <a:pPr algn="l"/>
              <a:t>‹#›</a:t>
            </a:fld>
            <a:endParaRPr lang="en-US" noProof="0"/>
          </a:p>
        </p:txBody>
      </p:sp>
      <p:sp>
        <p:nvSpPr>
          <p:cNvPr id="12" name="Espace réservé du pied de page 11"/>
          <p:cNvSpPr>
            <a:spLocks noGrp="1"/>
          </p:cNvSpPr>
          <p:nvPr>
            <p:ph type="ftr" sz="quarter" idx="17"/>
          </p:nvPr>
        </p:nvSpPr>
        <p:spPr bwMode="gray">
          <a:xfrm>
            <a:off x="468312" y="524188"/>
            <a:ext cx="4824413" cy="360000"/>
          </a:xfrm>
        </p:spPr>
        <p:txBody>
          <a:bodyPr/>
          <a:lstStyle>
            <a:lvl1pPr algn="l">
              <a:defRPr sz="1800" b="0">
                <a:solidFill>
                  <a:schemeClr val="bg1"/>
                </a:solidFill>
              </a:defRPr>
            </a:lvl1pPr>
          </a:lstStyle>
          <a:p>
            <a:r>
              <a:rPr lang="en-US" noProof="0"/>
              <a:t>#add your hashtag</a:t>
            </a:r>
          </a:p>
        </p:txBody>
      </p:sp>
      <p:sp>
        <p:nvSpPr>
          <p:cNvPr id="15" name="Espace réservé du texte 14"/>
          <p:cNvSpPr>
            <a:spLocks noGrp="1"/>
          </p:cNvSpPr>
          <p:nvPr>
            <p:ph type="body" sz="quarter" idx="19" hasCustomPrompt="1"/>
          </p:nvPr>
        </p:nvSpPr>
        <p:spPr bwMode="gray">
          <a:xfrm>
            <a:off x="3635376" y="6021388"/>
            <a:ext cx="5113338" cy="324000"/>
          </a:xfrm>
        </p:spPr>
        <p:txBody>
          <a:bodyPr anchor="b" anchorCtr="0"/>
          <a:lstStyle>
            <a:lvl1pPr algn="r">
              <a:lnSpc>
                <a:spcPct val="100000"/>
              </a:lnSpc>
              <a:defRPr sz="1000" b="1">
                <a:solidFill>
                  <a:schemeClr val="accent2"/>
                </a:solidFill>
              </a:defRPr>
            </a:lvl1pPr>
          </a:lstStyle>
          <a:p>
            <a:pPr lvl="0"/>
            <a:r>
              <a:rPr lang="en-US" noProof="0"/>
              <a:t>Write your claim here</a:t>
            </a:r>
          </a:p>
        </p:txBody>
      </p:sp>
      <p:sp>
        <p:nvSpPr>
          <p:cNvPr id="16" name="Rectangle 15"/>
          <p:cNvSpPr/>
          <p:nvPr userDrawn="1"/>
        </p:nvSpPr>
        <p:spPr bwMode="gray">
          <a:xfrm>
            <a:off x="3635375" y="6354202"/>
            <a:ext cx="5113338" cy="2872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r"/>
            <a:r>
              <a:rPr lang="en-US" sz="1000" noProof="0">
                <a:solidFill>
                  <a:schemeClr val="accent3"/>
                </a:solidFill>
              </a:rPr>
              <a:t>www.gavi.org</a:t>
            </a:r>
          </a:p>
        </p:txBody>
      </p:sp>
      <p:sp>
        <p:nvSpPr>
          <p:cNvPr id="18" name="Rectangle 17"/>
          <p:cNvSpPr/>
          <p:nvPr userDrawn="1"/>
        </p:nvSpPr>
        <p:spPr bwMode="gray">
          <a:xfrm>
            <a:off x="468313" y="3391895"/>
            <a:ext cx="2448000" cy="252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xt&amp;Content&amp;Picture_Layout">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p:txBody>
          <a:bodyPr/>
          <a:lstStyle/>
          <a:p>
            <a:r>
              <a:rPr lang="en-US" noProof="0"/>
              <a:t>TITLE</a:t>
            </a:r>
          </a:p>
        </p:txBody>
      </p:sp>
      <p:sp>
        <p:nvSpPr>
          <p:cNvPr id="3" name="Espace réservé du contenu 2"/>
          <p:cNvSpPr>
            <a:spLocks noGrp="1"/>
          </p:cNvSpPr>
          <p:nvPr>
            <p:ph idx="1" hasCustomPrompt="1"/>
          </p:nvPr>
        </p:nvSpPr>
        <p:spPr bwMode="gray">
          <a:xfrm>
            <a:off x="935038" y="2781388"/>
            <a:ext cx="4392000" cy="3240000"/>
          </a:xfrm>
        </p:spPr>
        <p:txBody>
          <a:bodyPr/>
          <a:lstStyle>
            <a:lvl2pPr>
              <a:defRPr/>
            </a:lvl2pPr>
            <a:lvl3pPr>
              <a:defRPr/>
            </a:lvl3pPr>
            <a:lvl4pPr>
              <a:defRPr baseline="0"/>
            </a:lvl4pPr>
            <a:lvl5pPr>
              <a:defRPr/>
            </a:lvl5pPr>
          </a:lstStyle>
          <a:p>
            <a:pPr lvl="0"/>
            <a:r>
              <a:rPr lang="en-US" noProof="0"/>
              <a:t>Text level 1</a:t>
            </a:r>
          </a:p>
          <a:p>
            <a:pPr lvl="1"/>
            <a:r>
              <a:rPr lang="en-US" noProof="0"/>
              <a:t>Text level 2</a:t>
            </a:r>
          </a:p>
          <a:p>
            <a:pPr lvl="2"/>
            <a:r>
              <a:rPr lang="en-US" noProof="0"/>
              <a:t>Text level 3</a:t>
            </a:r>
          </a:p>
          <a:p>
            <a:pPr lvl="3"/>
            <a:r>
              <a:rPr lang="en-US" noProof="0"/>
              <a:t>Text level 4</a:t>
            </a:r>
          </a:p>
          <a:p>
            <a:pPr lvl="4"/>
            <a:r>
              <a:rPr lang="en-US" noProof="0"/>
              <a:t>Text level 5</a:t>
            </a:r>
          </a:p>
        </p:txBody>
      </p:sp>
      <p:sp>
        <p:nvSpPr>
          <p:cNvPr id="10" name="Espace réservé du texte 9"/>
          <p:cNvSpPr>
            <a:spLocks noGrp="1"/>
          </p:cNvSpPr>
          <p:nvPr>
            <p:ph type="body" sz="quarter" idx="13" hasCustomPrompt="1"/>
          </p:nvPr>
        </p:nvSpPr>
        <p:spPr bwMode="gray">
          <a:xfrm>
            <a:off x="935038" y="1304924"/>
            <a:ext cx="7345362" cy="1260000"/>
          </a:xfrm>
        </p:spPr>
        <p:txBody>
          <a:bodyPr/>
          <a:lstStyle/>
          <a:p>
            <a:pPr lvl="0"/>
            <a:r>
              <a:rPr lang="en-US" noProof="0"/>
              <a:t>Text level 1</a:t>
            </a:r>
          </a:p>
          <a:p>
            <a:pPr lvl="1"/>
            <a:r>
              <a:rPr lang="en-US" noProof="0"/>
              <a:t>Text level 2</a:t>
            </a:r>
          </a:p>
          <a:p>
            <a:pPr lvl="2"/>
            <a:r>
              <a:rPr lang="en-US" noProof="0"/>
              <a:t>Text level 3</a:t>
            </a:r>
          </a:p>
          <a:p>
            <a:pPr lvl="3"/>
            <a:r>
              <a:rPr lang="en-US" noProof="0"/>
              <a:t>Text level 4</a:t>
            </a:r>
          </a:p>
          <a:p>
            <a:pPr lvl="4"/>
            <a:r>
              <a:rPr lang="en-US" noProof="0"/>
              <a:t>Text level 5</a:t>
            </a:r>
          </a:p>
        </p:txBody>
      </p:sp>
      <p:sp>
        <p:nvSpPr>
          <p:cNvPr id="8" name="Espace réservé de la date 7"/>
          <p:cNvSpPr>
            <a:spLocks noGrp="1"/>
          </p:cNvSpPr>
          <p:nvPr>
            <p:ph type="dt" sz="half" idx="14"/>
          </p:nvPr>
        </p:nvSpPr>
        <p:spPr bwMode="gray"/>
        <p:txBody>
          <a:bodyPr/>
          <a:lstStyle/>
          <a:p>
            <a:r>
              <a:rPr lang="en-US" noProof="0"/>
              <a:t>Date</a:t>
            </a:r>
          </a:p>
        </p:txBody>
      </p:sp>
      <p:sp>
        <p:nvSpPr>
          <p:cNvPr id="9" name="Espace réservé du numéro de diapositive 8"/>
          <p:cNvSpPr>
            <a:spLocks noGrp="1"/>
          </p:cNvSpPr>
          <p:nvPr>
            <p:ph type="sldNum" sz="quarter" idx="15"/>
          </p:nvPr>
        </p:nvSpPr>
        <p:spPr bwMode="gray"/>
        <p:txBody>
          <a:bodyPr/>
          <a:lstStyle/>
          <a:p>
            <a:pPr algn="l"/>
            <a:fld id="{733122C9-A0B9-462F-8757-0847AD287B63}" type="slidenum">
              <a:rPr lang="en-US" noProof="0" smtClean="0"/>
              <a:pPr algn="l"/>
              <a:t>‹#›</a:t>
            </a:fld>
            <a:endParaRPr lang="en-US" noProof="0"/>
          </a:p>
        </p:txBody>
      </p:sp>
      <p:sp>
        <p:nvSpPr>
          <p:cNvPr id="11" name="Espace réservé du pied de page 10"/>
          <p:cNvSpPr>
            <a:spLocks noGrp="1"/>
          </p:cNvSpPr>
          <p:nvPr>
            <p:ph type="ftr" sz="quarter" idx="16"/>
          </p:nvPr>
        </p:nvSpPr>
        <p:spPr bwMode="gray"/>
        <p:txBody>
          <a:bodyPr/>
          <a:lstStyle/>
          <a:p>
            <a:r>
              <a:rPr lang="en-US" noProof="0"/>
              <a:t>#add your hashtag</a:t>
            </a:r>
          </a:p>
        </p:txBody>
      </p:sp>
      <p:sp>
        <p:nvSpPr>
          <p:cNvPr id="12" name="Espace réservé pour une image  8"/>
          <p:cNvSpPr>
            <a:spLocks noGrp="1"/>
          </p:cNvSpPr>
          <p:nvPr>
            <p:ph type="pic" sz="quarter" idx="17" hasCustomPrompt="1"/>
          </p:nvPr>
        </p:nvSpPr>
        <p:spPr bwMode="gray">
          <a:xfrm>
            <a:off x="5544400" y="2781388"/>
            <a:ext cx="2736000" cy="3240000"/>
          </a:xfrm>
        </p:spPr>
        <p:txBody>
          <a:bodyPr tIns="1008000" anchor="ctr" anchorCtr="0"/>
          <a:lstStyle>
            <a:lvl1pPr algn="ctr">
              <a:defRPr/>
            </a:lvl1pPr>
          </a:lstStyle>
          <a:p>
            <a:r>
              <a:rPr lang="en-US" noProof="0"/>
              <a:t>Select your own photo</a:t>
            </a:r>
          </a:p>
        </p:txBody>
      </p:sp>
    </p:spTree>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Chapter_Layout">
    <p:spTree>
      <p:nvGrpSpPr>
        <p:cNvPr id="1" name=""/>
        <p:cNvGrpSpPr/>
        <p:nvPr/>
      </p:nvGrpSpPr>
      <p:grpSpPr>
        <a:xfrm>
          <a:off x="0" y="0"/>
          <a:ext cx="0" cy="0"/>
          <a:chOff x="0" y="0"/>
          <a:chExt cx="0" cy="0"/>
        </a:xfrm>
      </p:grpSpPr>
      <p:pic>
        <p:nvPicPr>
          <p:cNvPr id="6" name="Image 17" descr="FD_03_chap_110x190,5.pn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gray">
          <a:xfrm>
            <a:off x="0" y="0"/>
            <a:ext cx="3959225" cy="68580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cxnSp>
        <p:nvCxnSpPr>
          <p:cNvPr id="7" name="Connecteur droit 14"/>
          <p:cNvCxnSpPr/>
          <p:nvPr userDrawn="1"/>
        </p:nvCxnSpPr>
        <p:spPr bwMode="gray">
          <a:xfrm flipH="1">
            <a:off x="3635375" y="2389188"/>
            <a:ext cx="1584325" cy="0"/>
          </a:xfrm>
          <a:prstGeom prst="line">
            <a:avLst/>
          </a:prstGeom>
          <a:ln w="24130">
            <a:solidFill>
              <a:schemeClr val="accent1"/>
            </a:solidFill>
          </a:ln>
        </p:spPr>
        <p:style>
          <a:lnRef idx="1">
            <a:schemeClr val="accent1"/>
          </a:lnRef>
          <a:fillRef idx="0">
            <a:schemeClr val="accent1"/>
          </a:fillRef>
          <a:effectRef idx="0">
            <a:schemeClr val="accent1"/>
          </a:effectRef>
          <a:fontRef idx="minor">
            <a:schemeClr val="tx1"/>
          </a:fontRef>
        </p:style>
      </p:cxnSp>
      <p:sp>
        <p:nvSpPr>
          <p:cNvPr id="2" name="Titre 1"/>
          <p:cNvSpPr>
            <a:spLocks noGrp="1"/>
          </p:cNvSpPr>
          <p:nvPr>
            <p:ph type="title"/>
          </p:nvPr>
        </p:nvSpPr>
        <p:spPr bwMode="gray">
          <a:xfrm>
            <a:off x="3635374" y="1036638"/>
            <a:ext cx="3263901" cy="1268759"/>
          </a:xfrm>
        </p:spPr>
        <p:txBody>
          <a:bodyPr/>
          <a:lstStyle/>
          <a:p>
            <a:r>
              <a:rPr lang="en-US" noProof="0"/>
              <a:t>Click to edit Master title style</a:t>
            </a:r>
          </a:p>
        </p:txBody>
      </p:sp>
      <p:sp>
        <p:nvSpPr>
          <p:cNvPr id="10" name="Espace réservé du texte 9"/>
          <p:cNvSpPr>
            <a:spLocks noGrp="1"/>
          </p:cNvSpPr>
          <p:nvPr>
            <p:ph type="body" sz="quarter" idx="13"/>
          </p:nvPr>
        </p:nvSpPr>
        <p:spPr bwMode="gray">
          <a:xfrm>
            <a:off x="3635376" y="2574000"/>
            <a:ext cx="3263900" cy="3447388"/>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Espace réservé du texte 9"/>
          <p:cNvSpPr>
            <a:spLocks noGrp="1"/>
          </p:cNvSpPr>
          <p:nvPr>
            <p:ph type="body" sz="quarter" idx="14"/>
          </p:nvPr>
        </p:nvSpPr>
        <p:spPr bwMode="gray">
          <a:xfrm>
            <a:off x="0" y="139974"/>
            <a:ext cx="2628000" cy="5017814"/>
          </a:xfrm>
        </p:spPr>
        <p:txBody>
          <a:bodyPr/>
          <a:lstStyle>
            <a:lvl1pPr algn="r">
              <a:defRPr sz="16600" b="1">
                <a:solidFill>
                  <a:schemeClr val="bg1"/>
                </a:solidFill>
              </a:defRPr>
            </a:lvl1pPr>
          </a:lstStyle>
          <a:p>
            <a:pPr lvl="0"/>
            <a:r>
              <a:rPr lang="en-US" noProof="0"/>
              <a:t>Click to edit Master text styles</a:t>
            </a:r>
          </a:p>
        </p:txBody>
      </p:sp>
      <p:sp>
        <p:nvSpPr>
          <p:cNvPr id="19" name="Espace réservé pour une image  17"/>
          <p:cNvSpPr>
            <a:spLocks noGrp="1"/>
          </p:cNvSpPr>
          <p:nvPr>
            <p:ph type="pic" sz="quarter" idx="18"/>
          </p:nvPr>
        </p:nvSpPr>
        <p:spPr bwMode="gray">
          <a:xfrm>
            <a:off x="7254332" y="132082"/>
            <a:ext cx="1899827" cy="5812641"/>
          </a:xfrm>
          <a:custGeom>
            <a:avLst/>
            <a:gdLst>
              <a:gd name="connsiteX0" fmla="*/ 0 w 3851275"/>
              <a:gd name="connsiteY0" fmla="*/ 0 h 5157788"/>
              <a:gd name="connsiteX1" fmla="*/ 3851275 w 3851275"/>
              <a:gd name="connsiteY1" fmla="*/ 0 h 5157788"/>
              <a:gd name="connsiteX2" fmla="*/ 3851275 w 3851275"/>
              <a:gd name="connsiteY2" fmla="*/ 5157788 h 5157788"/>
              <a:gd name="connsiteX3" fmla="*/ 0 w 3851275"/>
              <a:gd name="connsiteY3" fmla="*/ 5157788 h 5157788"/>
              <a:gd name="connsiteX4" fmla="*/ 0 w 3851275"/>
              <a:gd name="connsiteY4"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0 w 3851275"/>
              <a:gd name="connsiteY3" fmla="*/ 5157788 h 5157788"/>
              <a:gd name="connsiteX4" fmla="*/ 1692275 w 3851275"/>
              <a:gd name="connsiteY4" fmla="*/ 0 h 5157788"/>
              <a:gd name="connsiteX0" fmla="*/ 0 w 2159000"/>
              <a:gd name="connsiteY0" fmla="*/ 0 h 5157788"/>
              <a:gd name="connsiteX1" fmla="*/ 2159000 w 2159000"/>
              <a:gd name="connsiteY1" fmla="*/ 0 h 5157788"/>
              <a:gd name="connsiteX2" fmla="*/ 2159000 w 2159000"/>
              <a:gd name="connsiteY2" fmla="*/ 5157788 h 5157788"/>
              <a:gd name="connsiteX3" fmla="*/ 0 w 2159000"/>
              <a:gd name="connsiteY3" fmla="*/ 5157788 h 5157788"/>
              <a:gd name="connsiteX4" fmla="*/ 0 w 2159000"/>
              <a:gd name="connsiteY4" fmla="*/ 0 h 5157788"/>
              <a:gd name="connsiteX0" fmla="*/ 2625271 w 4784271"/>
              <a:gd name="connsiteY0" fmla="*/ 0 h 5157788"/>
              <a:gd name="connsiteX1" fmla="*/ 4784271 w 4784271"/>
              <a:gd name="connsiteY1" fmla="*/ 0 h 5157788"/>
              <a:gd name="connsiteX2" fmla="*/ 4784271 w 4784271"/>
              <a:gd name="connsiteY2" fmla="*/ 5157788 h 5157788"/>
              <a:gd name="connsiteX3" fmla="*/ 2625271 w 4784271"/>
              <a:gd name="connsiteY3" fmla="*/ 5157788 h 5157788"/>
              <a:gd name="connsiteX4" fmla="*/ 2625271 w 4784271"/>
              <a:gd name="connsiteY4" fmla="*/ 0 h 5157788"/>
              <a:gd name="connsiteX0" fmla="*/ 2625271 w 4784271"/>
              <a:gd name="connsiteY0" fmla="*/ 0 h 5157788"/>
              <a:gd name="connsiteX1" fmla="*/ 4784271 w 4784271"/>
              <a:gd name="connsiteY1" fmla="*/ 0 h 5157788"/>
              <a:gd name="connsiteX2" fmla="*/ 4784271 w 4784271"/>
              <a:gd name="connsiteY2" fmla="*/ 5157788 h 5157788"/>
              <a:gd name="connsiteX3" fmla="*/ 2625271 w 4784271"/>
              <a:gd name="connsiteY3" fmla="*/ 5157788 h 5157788"/>
              <a:gd name="connsiteX4" fmla="*/ 2625271 w 4784271"/>
              <a:gd name="connsiteY4" fmla="*/ 0 h 5157788"/>
              <a:gd name="connsiteX0" fmla="*/ 3568576 w 5727576"/>
              <a:gd name="connsiteY0" fmla="*/ 0 h 5157788"/>
              <a:gd name="connsiteX1" fmla="*/ 5727576 w 5727576"/>
              <a:gd name="connsiteY1" fmla="*/ 0 h 5157788"/>
              <a:gd name="connsiteX2" fmla="*/ 5727576 w 5727576"/>
              <a:gd name="connsiteY2" fmla="*/ 5157788 h 5157788"/>
              <a:gd name="connsiteX3" fmla="*/ 3568576 w 5727576"/>
              <a:gd name="connsiteY3" fmla="*/ 5157788 h 5157788"/>
              <a:gd name="connsiteX4" fmla="*/ 3568576 w 5727576"/>
              <a:gd name="connsiteY4" fmla="*/ 0 h 5157788"/>
              <a:gd name="connsiteX0" fmla="*/ 3306355 w 5465355"/>
              <a:gd name="connsiteY0" fmla="*/ 0 h 5157788"/>
              <a:gd name="connsiteX1" fmla="*/ 5465355 w 5465355"/>
              <a:gd name="connsiteY1" fmla="*/ 0 h 5157788"/>
              <a:gd name="connsiteX2" fmla="*/ 5465355 w 5465355"/>
              <a:gd name="connsiteY2" fmla="*/ 5157788 h 5157788"/>
              <a:gd name="connsiteX3" fmla="*/ 3306355 w 5465355"/>
              <a:gd name="connsiteY3" fmla="*/ 5157788 h 5157788"/>
              <a:gd name="connsiteX4" fmla="*/ 3306355 w 5465355"/>
              <a:gd name="connsiteY4" fmla="*/ 0 h 5157788"/>
              <a:gd name="connsiteX0" fmla="*/ 1416957 w 3575957"/>
              <a:gd name="connsiteY0" fmla="*/ 0 h 5157788"/>
              <a:gd name="connsiteX1" fmla="*/ 3575957 w 3575957"/>
              <a:gd name="connsiteY1" fmla="*/ 0 h 5157788"/>
              <a:gd name="connsiteX2" fmla="*/ 3575957 w 3575957"/>
              <a:gd name="connsiteY2" fmla="*/ 5157788 h 5157788"/>
              <a:gd name="connsiteX3" fmla="*/ 1416957 w 3575957"/>
              <a:gd name="connsiteY3" fmla="*/ 5157788 h 5157788"/>
              <a:gd name="connsiteX4" fmla="*/ 0 w 3575957"/>
              <a:gd name="connsiteY4" fmla="*/ 3339193 h 5157788"/>
              <a:gd name="connsiteX5" fmla="*/ 1416957 w 3575957"/>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6017419"/>
              <a:gd name="connsiteX1" fmla="*/ 3851275 w 3851275"/>
              <a:gd name="connsiteY1" fmla="*/ 0 h 6017419"/>
              <a:gd name="connsiteX2" fmla="*/ 3851275 w 3851275"/>
              <a:gd name="connsiteY2" fmla="*/ 5157788 h 6017419"/>
              <a:gd name="connsiteX3" fmla="*/ 1692275 w 3851275"/>
              <a:gd name="connsiteY3" fmla="*/ 5157788 h 6017419"/>
              <a:gd name="connsiteX4" fmla="*/ 0 w 3851275"/>
              <a:gd name="connsiteY4" fmla="*/ 3284984 h 6017419"/>
              <a:gd name="connsiteX5" fmla="*/ 1692275 w 3851275"/>
              <a:gd name="connsiteY5" fmla="*/ 0 h 6017419"/>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429000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429000 h 5157788"/>
              <a:gd name="connsiteX5" fmla="*/ 1710871 w 3869871"/>
              <a:gd name="connsiteY5" fmla="*/ 0 h 5157788"/>
              <a:gd name="connsiteX0" fmla="*/ 1704975 w 3863975"/>
              <a:gd name="connsiteY0" fmla="*/ 0 h 5157788"/>
              <a:gd name="connsiteX1" fmla="*/ 3863975 w 3863975"/>
              <a:gd name="connsiteY1" fmla="*/ 0 h 5157788"/>
              <a:gd name="connsiteX2" fmla="*/ 3863975 w 3863975"/>
              <a:gd name="connsiteY2" fmla="*/ 5157788 h 5157788"/>
              <a:gd name="connsiteX3" fmla="*/ 1704975 w 3863975"/>
              <a:gd name="connsiteY3" fmla="*/ 5157788 h 5157788"/>
              <a:gd name="connsiteX4" fmla="*/ 12700 w 3863975"/>
              <a:gd name="connsiteY4" fmla="*/ 3429000 h 5157788"/>
              <a:gd name="connsiteX5" fmla="*/ 1704975 w 3863975"/>
              <a:gd name="connsiteY5" fmla="*/ 0 h 5157788"/>
              <a:gd name="connsiteX0" fmla="*/ 1707243 w 3866243"/>
              <a:gd name="connsiteY0" fmla="*/ 0 h 5157788"/>
              <a:gd name="connsiteX1" fmla="*/ 3866243 w 3866243"/>
              <a:gd name="connsiteY1" fmla="*/ 0 h 5157788"/>
              <a:gd name="connsiteX2" fmla="*/ 3866243 w 3866243"/>
              <a:gd name="connsiteY2" fmla="*/ 5157788 h 5157788"/>
              <a:gd name="connsiteX3" fmla="*/ 1707243 w 3866243"/>
              <a:gd name="connsiteY3" fmla="*/ 5157788 h 5157788"/>
              <a:gd name="connsiteX4" fmla="*/ 14968 w 3866243"/>
              <a:gd name="connsiteY4" fmla="*/ 3429000 h 5157788"/>
              <a:gd name="connsiteX5" fmla="*/ 1707243 w 3866243"/>
              <a:gd name="connsiteY5" fmla="*/ 0 h 5157788"/>
              <a:gd name="connsiteX0" fmla="*/ 1130447 w 3866243"/>
              <a:gd name="connsiteY0" fmla="*/ 0 h 5157788"/>
              <a:gd name="connsiteX1" fmla="*/ 3866243 w 3866243"/>
              <a:gd name="connsiteY1" fmla="*/ 0 h 5157788"/>
              <a:gd name="connsiteX2" fmla="*/ 3866243 w 3866243"/>
              <a:gd name="connsiteY2" fmla="*/ 5157788 h 5157788"/>
              <a:gd name="connsiteX3" fmla="*/ 1707243 w 3866243"/>
              <a:gd name="connsiteY3" fmla="*/ 5157788 h 5157788"/>
              <a:gd name="connsiteX4" fmla="*/ 14968 w 3866243"/>
              <a:gd name="connsiteY4" fmla="*/ 3429000 h 5157788"/>
              <a:gd name="connsiteX5" fmla="*/ 1130447 w 3866243"/>
              <a:gd name="connsiteY5" fmla="*/ 0 h 5157788"/>
              <a:gd name="connsiteX0" fmla="*/ 2746143 w 5481939"/>
              <a:gd name="connsiteY0" fmla="*/ 0 h 5157788"/>
              <a:gd name="connsiteX1" fmla="*/ 5481939 w 5481939"/>
              <a:gd name="connsiteY1" fmla="*/ 0 h 5157788"/>
              <a:gd name="connsiteX2" fmla="*/ 5481939 w 5481939"/>
              <a:gd name="connsiteY2" fmla="*/ 5157788 h 5157788"/>
              <a:gd name="connsiteX3" fmla="*/ 585903 w 5481939"/>
              <a:gd name="connsiteY3" fmla="*/ 5153180 h 5157788"/>
              <a:gd name="connsiteX4" fmla="*/ 1630664 w 5481939"/>
              <a:gd name="connsiteY4" fmla="*/ 3429000 h 5157788"/>
              <a:gd name="connsiteX5" fmla="*/ 2746143 w 5481939"/>
              <a:gd name="connsiteY5" fmla="*/ 0 h 5157788"/>
              <a:gd name="connsiteX0" fmla="*/ 2746143 w 5481939"/>
              <a:gd name="connsiteY0" fmla="*/ 0 h 5157788"/>
              <a:gd name="connsiteX1" fmla="*/ 5481939 w 5481939"/>
              <a:gd name="connsiteY1" fmla="*/ 0 h 5157788"/>
              <a:gd name="connsiteX2" fmla="*/ 5481939 w 5481939"/>
              <a:gd name="connsiteY2" fmla="*/ 5157788 h 5157788"/>
              <a:gd name="connsiteX3" fmla="*/ 585903 w 5481939"/>
              <a:gd name="connsiteY3" fmla="*/ 5153180 h 5157788"/>
              <a:gd name="connsiteX4" fmla="*/ 1630664 w 5481939"/>
              <a:gd name="connsiteY4" fmla="*/ 3429000 h 5157788"/>
              <a:gd name="connsiteX5" fmla="*/ 2746143 w 548193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3574235 w 6310031"/>
              <a:gd name="connsiteY0" fmla="*/ 0 h 5157788"/>
              <a:gd name="connsiteX1" fmla="*/ 6310031 w 6310031"/>
              <a:gd name="connsiteY1" fmla="*/ 0 h 5157788"/>
              <a:gd name="connsiteX2" fmla="*/ 6310031 w 6310031"/>
              <a:gd name="connsiteY2" fmla="*/ 5157788 h 5157788"/>
              <a:gd name="connsiteX3" fmla="*/ 585903 w 6310031"/>
              <a:gd name="connsiteY3" fmla="*/ 5153180 h 5157788"/>
              <a:gd name="connsiteX4" fmla="*/ 1738031 w 6310031"/>
              <a:gd name="connsiteY4" fmla="*/ 3389965 h 5157788"/>
              <a:gd name="connsiteX5" fmla="*/ 3574235 w 6310031"/>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296143 w 5724128"/>
              <a:gd name="connsiteY4" fmla="*/ 3461908 h 5157788"/>
              <a:gd name="connsiteX5" fmla="*/ 2988332 w 5724128"/>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1188132 w 5760132"/>
              <a:gd name="connsiteY4" fmla="*/ 3425937 h 5157788"/>
              <a:gd name="connsiteX5" fmla="*/ 3024336 w 5760132"/>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2736304 w 5760132"/>
              <a:gd name="connsiteY4" fmla="*/ 3461908 h 5157788"/>
              <a:gd name="connsiteX5" fmla="*/ 3024336 w 5760132"/>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2736304 w 5760132"/>
              <a:gd name="connsiteY4" fmla="*/ 3461908 h 5157788"/>
              <a:gd name="connsiteX5" fmla="*/ 3024336 w 5760132"/>
              <a:gd name="connsiteY5" fmla="*/ 0 h 5157788"/>
              <a:gd name="connsiteX0" fmla="*/ 2160240 w 4896036"/>
              <a:gd name="connsiteY0" fmla="*/ 0 h 5157788"/>
              <a:gd name="connsiteX1" fmla="*/ 4896036 w 4896036"/>
              <a:gd name="connsiteY1" fmla="*/ 0 h 5157788"/>
              <a:gd name="connsiteX2" fmla="*/ 4896036 w 4896036"/>
              <a:gd name="connsiteY2" fmla="*/ 5157788 h 5157788"/>
              <a:gd name="connsiteX3" fmla="*/ 0 w 4896036"/>
              <a:gd name="connsiteY3" fmla="*/ 5153180 h 5157788"/>
              <a:gd name="connsiteX4" fmla="*/ 1872208 w 4896036"/>
              <a:gd name="connsiteY4" fmla="*/ 3461908 h 5157788"/>
              <a:gd name="connsiteX5" fmla="*/ 2160240 w 4896036"/>
              <a:gd name="connsiteY5" fmla="*/ 0 h 5157788"/>
              <a:gd name="connsiteX0" fmla="*/ 2232248 w 4968044"/>
              <a:gd name="connsiteY0" fmla="*/ 0 h 5157788"/>
              <a:gd name="connsiteX1" fmla="*/ 4968044 w 4968044"/>
              <a:gd name="connsiteY1" fmla="*/ 0 h 5157788"/>
              <a:gd name="connsiteX2" fmla="*/ 4968044 w 4968044"/>
              <a:gd name="connsiteY2" fmla="*/ 5157788 h 5157788"/>
              <a:gd name="connsiteX3" fmla="*/ 0 w 4968044"/>
              <a:gd name="connsiteY3" fmla="*/ 5153180 h 5157788"/>
              <a:gd name="connsiteX4" fmla="*/ 1944216 w 4968044"/>
              <a:gd name="connsiteY4" fmla="*/ 3461908 h 5157788"/>
              <a:gd name="connsiteX5" fmla="*/ 2232248 w 4968044"/>
              <a:gd name="connsiteY5" fmla="*/ 0 h 5157788"/>
              <a:gd name="connsiteX0" fmla="*/ 2207679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207679 w 4943475"/>
              <a:gd name="connsiteY5" fmla="*/ 0 h 5157788"/>
              <a:gd name="connsiteX0" fmla="*/ 2963763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963763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092200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71575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343583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675731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675731 w 4943475"/>
              <a:gd name="connsiteY5" fmla="*/ 0 h 5157788"/>
              <a:gd name="connsiteX0" fmla="*/ 2675731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675731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9672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19672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1668519 w 3913244"/>
              <a:gd name="connsiteY0" fmla="*/ 0 h 5183692"/>
              <a:gd name="connsiteX1" fmla="*/ 3913244 w 3913244"/>
              <a:gd name="connsiteY1" fmla="*/ 0 h 5183692"/>
              <a:gd name="connsiteX2" fmla="*/ 3913244 w 3913244"/>
              <a:gd name="connsiteY2" fmla="*/ 5157788 h 5183692"/>
              <a:gd name="connsiteX3" fmla="*/ 2456872 w 3913244"/>
              <a:gd name="connsiteY3" fmla="*/ 5183633 h 5183692"/>
              <a:gd name="connsiteX4" fmla="*/ 205340 w 3913244"/>
              <a:gd name="connsiteY4" fmla="*/ 2562613 h 5183692"/>
              <a:gd name="connsiteX5" fmla="*/ 1668519 w 3913244"/>
              <a:gd name="connsiteY5" fmla="*/ 0 h 5183692"/>
              <a:gd name="connsiteX0" fmla="*/ 1668519 w 3923404"/>
              <a:gd name="connsiteY0" fmla="*/ 0 h 5939409"/>
              <a:gd name="connsiteX1" fmla="*/ 3913244 w 3923404"/>
              <a:gd name="connsiteY1" fmla="*/ 0 h 5939409"/>
              <a:gd name="connsiteX2" fmla="*/ 3923404 w 3923404"/>
              <a:gd name="connsiteY2" fmla="*/ 5939409 h 5939409"/>
              <a:gd name="connsiteX3" fmla="*/ 2456872 w 3923404"/>
              <a:gd name="connsiteY3" fmla="*/ 5183633 h 5939409"/>
              <a:gd name="connsiteX4" fmla="*/ 205340 w 3923404"/>
              <a:gd name="connsiteY4" fmla="*/ 2562613 h 5939409"/>
              <a:gd name="connsiteX5" fmla="*/ 1668519 w 3923404"/>
              <a:gd name="connsiteY5" fmla="*/ 0 h 5939409"/>
              <a:gd name="connsiteX0" fmla="*/ 1668519 w 3923404"/>
              <a:gd name="connsiteY0" fmla="*/ 0 h 5939409"/>
              <a:gd name="connsiteX1" fmla="*/ 3913244 w 3923404"/>
              <a:gd name="connsiteY1" fmla="*/ 0 h 5939409"/>
              <a:gd name="connsiteX2" fmla="*/ 3923404 w 3923404"/>
              <a:gd name="connsiteY2" fmla="*/ 5939409 h 5939409"/>
              <a:gd name="connsiteX3" fmla="*/ 2456872 w 3923404"/>
              <a:gd name="connsiteY3" fmla="*/ 5183633 h 5939409"/>
              <a:gd name="connsiteX4" fmla="*/ 205340 w 3923404"/>
              <a:gd name="connsiteY4" fmla="*/ 2562613 h 5939409"/>
              <a:gd name="connsiteX5" fmla="*/ 1668519 w 3923404"/>
              <a:gd name="connsiteY5" fmla="*/ 0 h 5939409"/>
              <a:gd name="connsiteX0" fmla="*/ 1696047 w 3950932"/>
              <a:gd name="connsiteY0" fmla="*/ 0 h 5939409"/>
              <a:gd name="connsiteX1" fmla="*/ 3940772 w 3950932"/>
              <a:gd name="connsiteY1" fmla="*/ 0 h 5939409"/>
              <a:gd name="connsiteX2" fmla="*/ 3950932 w 3950932"/>
              <a:gd name="connsiteY2" fmla="*/ 5939409 h 5939409"/>
              <a:gd name="connsiteX3" fmla="*/ 2484400 w 3950932"/>
              <a:gd name="connsiteY3" fmla="*/ 5183633 h 5939409"/>
              <a:gd name="connsiteX4" fmla="*/ 232868 w 3950932"/>
              <a:gd name="connsiteY4" fmla="*/ 2562613 h 5939409"/>
              <a:gd name="connsiteX5" fmla="*/ 1696047 w 3950932"/>
              <a:gd name="connsiteY5" fmla="*/ 0 h 5939409"/>
              <a:gd name="connsiteX0" fmla="*/ 1463179 w 3718064"/>
              <a:gd name="connsiteY0" fmla="*/ 0 h 5983194"/>
              <a:gd name="connsiteX1" fmla="*/ 3707904 w 3718064"/>
              <a:gd name="connsiteY1" fmla="*/ 0 h 5983194"/>
              <a:gd name="connsiteX2" fmla="*/ 3718064 w 3718064"/>
              <a:gd name="connsiteY2" fmla="*/ 5939409 h 5983194"/>
              <a:gd name="connsiteX3" fmla="*/ 0 w 3718064"/>
              <a:gd name="connsiteY3" fmla="*/ 2562613 h 5983194"/>
              <a:gd name="connsiteX4" fmla="*/ 1463179 w 3718064"/>
              <a:gd name="connsiteY4" fmla="*/ 0 h 5983194"/>
              <a:gd name="connsiteX0" fmla="*/ 1464005 w 3718890"/>
              <a:gd name="connsiteY0" fmla="*/ 0 h 5987401"/>
              <a:gd name="connsiteX1" fmla="*/ 3708730 w 3718890"/>
              <a:gd name="connsiteY1" fmla="*/ 0 h 5987401"/>
              <a:gd name="connsiteX2" fmla="*/ 3718890 w 3718890"/>
              <a:gd name="connsiteY2" fmla="*/ 5939409 h 5987401"/>
              <a:gd name="connsiteX3" fmla="*/ 826 w 3718890"/>
              <a:gd name="connsiteY3" fmla="*/ 2562613 h 5987401"/>
              <a:gd name="connsiteX4" fmla="*/ 1464005 w 3718890"/>
              <a:gd name="connsiteY4" fmla="*/ 0 h 5987401"/>
              <a:gd name="connsiteX0" fmla="*/ 1267 w 2256152"/>
              <a:gd name="connsiteY0" fmla="*/ 0 h 6002954"/>
              <a:gd name="connsiteX1" fmla="*/ 2245992 w 2256152"/>
              <a:gd name="connsiteY1" fmla="*/ 0 h 6002954"/>
              <a:gd name="connsiteX2" fmla="*/ 2256152 w 2256152"/>
              <a:gd name="connsiteY2" fmla="*/ 5939409 h 6002954"/>
              <a:gd name="connsiteX3" fmla="*/ 956168 w 2256152"/>
              <a:gd name="connsiteY3" fmla="*/ 3273178 h 6002954"/>
              <a:gd name="connsiteX4" fmla="*/ 1267 w 2256152"/>
              <a:gd name="connsiteY4" fmla="*/ 0 h 6002954"/>
              <a:gd name="connsiteX0" fmla="*/ 2 w 1299986"/>
              <a:gd name="connsiteY0" fmla="*/ 3321709 h 6044422"/>
              <a:gd name="connsiteX1" fmla="*/ 1289826 w 1299986"/>
              <a:gd name="connsiteY1" fmla="*/ 48531 h 6044422"/>
              <a:gd name="connsiteX2" fmla="*/ 1299986 w 1299986"/>
              <a:gd name="connsiteY2" fmla="*/ 5987940 h 6044422"/>
              <a:gd name="connsiteX3" fmla="*/ 2 w 1299986"/>
              <a:gd name="connsiteY3" fmla="*/ 3321709 h 6044422"/>
              <a:gd name="connsiteX0" fmla="*/ 2 w 1299986"/>
              <a:gd name="connsiteY0" fmla="*/ 3273178 h 5995891"/>
              <a:gd name="connsiteX1" fmla="*/ 1289826 w 1299986"/>
              <a:gd name="connsiteY1" fmla="*/ 0 h 5995891"/>
              <a:gd name="connsiteX2" fmla="*/ 1299986 w 1299986"/>
              <a:gd name="connsiteY2" fmla="*/ 5939409 h 5995891"/>
              <a:gd name="connsiteX3" fmla="*/ 2 w 1299986"/>
              <a:gd name="connsiteY3" fmla="*/ 3273178 h 5995891"/>
              <a:gd name="connsiteX0" fmla="*/ 2 w 1299986"/>
              <a:gd name="connsiteY0" fmla="*/ 3273178 h 5995891"/>
              <a:gd name="connsiteX1" fmla="*/ 1289826 w 1299986"/>
              <a:gd name="connsiteY1" fmla="*/ 0 h 5995891"/>
              <a:gd name="connsiteX2" fmla="*/ 1299986 w 1299986"/>
              <a:gd name="connsiteY2" fmla="*/ 5939409 h 5995891"/>
              <a:gd name="connsiteX3" fmla="*/ 2 w 1299986"/>
              <a:gd name="connsiteY3" fmla="*/ 3273178 h 5995891"/>
              <a:gd name="connsiteX0" fmla="*/ 2 w 1299986"/>
              <a:gd name="connsiteY0" fmla="*/ 3273178 h 5995891"/>
              <a:gd name="connsiteX1" fmla="*/ 1289826 w 1299986"/>
              <a:gd name="connsiteY1" fmla="*/ 0 h 5995891"/>
              <a:gd name="connsiteX2" fmla="*/ 1299986 w 1299986"/>
              <a:gd name="connsiteY2" fmla="*/ 5939409 h 5995891"/>
              <a:gd name="connsiteX3" fmla="*/ 2 w 1299986"/>
              <a:gd name="connsiteY3" fmla="*/ 3273178 h 5995891"/>
              <a:gd name="connsiteX0" fmla="*/ 2 w 1299986"/>
              <a:gd name="connsiteY0" fmla="*/ 2725028 h 5445777"/>
              <a:gd name="connsiteX1" fmla="*/ 1289826 w 1299986"/>
              <a:gd name="connsiteY1" fmla="*/ 0 h 5445777"/>
              <a:gd name="connsiteX2" fmla="*/ 1299986 w 1299986"/>
              <a:gd name="connsiteY2" fmla="*/ 5391259 h 5445777"/>
              <a:gd name="connsiteX3" fmla="*/ 2 w 1299986"/>
              <a:gd name="connsiteY3" fmla="*/ 2725028 h 5445777"/>
              <a:gd name="connsiteX0" fmla="*/ 2 w 1299986"/>
              <a:gd name="connsiteY0" fmla="*/ 3141216 h 5863443"/>
              <a:gd name="connsiteX1" fmla="*/ 1289826 w 1299986"/>
              <a:gd name="connsiteY1" fmla="*/ 0 h 5863443"/>
              <a:gd name="connsiteX2" fmla="*/ 1299986 w 1299986"/>
              <a:gd name="connsiteY2" fmla="*/ 5807447 h 5863443"/>
              <a:gd name="connsiteX3" fmla="*/ 2 w 1299986"/>
              <a:gd name="connsiteY3" fmla="*/ 3141216 h 5863443"/>
              <a:gd name="connsiteX0" fmla="*/ 2 w 1299986"/>
              <a:gd name="connsiteY0" fmla="*/ 3141216 h 5863444"/>
              <a:gd name="connsiteX1" fmla="*/ 1289826 w 1299986"/>
              <a:gd name="connsiteY1" fmla="*/ 0 h 5863444"/>
              <a:gd name="connsiteX2" fmla="*/ 1299986 w 1299986"/>
              <a:gd name="connsiteY2" fmla="*/ 5807447 h 5863444"/>
              <a:gd name="connsiteX3" fmla="*/ 2 w 1299986"/>
              <a:gd name="connsiteY3" fmla="*/ 3141216 h 5863444"/>
              <a:gd name="connsiteX0" fmla="*/ 1 w 1889265"/>
              <a:gd name="connsiteY0" fmla="*/ 3851780 h 5885741"/>
              <a:gd name="connsiteX1" fmla="*/ 1879105 w 1889265"/>
              <a:gd name="connsiteY1" fmla="*/ 0 h 5885741"/>
              <a:gd name="connsiteX2" fmla="*/ 1889265 w 1889265"/>
              <a:gd name="connsiteY2" fmla="*/ 5807447 h 5885741"/>
              <a:gd name="connsiteX3" fmla="*/ 1 w 1889265"/>
              <a:gd name="connsiteY3" fmla="*/ 3851780 h 5885741"/>
              <a:gd name="connsiteX0" fmla="*/ 694 w 1889958"/>
              <a:gd name="connsiteY0" fmla="*/ 3851780 h 5898819"/>
              <a:gd name="connsiteX1" fmla="*/ 1879798 w 1889958"/>
              <a:gd name="connsiteY1" fmla="*/ 0 h 5898819"/>
              <a:gd name="connsiteX2" fmla="*/ 1889958 w 1889958"/>
              <a:gd name="connsiteY2" fmla="*/ 5807447 h 5898819"/>
              <a:gd name="connsiteX3" fmla="*/ 694 w 1889958"/>
              <a:gd name="connsiteY3" fmla="*/ 3851780 h 5898819"/>
              <a:gd name="connsiteX0" fmla="*/ 694 w 1889958"/>
              <a:gd name="connsiteY0" fmla="*/ 3740120 h 5892762"/>
              <a:gd name="connsiteX1" fmla="*/ 1879798 w 1889958"/>
              <a:gd name="connsiteY1" fmla="*/ 0 h 5892762"/>
              <a:gd name="connsiteX2" fmla="*/ 1889958 w 1889958"/>
              <a:gd name="connsiteY2" fmla="*/ 5807447 h 5892762"/>
              <a:gd name="connsiteX3" fmla="*/ 694 w 1889958"/>
              <a:gd name="connsiteY3" fmla="*/ 3740120 h 5892762"/>
              <a:gd name="connsiteX0" fmla="*/ 690 w 1900114"/>
              <a:gd name="connsiteY0" fmla="*/ 3811177 h 5896524"/>
              <a:gd name="connsiteX1" fmla="*/ 1889954 w 1900114"/>
              <a:gd name="connsiteY1" fmla="*/ 0 h 5896524"/>
              <a:gd name="connsiteX2" fmla="*/ 1900114 w 1900114"/>
              <a:gd name="connsiteY2" fmla="*/ 5807447 h 5896524"/>
              <a:gd name="connsiteX3" fmla="*/ 690 w 1900114"/>
              <a:gd name="connsiteY3" fmla="*/ 3811177 h 5896524"/>
              <a:gd name="connsiteX0" fmla="*/ 690 w 1900114"/>
              <a:gd name="connsiteY0" fmla="*/ 3811177 h 5807447"/>
              <a:gd name="connsiteX1" fmla="*/ 1889954 w 1900114"/>
              <a:gd name="connsiteY1" fmla="*/ 0 h 5807447"/>
              <a:gd name="connsiteX2" fmla="*/ 1900114 w 1900114"/>
              <a:gd name="connsiteY2" fmla="*/ 5807447 h 5807447"/>
              <a:gd name="connsiteX3" fmla="*/ 690 w 1900114"/>
              <a:gd name="connsiteY3" fmla="*/ 3811177 h 5807447"/>
              <a:gd name="connsiteX0" fmla="*/ 690 w 1900114"/>
              <a:gd name="connsiteY0" fmla="*/ 3811177 h 5807447"/>
              <a:gd name="connsiteX1" fmla="*/ 1889954 w 1900114"/>
              <a:gd name="connsiteY1" fmla="*/ 0 h 5807447"/>
              <a:gd name="connsiteX2" fmla="*/ 1900114 w 1900114"/>
              <a:gd name="connsiteY2" fmla="*/ 5807447 h 5807447"/>
              <a:gd name="connsiteX3" fmla="*/ 690 w 1900114"/>
              <a:gd name="connsiteY3" fmla="*/ 3811177 h 5807447"/>
              <a:gd name="connsiteX0" fmla="*/ 403 w 1899827"/>
              <a:gd name="connsiteY0" fmla="*/ 3811177 h 5807447"/>
              <a:gd name="connsiteX1" fmla="*/ 1889667 w 1899827"/>
              <a:gd name="connsiteY1" fmla="*/ 0 h 5807447"/>
              <a:gd name="connsiteX2" fmla="*/ 1899827 w 1899827"/>
              <a:gd name="connsiteY2" fmla="*/ 5807447 h 5807447"/>
              <a:gd name="connsiteX3" fmla="*/ 403 w 1899827"/>
              <a:gd name="connsiteY3" fmla="*/ 3811177 h 5807447"/>
            </a:gdLst>
            <a:ahLst/>
            <a:cxnLst>
              <a:cxn ang="0">
                <a:pos x="connsiteX0" y="connsiteY0"/>
              </a:cxn>
              <a:cxn ang="0">
                <a:pos x="connsiteX1" y="connsiteY1"/>
              </a:cxn>
              <a:cxn ang="0">
                <a:pos x="connsiteX2" y="connsiteY2"/>
              </a:cxn>
              <a:cxn ang="0">
                <a:pos x="connsiteX3" y="connsiteY3"/>
              </a:cxn>
            </a:cxnLst>
            <a:rect l="l" t="t" r="r" b="b"/>
            <a:pathLst>
              <a:path w="1899827" h="5807447">
                <a:moveTo>
                  <a:pt x="403" y="3811177"/>
                </a:moveTo>
                <a:cubicBezTo>
                  <a:pt x="-31770" y="2467685"/>
                  <a:pt x="1876203" y="854946"/>
                  <a:pt x="1889667" y="0"/>
                </a:cubicBezTo>
                <a:cubicBezTo>
                  <a:pt x="1893054" y="1979803"/>
                  <a:pt x="1896440" y="3827644"/>
                  <a:pt x="1899827" y="5807447"/>
                </a:cubicBezTo>
                <a:cubicBezTo>
                  <a:pt x="1007523" y="5706703"/>
                  <a:pt x="32576" y="5154669"/>
                  <a:pt x="403" y="3811177"/>
                </a:cubicBezTo>
                <a:close/>
              </a:path>
            </a:pathLst>
          </a:custGeom>
          <a:solidFill>
            <a:schemeClr val="bg2"/>
          </a:solidFill>
          <a:ln w="3175">
            <a:noFill/>
          </a:ln>
        </p:spPr>
        <p:txBody>
          <a:bodyPr tIns="720000" rtlCol="0" anchor="ctr">
            <a:noAutofit/>
          </a:bodyPr>
          <a:lstStyle>
            <a:lvl1pPr algn="ctr">
              <a:defRPr sz="1500">
                <a:solidFill>
                  <a:schemeClr val="bg1"/>
                </a:solidFill>
              </a:defRPr>
            </a:lvl1pPr>
          </a:lstStyle>
          <a:p>
            <a:pPr lvl="0"/>
            <a:r>
              <a:rPr lang="en-US" noProof="0"/>
              <a:t>Click icon to add picture</a:t>
            </a:r>
          </a:p>
        </p:txBody>
      </p:sp>
      <p:sp>
        <p:nvSpPr>
          <p:cNvPr id="8" name="Espace réservé de la date 10"/>
          <p:cNvSpPr>
            <a:spLocks noGrp="1"/>
          </p:cNvSpPr>
          <p:nvPr>
            <p:ph type="dt" sz="half" idx="19"/>
          </p:nvPr>
        </p:nvSpPr>
        <p:spPr/>
        <p:txBody>
          <a:bodyPr/>
          <a:lstStyle>
            <a:lvl1pPr>
              <a:defRPr/>
            </a:lvl1pPr>
          </a:lstStyle>
          <a:p>
            <a:pPr>
              <a:defRPr/>
            </a:pPr>
            <a:r>
              <a:rPr lang="en-US">
                <a:solidFill>
                  <a:prstClr val="white">
                    <a:alpha val="0"/>
                  </a:prstClr>
                </a:solidFill>
              </a:rPr>
              <a:t>Date</a:t>
            </a:r>
          </a:p>
        </p:txBody>
      </p:sp>
      <p:sp>
        <p:nvSpPr>
          <p:cNvPr id="9" name="Espace réservé du numéro de diapositive 11"/>
          <p:cNvSpPr>
            <a:spLocks noGrp="1"/>
          </p:cNvSpPr>
          <p:nvPr>
            <p:ph type="sldNum" sz="quarter" idx="20"/>
          </p:nvPr>
        </p:nvSpPr>
        <p:spPr/>
        <p:txBody>
          <a:bodyPr/>
          <a:lstStyle>
            <a:lvl1pPr>
              <a:defRPr/>
            </a:lvl1pPr>
          </a:lstStyle>
          <a:p>
            <a:pPr>
              <a:defRPr/>
            </a:pPr>
            <a:fld id="{669CD8F2-86ED-43C7-A24E-82A206DEE6AE}" type="slidenum">
              <a:rPr lang="en-US">
                <a:solidFill>
                  <a:srgbClr val="343434"/>
                </a:solidFill>
              </a:rPr>
              <a:pPr>
                <a:defRPr/>
              </a:pPr>
              <a:t>‹#›</a:t>
            </a:fld>
            <a:endParaRPr lang="en-US">
              <a:solidFill>
                <a:srgbClr val="343434"/>
              </a:solidFill>
            </a:endParaRPr>
          </a:p>
        </p:txBody>
      </p:sp>
      <p:sp>
        <p:nvSpPr>
          <p:cNvPr id="11" name="Espace réservé du pied de page 12"/>
          <p:cNvSpPr>
            <a:spLocks noGrp="1"/>
          </p:cNvSpPr>
          <p:nvPr>
            <p:ph type="ftr" sz="quarter" idx="21"/>
          </p:nvPr>
        </p:nvSpPr>
        <p:spPr/>
        <p:txBody>
          <a:bodyPr/>
          <a:lstStyle>
            <a:lvl1pPr>
              <a:defRPr/>
            </a:lvl1pPr>
          </a:lstStyle>
          <a:p>
            <a:pPr>
              <a:defRPr/>
            </a:pPr>
            <a:r>
              <a:rPr lang="en-US">
                <a:solidFill>
                  <a:srgbClr val="005CB9"/>
                </a:solidFill>
              </a:rPr>
              <a:t>#</a:t>
            </a:r>
            <a:r>
              <a:rPr lang="en-US" err="1">
                <a:solidFill>
                  <a:srgbClr val="005CB9"/>
                </a:solidFill>
              </a:rPr>
              <a:t>vaccineswork</a:t>
            </a:r>
            <a:endParaRPr lang="en-US">
              <a:solidFill>
                <a:srgbClr val="005CB9"/>
              </a:solidFill>
            </a:endParaRPr>
          </a:p>
        </p:txBody>
      </p:sp>
    </p:spTree>
    <p:extLst>
      <p:ext uri="{BB962C8B-B14F-4D97-AF65-F5344CB8AC3E}">
        <p14:creationId xmlns:p14="http://schemas.microsoft.com/office/powerpoint/2010/main" val="2529207429"/>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obj">
  <p:cSld name="Content_Layout">
    <p:spTree>
      <p:nvGrpSpPr>
        <p:cNvPr id="1" name=""/>
        <p:cNvGrpSpPr/>
        <p:nvPr/>
      </p:nvGrpSpPr>
      <p:grpSpPr>
        <a:xfrm>
          <a:off x="0" y="0"/>
          <a:ext cx="0" cy="0"/>
          <a:chOff x="0" y="0"/>
          <a:chExt cx="0" cy="0"/>
        </a:xfrm>
      </p:grpSpPr>
      <p:sp>
        <p:nvSpPr>
          <p:cNvPr id="2" name="Titre 1"/>
          <p:cNvSpPr>
            <a:spLocks noGrp="1"/>
          </p:cNvSpPr>
          <p:nvPr>
            <p:ph type="title"/>
          </p:nvPr>
        </p:nvSpPr>
        <p:spPr bwMode="gray"/>
        <p:txBody>
          <a:bodyPr/>
          <a:lstStyle/>
          <a:p>
            <a:r>
              <a:rPr lang="en-US" noProof="0"/>
              <a:t>Click to edit Master title style</a:t>
            </a:r>
          </a:p>
        </p:txBody>
      </p:sp>
      <p:sp>
        <p:nvSpPr>
          <p:cNvPr id="3" name="Espace réservé du contenu 2"/>
          <p:cNvSpPr>
            <a:spLocks noGrp="1"/>
          </p:cNvSpPr>
          <p:nvPr>
            <p:ph idx="1"/>
          </p:nvPr>
        </p:nvSpPr>
        <p:spPr bwMode="gray"/>
        <p:txBody>
          <a:bodyPr/>
          <a:lstStyle>
            <a:lvl2pPr>
              <a:defRPr/>
            </a:lvl2pPr>
            <a:lvl3pPr>
              <a:defRPr/>
            </a:lvl3pPr>
            <a:lvl4pPr>
              <a:defRPr baseline="0"/>
            </a:lvl4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Espace réservé de la date 3"/>
          <p:cNvSpPr>
            <a:spLocks noGrp="1"/>
          </p:cNvSpPr>
          <p:nvPr>
            <p:ph type="dt" sz="half" idx="10"/>
          </p:nvPr>
        </p:nvSpPr>
        <p:spPr/>
        <p:txBody>
          <a:bodyPr/>
          <a:lstStyle>
            <a:lvl1pPr>
              <a:defRPr/>
            </a:lvl1pPr>
          </a:lstStyle>
          <a:p>
            <a:pPr>
              <a:defRPr/>
            </a:pPr>
            <a:r>
              <a:rPr lang="en-US">
                <a:solidFill>
                  <a:prstClr val="white">
                    <a:alpha val="0"/>
                  </a:prstClr>
                </a:solidFill>
              </a:rPr>
              <a:t>Date</a:t>
            </a:r>
          </a:p>
        </p:txBody>
      </p:sp>
      <p:sp>
        <p:nvSpPr>
          <p:cNvPr id="5" name="Espace réservé du pied de page 4"/>
          <p:cNvSpPr>
            <a:spLocks noGrp="1"/>
          </p:cNvSpPr>
          <p:nvPr>
            <p:ph type="ftr" sz="quarter" idx="11"/>
          </p:nvPr>
        </p:nvSpPr>
        <p:spPr/>
        <p:txBody>
          <a:bodyPr/>
          <a:lstStyle>
            <a:lvl1pPr>
              <a:defRPr/>
            </a:lvl1pPr>
          </a:lstStyle>
          <a:p>
            <a:pPr>
              <a:defRPr/>
            </a:pPr>
            <a:r>
              <a:rPr lang="en-US">
                <a:solidFill>
                  <a:srgbClr val="005CB9"/>
                </a:solidFill>
              </a:rPr>
              <a:t>#</a:t>
            </a:r>
            <a:r>
              <a:rPr lang="en-US" err="1">
                <a:solidFill>
                  <a:srgbClr val="005CB9"/>
                </a:solidFill>
              </a:rPr>
              <a:t>vaccineswork</a:t>
            </a:r>
            <a:endParaRPr lang="en-US">
              <a:solidFill>
                <a:srgbClr val="005CB9"/>
              </a:solidFill>
            </a:endParaRPr>
          </a:p>
        </p:txBody>
      </p:sp>
      <p:sp>
        <p:nvSpPr>
          <p:cNvPr id="6" name="Espace réservé du numéro de diapositive 5"/>
          <p:cNvSpPr>
            <a:spLocks noGrp="1"/>
          </p:cNvSpPr>
          <p:nvPr>
            <p:ph type="sldNum" sz="quarter" idx="12"/>
          </p:nvPr>
        </p:nvSpPr>
        <p:spPr/>
        <p:txBody>
          <a:bodyPr/>
          <a:lstStyle>
            <a:lvl1pPr>
              <a:defRPr/>
            </a:lvl1pPr>
          </a:lstStyle>
          <a:p>
            <a:pPr>
              <a:defRPr/>
            </a:pPr>
            <a:fld id="{02A591CC-FF3A-423F-AEE4-347403BE7256}" type="slidenum">
              <a:rPr lang="en-US">
                <a:solidFill>
                  <a:srgbClr val="343434"/>
                </a:solidFill>
              </a:rPr>
              <a:pPr>
                <a:defRPr/>
              </a:pPr>
              <a:t>‹#›</a:t>
            </a:fld>
            <a:endParaRPr lang="en-US">
              <a:solidFill>
                <a:srgbClr val="343434"/>
              </a:solidFill>
            </a:endParaRPr>
          </a:p>
        </p:txBody>
      </p:sp>
    </p:spTree>
    <p:extLst>
      <p:ext uri="{BB962C8B-B14F-4D97-AF65-F5344CB8AC3E}">
        <p14:creationId xmlns:p14="http://schemas.microsoft.com/office/powerpoint/2010/main" val="463122466"/>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Picture_Layout">
    <p:spTree>
      <p:nvGrpSpPr>
        <p:cNvPr id="1" name=""/>
        <p:cNvGrpSpPr/>
        <p:nvPr/>
      </p:nvGrpSpPr>
      <p:grpSpPr>
        <a:xfrm>
          <a:off x="0" y="0"/>
          <a:ext cx="0" cy="0"/>
          <a:chOff x="0" y="0"/>
          <a:chExt cx="0" cy="0"/>
        </a:xfrm>
      </p:grpSpPr>
      <p:sp>
        <p:nvSpPr>
          <p:cNvPr id="2" name="Titre 1"/>
          <p:cNvSpPr>
            <a:spLocks noGrp="1"/>
          </p:cNvSpPr>
          <p:nvPr>
            <p:ph type="title"/>
          </p:nvPr>
        </p:nvSpPr>
        <p:spPr bwMode="gray"/>
        <p:txBody>
          <a:bodyPr/>
          <a:lstStyle/>
          <a:p>
            <a:r>
              <a:rPr lang="en-US" noProof="0"/>
              <a:t>Click to edit Master title style</a:t>
            </a:r>
          </a:p>
        </p:txBody>
      </p:sp>
      <p:sp>
        <p:nvSpPr>
          <p:cNvPr id="3" name="Espace réservé du contenu 2"/>
          <p:cNvSpPr>
            <a:spLocks noGrp="1"/>
          </p:cNvSpPr>
          <p:nvPr>
            <p:ph idx="1"/>
          </p:nvPr>
        </p:nvSpPr>
        <p:spPr bwMode="gray">
          <a:xfrm>
            <a:off x="3635896" y="1304925"/>
            <a:ext cx="4644504" cy="4716463"/>
          </a:xfrm>
        </p:spPr>
        <p:txBody>
          <a:bodyPr/>
          <a:lstStyle>
            <a:lvl2pPr>
              <a:defRPr/>
            </a:lvl2pPr>
            <a:lvl3pPr>
              <a:defRPr/>
            </a:lvl3pPr>
            <a:lvl4pPr>
              <a:defRPr baseline="0"/>
            </a:lvl4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Espace réservé pour une image  8"/>
          <p:cNvSpPr>
            <a:spLocks noGrp="1"/>
          </p:cNvSpPr>
          <p:nvPr>
            <p:ph type="pic" sz="quarter" idx="13"/>
          </p:nvPr>
        </p:nvSpPr>
        <p:spPr bwMode="gray">
          <a:xfrm>
            <a:off x="0" y="1341438"/>
            <a:ext cx="3419038" cy="4679950"/>
          </a:xfrm>
        </p:spPr>
        <p:txBody>
          <a:bodyPr tIns="1008000" rtlCol="0" anchor="ctr">
            <a:noAutofit/>
          </a:bodyPr>
          <a:lstStyle>
            <a:lvl1pPr algn="ctr">
              <a:defRPr/>
            </a:lvl1pPr>
          </a:lstStyle>
          <a:p>
            <a:pPr lvl="0"/>
            <a:r>
              <a:rPr lang="en-US" noProof="0"/>
              <a:t>Click icon to add picture</a:t>
            </a:r>
          </a:p>
        </p:txBody>
      </p:sp>
      <p:sp>
        <p:nvSpPr>
          <p:cNvPr id="5" name="Espace réservé de la date 3"/>
          <p:cNvSpPr>
            <a:spLocks noGrp="1"/>
          </p:cNvSpPr>
          <p:nvPr>
            <p:ph type="dt" sz="half" idx="14"/>
          </p:nvPr>
        </p:nvSpPr>
        <p:spPr/>
        <p:txBody>
          <a:bodyPr/>
          <a:lstStyle>
            <a:lvl1pPr>
              <a:defRPr/>
            </a:lvl1pPr>
          </a:lstStyle>
          <a:p>
            <a:pPr>
              <a:defRPr/>
            </a:pPr>
            <a:r>
              <a:rPr lang="en-US">
                <a:solidFill>
                  <a:prstClr val="white">
                    <a:alpha val="0"/>
                  </a:prstClr>
                </a:solidFill>
              </a:rPr>
              <a:t>Date</a:t>
            </a:r>
          </a:p>
        </p:txBody>
      </p:sp>
      <p:sp>
        <p:nvSpPr>
          <p:cNvPr id="6" name="Espace réservé du pied de page 4"/>
          <p:cNvSpPr>
            <a:spLocks noGrp="1"/>
          </p:cNvSpPr>
          <p:nvPr>
            <p:ph type="ftr" sz="quarter" idx="15"/>
          </p:nvPr>
        </p:nvSpPr>
        <p:spPr/>
        <p:txBody>
          <a:bodyPr/>
          <a:lstStyle>
            <a:lvl1pPr>
              <a:defRPr/>
            </a:lvl1pPr>
          </a:lstStyle>
          <a:p>
            <a:pPr>
              <a:defRPr/>
            </a:pPr>
            <a:r>
              <a:rPr lang="en-US">
                <a:solidFill>
                  <a:srgbClr val="005CB9"/>
                </a:solidFill>
              </a:rPr>
              <a:t>#</a:t>
            </a:r>
            <a:r>
              <a:rPr lang="en-US" err="1">
                <a:solidFill>
                  <a:srgbClr val="005CB9"/>
                </a:solidFill>
              </a:rPr>
              <a:t>vaccineswork</a:t>
            </a:r>
            <a:endParaRPr lang="en-US">
              <a:solidFill>
                <a:srgbClr val="005CB9"/>
              </a:solidFill>
            </a:endParaRPr>
          </a:p>
        </p:txBody>
      </p:sp>
      <p:sp>
        <p:nvSpPr>
          <p:cNvPr id="7" name="Espace réservé du numéro de diapositive 5"/>
          <p:cNvSpPr>
            <a:spLocks noGrp="1"/>
          </p:cNvSpPr>
          <p:nvPr>
            <p:ph type="sldNum" sz="quarter" idx="16"/>
          </p:nvPr>
        </p:nvSpPr>
        <p:spPr/>
        <p:txBody>
          <a:bodyPr/>
          <a:lstStyle>
            <a:lvl1pPr>
              <a:defRPr/>
            </a:lvl1pPr>
          </a:lstStyle>
          <a:p>
            <a:pPr>
              <a:defRPr/>
            </a:pPr>
            <a:fld id="{D8886677-8A24-41A7-8E0F-301076E1EA36}" type="slidenum">
              <a:rPr lang="en-US">
                <a:solidFill>
                  <a:srgbClr val="343434"/>
                </a:solidFill>
              </a:rPr>
              <a:pPr>
                <a:defRPr/>
              </a:pPr>
              <a:t>‹#›</a:t>
            </a:fld>
            <a:endParaRPr lang="en-US">
              <a:solidFill>
                <a:srgbClr val="343434"/>
              </a:solidFill>
            </a:endParaRPr>
          </a:p>
        </p:txBody>
      </p:sp>
    </p:spTree>
    <p:extLst>
      <p:ext uri="{BB962C8B-B14F-4D97-AF65-F5344CB8AC3E}">
        <p14:creationId xmlns:p14="http://schemas.microsoft.com/office/powerpoint/2010/main" val="3498033845"/>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ext&amp;Content_Layout">
    <p:spTree>
      <p:nvGrpSpPr>
        <p:cNvPr id="1" name=""/>
        <p:cNvGrpSpPr/>
        <p:nvPr/>
      </p:nvGrpSpPr>
      <p:grpSpPr>
        <a:xfrm>
          <a:off x="0" y="0"/>
          <a:ext cx="0" cy="0"/>
          <a:chOff x="0" y="0"/>
          <a:chExt cx="0" cy="0"/>
        </a:xfrm>
      </p:grpSpPr>
      <p:sp>
        <p:nvSpPr>
          <p:cNvPr id="2" name="Titre 1"/>
          <p:cNvSpPr>
            <a:spLocks noGrp="1"/>
          </p:cNvSpPr>
          <p:nvPr>
            <p:ph type="title"/>
          </p:nvPr>
        </p:nvSpPr>
        <p:spPr bwMode="gray"/>
        <p:txBody>
          <a:bodyPr/>
          <a:lstStyle/>
          <a:p>
            <a:r>
              <a:rPr lang="en-US" noProof="0"/>
              <a:t>Click to edit Master title style</a:t>
            </a:r>
          </a:p>
        </p:txBody>
      </p:sp>
      <p:sp>
        <p:nvSpPr>
          <p:cNvPr id="3" name="Espace réservé du contenu 2"/>
          <p:cNvSpPr>
            <a:spLocks noGrp="1"/>
          </p:cNvSpPr>
          <p:nvPr>
            <p:ph idx="1"/>
          </p:nvPr>
        </p:nvSpPr>
        <p:spPr bwMode="gray">
          <a:xfrm>
            <a:off x="935038" y="2781388"/>
            <a:ext cx="7345362" cy="3240000"/>
          </a:xfrm>
        </p:spPr>
        <p:txBody>
          <a:bodyPr/>
          <a:lstStyle>
            <a:lvl2pPr>
              <a:defRPr/>
            </a:lvl2pPr>
            <a:lvl3pPr>
              <a:defRPr/>
            </a:lvl3pPr>
            <a:lvl4pPr>
              <a:defRPr baseline="0"/>
            </a:lvl4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Espace réservé du texte 9"/>
          <p:cNvSpPr>
            <a:spLocks noGrp="1"/>
          </p:cNvSpPr>
          <p:nvPr>
            <p:ph type="body" sz="quarter" idx="13"/>
          </p:nvPr>
        </p:nvSpPr>
        <p:spPr bwMode="gray">
          <a:xfrm>
            <a:off x="935038" y="1304924"/>
            <a:ext cx="7345362" cy="126000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Espace réservé de la date 3"/>
          <p:cNvSpPr>
            <a:spLocks noGrp="1"/>
          </p:cNvSpPr>
          <p:nvPr>
            <p:ph type="dt" sz="half" idx="14"/>
          </p:nvPr>
        </p:nvSpPr>
        <p:spPr/>
        <p:txBody>
          <a:bodyPr/>
          <a:lstStyle>
            <a:lvl1pPr>
              <a:defRPr/>
            </a:lvl1pPr>
          </a:lstStyle>
          <a:p>
            <a:pPr>
              <a:defRPr/>
            </a:pPr>
            <a:r>
              <a:rPr lang="en-US">
                <a:solidFill>
                  <a:prstClr val="white">
                    <a:alpha val="0"/>
                  </a:prstClr>
                </a:solidFill>
              </a:rPr>
              <a:t>Date</a:t>
            </a:r>
          </a:p>
        </p:txBody>
      </p:sp>
      <p:sp>
        <p:nvSpPr>
          <p:cNvPr id="6" name="Espace réservé du pied de page 4"/>
          <p:cNvSpPr>
            <a:spLocks noGrp="1"/>
          </p:cNvSpPr>
          <p:nvPr>
            <p:ph type="ftr" sz="quarter" idx="15"/>
          </p:nvPr>
        </p:nvSpPr>
        <p:spPr/>
        <p:txBody>
          <a:bodyPr/>
          <a:lstStyle>
            <a:lvl1pPr>
              <a:defRPr/>
            </a:lvl1pPr>
          </a:lstStyle>
          <a:p>
            <a:pPr>
              <a:defRPr/>
            </a:pPr>
            <a:r>
              <a:rPr lang="en-US">
                <a:solidFill>
                  <a:srgbClr val="005CB9"/>
                </a:solidFill>
              </a:rPr>
              <a:t>#</a:t>
            </a:r>
            <a:r>
              <a:rPr lang="en-US" err="1">
                <a:solidFill>
                  <a:srgbClr val="005CB9"/>
                </a:solidFill>
              </a:rPr>
              <a:t>vaccineswork</a:t>
            </a:r>
            <a:endParaRPr lang="en-US">
              <a:solidFill>
                <a:srgbClr val="005CB9"/>
              </a:solidFill>
            </a:endParaRPr>
          </a:p>
        </p:txBody>
      </p:sp>
      <p:sp>
        <p:nvSpPr>
          <p:cNvPr id="7" name="Espace réservé du numéro de diapositive 5"/>
          <p:cNvSpPr>
            <a:spLocks noGrp="1"/>
          </p:cNvSpPr>
          <p:nvPr>
            <p:ph type="sldNum" sz="quarter" idx="16"/>
          </p:nvPr>
        </p:nvSpPr>
        <p:spPr/>
        <p:txBody>
          <a:bodyPr/>
          <a:lstStyle>
            <a:lvl1pPr>
              <a:defRPr/>
            </a:lvl1pPr>
          </a:lstStyle>
          <a:p>
            <a:pPr>
              <a:defRPr/>
            </a:pPr>
            <a:fld id="{8779425B-3CAA-48C9-9B95-57BAD5A3D82E}" type="slidenum">
              <a:rPr lang="en-US">
                <a:solidFill>
                  <a:srgbClr val="343434"/>
                </a:solidFill>
              </a:rPr>
              <a:pPr>
                <a:defRPr/>
              </a:pPr>
              <a:t>‹#›</a:t>
            </a:fld>
            <a:endParaRPr lang="en-US">
              <a:solidFill>
                <a:srgbClr val="343434"/>
              </a:solidFill>
            </a:endParaRPr>
          </a:p>
        </p:txBody>
      </p:sp>
    </p:spTree>
    <p:extLst>
      <p:ext uri="{BB962C8B-B14F-4D97-AF65-F5344CB8AC3E}">
        <p14:creationId xmlns:p14="http://schemas.microsoft.com/office/powerpoint/2010/main" val="3140075583"/>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hank_you_1">
    <p:spTree>
      <p:nvGrpSpPr>
        <p:cNvPr id="1" name=""/>
        <p:cNvGrpSpPr/>
        <p:nvPr/>
      </p:nvGrpSpPr>
      <p:grpSpPr>
        <a:xfrm>
          <a:off x="0" y="0"/>
          <a:ext cx="0" cy="0"/>
          <a:chOff x="0" y="0"/>
          <a:chExt cx="0" cy="0"/>
        </a:xfrm>
      </p:grpSpPr>
      <p:pic>
        <p:nvPicPr>
          <p:cNvPr id="5" name="Image 18" descr="FD_1_L254.png"/>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gray">
          <a:xfrm>
            <a:off x="0" y="0"/>
            <a:ext cx="9144000" cy="51577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6" name="Rectangle 5"/>
          <p:cNvSpPr/>
          <p:nvPr userDrawn="1"/>
        </p:nvSpPr>
        <p:spPr bwMode="gray">
          <a:xfrm>
            <a:off x="3635375" y="5265738"/>
            <a:ext cx="5508625" cy="15922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prstClr val="white"/>
              </a:solidFill>
            </a:endParaRPr>
          </a:p>
        </p:txBody>
      </p:sp>
      <p:pic>
        <p:nvPicPr>
          <p:cNvPr id="7" name="Image 19" descr="Bas_couv.png"/>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gray">
          <a:xfrm>
            <a:off x="0" y="5172075"/>
            <a:ext cx="3635375" cy="16859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8" name="Rectangle 7"/>
          <p:cNvSpPr/>
          <p:nvPr userDrawn="1"/>
        </p:nvSpPr>
        <p:spPr bwMode="gray">
          <a:xfrm>
            <a:off x="3635375" y="6354763"/>
            <a:ext cx="5113338" cy="2873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p>
            <a:pPr algn="r">
              <a:defRPr/>
            </a:pPr>
            <a:r>
              <a:rPr lang="en-US" sz="1000" err="1">
                <a:solidFill>
                  <a:srgbClr val="95D600"/>
                </a:solidFill>
              </a:rPr>
              <a:t>www.gavi.org</a:t>
            </a:r>
            <a:endParaRPr lang="en-US" sz="1000">
              <a:solidFill>
                <a:srgbClr val="95D600"/>
              </a:solidFill>
            </a:endParaRPr>
          </a:p>
        </p:txBody>
      </p:sp>
      <p:cxnSp>
        <p:nvCxnSpPr>
          <p:cNvPr id="10" name="Connecteur droit 13"/>
          <p:cNvCxnSpPr/>
          <p:nvPr userDrawn="1"/>
        </p:nvCxnSpPr>
        <p:spPr bwMode="gray">
          <a:xfrm flipH="1">
            <a:off x="468313" y="3400425"/>
            <a:ext cx="2447925" cy="0"/>
          </a:xfrm>
          <a:prstGeom prst="line">
            <a:avLst/>
          </a:prstGeom>
          <a:ln w="24130">
            <a:solidFill>
              <a:schemeClr val="accent1"/>
            </a:solidFill>
          </a:ln>
        </p:spPr>
        <p:style>
          <a:lnRef idx="1">
            <a:schemeClr val="accent1"/>
          </a:lnRef>
          <a:fillRef idx="0">
            <a:schemeClr val="accent1"/>
          </a:fillRef>
          <a:effectRef idx="0">
            <a:schemeClr val="accent1"/>
          </a:effectRef>
          <a:fontRef idx="minor">
            <a:schemeClr val="tx1"/>
          </a:fontRef>
        </p:style>
      </p:cxnSp>
      <p:sp>
        <p:nvSpPr>
          <p:cNvPr id="9" name="Espace réservé du texte 8"/>
          <p:cNvSpPr>
            <a:spLocks noGrp="1"/>
          </p:cNvSpPr>
          <p:nvPr>
            <p:ph type="body" sz="quarter" idx="13"/>
          </p:nvPr>
        </p:nvSpPr>
        <p:spPr bwMode="gray">
          <a:xfrm>
            <a:off x="468314" y="1036638"/>
            <a:ext cx="4824412" cy="2242966"/>
          </a:xfrm>
        </p:spPr>
        <p:txBody>
          <a:bodyPr anchor="b"/>
          <a:lstStyle>
            <a:lvl1pPr marL="0" indent="0" algn="l">
              <a:lnSpc>
                <a:spcPct val="90000"/>
              </a:lnSpc>
              <a:buNone/>
              <a:defRPr sz="2800" b="1" cap="none" baseline="0">
                <a:solidFill>
                  <a:schemeClr val="bg1"/>
                </a:solidFill>
              </a:defRPr>
            </a:lvl1pPr>
            <a:lvl2pPr marL="0" algn="ctr">
              <a:lnSpc>
                <a:spcPct val="100000"/>
              </a:lnSpc>
              <a:spcBef>
                <a:spcPts val="6900"/>
              </a:spcBef>
              <a:defRPr sz="2000" b="1">
                <a:solidFill>
                  <a:schemeClr val="bg1"/>
                </a:solidFill>
              </a:defRPr>
            </a:lvl2pPr>
          </a:lstStyle>
          <a:p>
            <a:pPr lvl="0"/>
            <a:r>
              <a:rPr lang="en-US" noProof="0"/>
              <a:t>Click to edit Master text styles</a:t>
            </a:r>
          </a:p>
        </p:txBody>
      </p:sp>
      <p:sp>
        <p:nvSpPr>
          <p:cNvPr id="15" name="Espace réservé du texte 14"/>
          <p:cNvSpPr>
            <a:spLocks noGrp="1"/>
          </p:cNvSpPr>
          <p:nvPr>
            <p:ph type="body" sz="quarter" idx="19"/>
          </p:nvPr>
        </p:nvSpPr>
        <p:spPr bwMode="gray">
          <a:xfrm>
            <a:off x="3635376" y="6021388"/>
            <a:ext cx="5113338" cy="324000"/>
          </a:xfrm>
        </p:spPr>
        <p:txBody>
          <a:bodyPr anchor="b"/>
          <a:lstStyle>
            <a:lvl1pPr algn="r">
              <a:lnSpc>
                <a:spcPct val="100000"/>
              </a:lnSpc>
              <a:defRPr sz="1000" b="1">
                <a:solidFill>
                  <a:schemeClr val="accent3"/>
                </a:solidFill>
              </a:defRPr>
            </a:lvl1pPr>
          </a:lstStyle>
          <a:p>
            <a:pPr lvl="0"/>
            <a:r>
              <a:rPr lang="en-US" noProof="0"/>
              <a:t>Click to edit Master text styles</a:t>
            </a:r>
          </a:p>
        </p:txBody>
      </p:sp>
      <p:sp>
        <p:nvSpPr>
          <p:cNvPr id="13" name="Espace réservé pour une image  17"/>
          <p:cNvSpPr>
            <a:spLocks noGrp="1"/>
          </p:cNvSpPr>
          <p:nvPr>
            <p:ph type="pic" sz="quarter" idx="18"/>
          </p:nvPr>
        </p:nvSpPr>
        <p:spPr bwMode="gray">
          <a:xfrm>
            <a:off x="4192588" y="0"/>
            <a:ext cx="4951412" cy="5162400"/>
          </a:xfrm>
          <a:custGeom>
            <a:avLst/>
            <a:gdLst>
              <a:gd name="connsiteX0" fmla="*/ 0 w 3851275"/>
              <a:gd name="connsiteY0" fmla="*/ 0 h 5157788"/>
              <a:gd name="connsiteX1" fmla="*/ 3851275 w 3851275"/>
              <a:gd name="connsiteY1" fmla="*/ 0 h 5157788"/>
              <a:gd name="connsiteX2" fmla="*/ 3851275 w 3851275"/>
              <a:gd name="connsiteY2" fmla="*/ 5157788 h 5157788"/>
              <a:gd name="connsiteX3" fmla="*/ 0 w 3851275"/>
              <a:gd name="connsiteY3" fmla="*/ 5157788 h 5157788"/>
              <a:gd name="connsiteX4" fmla="*/ 0 w 3851275"/>
              <a:gd name="connsiteY4"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0 w 3851275"/>
              <a:gd name="connsiteY3" fmla="*/ 5157788 h 5157788"/>
              <a:gd name="connsiteX4" fmla="*/ 1692275 w 3851275"/>
              <a:gd name="connsiteY4" fmla="*/ 0 h 5157788"/>
              <a:gd name="connsiteX0" fmla="*/ 0 w 2159000"/>
              <a:gd name="connsiteY0" fmla="*/ 0 h 5157788"/>
              <a:gd name="connsiteX1" fmla="*/ 2159000 w 2159000"/>
              <a:gd name="connsiteY1" fmla="*/ 0 h 5157788"/>
              <a:gd name="connsiteX2" fmla="*/ 2159000 w 2159000"/>
              <a:gd name="connsiteY2" fmla="*/ 5157788 h 5157788"/>
              <a:gd name="connsiteX3" fmla="*/ 0 w 2159000"/>
              <a:gd name="connsiteY3" fmla="*/ 5157788 h 5157788"/>
              <a:gd name="connsiteX4" fmla="*/ 0 w 2159000"/>
              <a:gd name="connsiteY4" fmla="*/ 0 h 5157788"/>
              <a:gd name="connsiteX0" fmla="*/ 2625271 w 4784271"/>
              <a:gd name="connsiteY0" fmla="*/ 0 h 5157788"/>
              <a:gd name="connsiteX1" fmla="*/ 4784271 w 4784271"/>
              <a:gd name="connsiteY1" fmla="*/ 0 h 5157788"/>
              <a:gd name="connsiteX2" fmla="*/ 4784271 w 4784271"/>
              <a:gd name="connsiteY2" fmla="*/ 5157788 h 5157788"/>
              <a:gd name="connsiteX3" fmla="*/ 2625271 w 4784271"/>
              <a:gd name="connsiteY3" fmla="*/ 5157788 h 5157788"/>
              <a:gd name="connsiteX4" fmla="*/ 2625271 w 4784271"/>
              <a:gd name="connsiteY4" fmla="*/ 0 h 5157788"/>
              <a:gd name="connsiteX0" fmla="*/ 2625271 w 4784271"/>
              <a:gd name="connsiteY0" fmla="*/ 0 h 5157788"/>
              <a:gd name="connsiteX1" fmla="*/ 4784271 w 4784271"/>
              <a:gd name="connsiteY1" fmla="*/ 0 h 5157788"/>
              <a:gd name="connsiteX2" fmla="*/ 4784271 w 4784271"/>
              <a:gd name="connsiteY2" fmla="*/ 5157788 h 5157788"/>
              <a:gd name="connsiteX3" fmla="*/ 2625271 w 4784271"/>
              <a:gd name="connsiteY3" fmla="*/ 5157788 h 5157788"/>
              <a:gd name="connsiteX4" fmla="*/ 2625271 w 4784271"/>
              <a:gd name="connsiteY4" fmla="*/ 0 h 5157788"/>
              <a:gd name="connsiteX0" fmla="*/ 3568576 w 5727576"/>
              <a:gd name="connsiteY0" fmla="*/ 0 h 5157788"/>
              <a:gd name="connsiteX1" fmla="*/ 5727576 w 5727576"/>
              <a:gd name="connsiteY1" fmla="*/ 0 h 5157788"/>
              <a:gd name="connsiteX2" fmla="*/ 5727576 w 5727576"/>
              <a:gd name="connsiteY2" fmla="*/ 5157788 h 5157788"/>
              <a:gd name="connsiteX3" fmla="*/ 3568576 w 5727576"/>
              <a:gd name="connsiteY3" fmla="*/ 5157788 h 5157788"/>
              <a:gd name="connsiteX4" fmla="*/ 3568576 w 5727576"/>
              <a:gd name="connsiteY4" fmla="*/ 0 h 5157788"/>
              <a:gd name="connsiteX0" fmla="*/ 3306355 w 5465355"/>
              <a:gd name="connsiteY0" fmla="*/ 0 h 5157788"/>
              <a:gd name="connsiteX1" fmla="*/ 5465355 w 5465355"/>
              <a:gd name="connsiteY1" fmla="*/ 0 h 5157788"/>
              <a:gd name="connsiteX2" fmla="*/ 5465355 w 5465355"/>
              <a:gd name="connsiteY2" fmla="*/ 5157788 h 5157788"/>
              <a:gd name="connsiteX3" fmla="*/ 3306355 w 5465355"/>
              <a:gd name="connsiteY3" fmla="*/ 5157788 h 5157788"/>
              <a:gd name="connsiteX4" fmla="*/ 3306355 w 5465355"/>
              <a:gd name="connsiteY4" fmla="*/ 0 h 5157788"/>
              <a:gd name="connsiteX0" fmla="*/ 1416957 w 3575957"/>
              <a:gd name="connsiteY0" fmla="*/ 0 h 5157788"/>
              <a:gd name="connsiteX1" fmla="*/ 3575957 w 3575957"/>
              <a:gd name="connsiteY1" fmla="*/ 0 h 5157788"/>
              <a:gd name="connsiteX2" fmla="*/ 3575957 w 3575957"/>
              <a:gd name="connsiteY2" fmla="*/ 5157788 h 5157788"/>
              <a:gd name="connsiteX3" fmla="*/ 1416957 w 3575957"/>
              <a:gd name="connsiteY3" fmla="*/ 5157788 h 5157788"/>
              <a:gd name="connsiteX4" fmla="*/ 0 w 3575957"/>
              <a:gd name="connsiteY4" fmla="*/ 3339193 h 5157788"/>
              <a:gd name="connsiteX5" fmla="*/ 1416957 w 3575957"/>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6017419"/>
              <a:gd name="connsiteX1" fmla="*/ 3851275 w 3851275"/>
              <a:gd name="connsiteY1" fmla="*/ 0 h 6017419"/>
              <a:gd name="connsiteX2" fmla="*/ 3851275 w 3851275"/>
              <a:gd name="connsiteY2" fmla="*/ 5157788 h 6017419"/>
              <a:gd name="connsiteX3" fmla="*/ 1692275 w 3851275"/>
              <a:gd name="connsiteY3" fmla="*/ 5157788 h 6017419"/>
              <a:gd name="connsiteX4" fmla="*/ 0 w 3851275"/>
              <a:gd name="connsiteY4" fmla="*/ 3284984 h 6017419"/>
              <a:gd name="connsiteX5" fmla="*/ 1692275 w 3851275"/>
              <a:gd name="connsiteY5" fmla="*/ 0 h 6017419"/>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429000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429000 h 5157788"/>
              <a:gd name="connsiteX5" fmla="*/ 1710871 w 3869871"/>
              <a:gd name="connsiteY5" fmla="*/ 0 h 5157788"/>
              <a:gd name="connsiteX0" fmla="*/ 1704975 w 3863975"/>
              <a:gd name="connsiteY0" fmla="*/ 0 h 5157788"/>
              <a:gd name="connsiteX1" fmla="*/ 3863975 w 3863975"/>
              <a:gd name="connsiteY1" fmla="*/ 0 h 5157788"/>
              <a:gd name="connsiteX2" fmla="*/ 3863975 w 3863975"/>
              <a:gd name="connsiteY2" fmla="*/ 5157788 h 5157788"/>
              <a:gd name="connsiteX3" fmla="*/ 1704975 w 3863975"/>
              <a:gd name="connsiteY3" fmla="*/ 5157788 h 5157788"/>
              <a:gd name="connsiteX4" fmla="*/ 12700 w 3863975"/>
              <a:gd name="connsiteY4" fmla="*/ 3429000 h 5157788"/>
              <a:gd name="connsiteX5" fmla="*/ 1704975 w 3863975"/>
              <a:gd name="connsiteY5" fmla="*/ 0 h 5157788"/>
              <a:gd name="connsiteX0" fmla="*/ 1707243 w 3866243"/>
              <a:gd name="connsiteY0" fmla="*/ 0 h 5157788"/>
              <a:gd name="connsiteX1" fmla="*/ 3866243 w 3866243"/>
              <a:gd name="connsiteY1" fmla="*/ 0 h 5157788"/>
              <a:gd name="connsiteX2" fmla="*/ 3866243 w 3866243"/>
              <a:gd name="connsiteY2" fmla="*/ 5157788 h 5157788"/>
              <a:gd name="connsiteX3" fmla="*/ 1707243 w 3866243"/>
              <a:gd name="connsiteY3" fmla="*/ 5157788 h 5157788"/>
              <a:gd name="connsiteX4" fmla="*/ 14968 w 3866243"/>
              <a:gd name="connsiteY4" fmla="*/ 3429000 h 5157788"/>
              <a:gd name="connsiteX5" fmla="*/ 1707243 w 3866243"/>
              <a:gd name="connsiteY5" fmla="*/ 0 h 5157788"/>
              <a:gd name="connsiteX0" fmla="*/ 1130447 w 3866243"/>
              <a:gd name="connsiteY0" fmla="*/ 0 h 5157788"/>
              <a:gd name="connsiteX1" fmla="*/ 3866243 w 3866243"/>
              <a:gd name="connsiteY1" fmla="*/ 0 h 5157788"/>
              <a:gd name="connsiteX2" fmla="*/ 3866243 w 3866243"/>
              <a:gd name="connsiteY2" fmla="*/ 5157788 h 5157788"/>
              <a:gd name="connsiteX3" fmla="*/ 1707243 w 3866243"/>
              <a:gd name="connsiteY3" fmla="*/ 5157788 h 5157788"/>
              <a:gd name="connsiteX4" fmla="*/ 14968 w 3866243"/>
              <a:gd name="connsiteY4" fmla="*/ 3429000 h 5157788"/>
              <a:gd name="connsiteX5" fmla="*/ 1130447 w 3866243"/>
              <a:gd name="connsiteY5" fmla="*/ 0 h 5157788"/>
              <a:gd name="connsiteX0" fmla="*/ 2746143 w 5481939"/>
              <a:gd name="connsiteY0" fmla="*/ 0 h 5157788"/>
              <a:gd name="connsiteX1" fmla="*/ 5481939 w 5481939"/>
              <a:gd name="connsiteY1" fmla="*/ 0 h 5157788"/>
              <a:gd name="connsiteX2" fmla="*/ 5481939 w 5481939"/>
              <a:gd name="connsiteY2" fmla="*/ 5157788 h 5157788"/>
              <a:gd name="connsiteX3" fmla="*/ 585903 w 5481939"/>
              <a:gd name="connsiteY3" fmla="*/ 5153180 h 5157788"/>
              <a:gd name="connsiteX4" fmla="*/ 1630664 w 5481939"/>
              <a:gd name="connsiteY4" fmla="*/ 3429000 h 5157788"/>
              <a:gd name="connsiteX5" fmla="*/ 2746143 w 5481939"/>
              <a:gd name="connsiteY5" fmla="*/ 0 h 5157788"/>
              <a:gd name="connsiteX0" fmla="*/ 2746143 w 5481939"/>
              <a:gd name="connsiteY0" fmla="*/ 0 h 5157788"/>
              <a:gd name="connsiteX1" fmla="*/ 5481939 w 5481939"/>
              <a:gd name="connsiteY1" fmla="*/ 0 h 5157788"/>
              <a:gd name="connsiteX2" fmla="*/ 5481939 w 5481939"/>
              <a:gd name="connsiteY2" fmla="*/ 5157788 h 5157788"/>
              <a:gd name="connsiteX3" fmla="*/ 585903 w 5481939"/>
              <a:gd name="connsiteY3" fmla="*/ 5153180 h 5157788"/>
              <a:gd name="connsiteX4" fmla="*/ 1630664 w 5481939"/>
              <a:gd name="connsiteY4" fmla="*/ 3429000 h 5157788"/>
              <a:gd name="connsiteX5" fmla="*/ 2746143 w 548193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3574235 w 6310031"/>
              <a:gd name="connsiteY0" fmla="*/ 0 h 5157788"/>
              <a:gd name="connsiteX1" fmla="*/ 6310031 w 6310031"/>
              <a:gd name="connsiteY1" fmla="*/ 0 h 5157788"/>
              <a:gd name="connsiteX2" fmla="*/ 6310031 w 6310031"/>
              <a:gd name="connsiteY2" fmla="*/ 5157788 h 5157788"/>
              <a:gd name="connsiteX3" fmla="*/ 585903 w 6310031"/>
              <a:gd name="connsiteY3" fmla="*/ 5153180 h 5157788"/>
              <a:gd name="connsiteX4" fmla="*/ 1738031 w 6310031"/>
              <a:gd name="connsiteY4" fmla="*/ 3389965 h 5157788"/>
              <a:gd name="connsiteX5" fmla="*/ 3574235 w 6310031"/>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296143 w 5724128"/>
              <a:gd name="connsiteY4" fmla="*/ 3461908 h 5157788"/>
              <a:gd name="connsiteX5" fmla="*/ 2988332 w 5724128"/>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1188132 w 5760132"/>
              <a:gd name="connsiteY4" fmla="*/ 3425937 h 5157788"/>
              <a:gd name="connsiteX5" fmla="*/ 3024336 w 5760132"/>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2736304 w 5760132"/>
              <a:gd name="connsiteY4" fmla="*/ 3461908 h 5157788"/>
              <a:gd name="connsiteX5" fmla="*/ 3024336 w 5760132"/>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2736304 w 5760132"/>
              <a:gd name="connsiteY4" fmla="*/ 3461908 h 5157788"/>
              <a:gd name="connsiteX5" fmla="*/ 3024336 w 5760132"/>
              <a:gd name="connsiteY5" fmla="*/ 0 h 5157788"/>
              <a:gd name="connsiteX0" fmla="*/ 2160240 w 4896036"/>
              <a:gd name="connsiteY0" fmla="*/ 0 h 5157788"/>
              <a:gd name="connsiteX1" fmla="*/ 4896036 w 4896036"/>
              <a:gd name="connsiteY1" fmla="*/ 0 h 5157788"/>
              <a:gd name="connsiteX2" fmla="*/ 4896036 w 4896036"/>
              <a:gd name="connsiteY2" fmla="*/ 5157788 h 5157788"/>
              <a:gd name="connsiteX3" fmla="*/ 0 w 4896036"/>
              <a:gd name="connsiteY3" fmla="*/ 5153180 h 5157788"/>
              <a:gd name="connsiteX4" fmla="*/ 1872208 w 4896036"/>
              <a:gd name="connsiteY4" fmla="*/ 3461908 h 5157788"/>
              <a:gd name="connsiteX5" fmla="*/ 2160240 w 4896036"/>
              <a:gd name="connsiteY5" fmla="*/ 0 h 5157788"/>
              <a:gd name="connsiteX0" fmla="*/ 2232248 w 4968044"/>
              <a:gd name="connsiteY0" fmla="*/ 0 h 5157788"/>
              <a:gd name="connsiteX1" fmla="*/ 4968044 w 4968044"/>
              <a:gd name="connsiteY1" fmla="*/ 0 h 5157788"/>
              <a:gd name="connsiteX2" fmla="*/ 4968044 w 4968044"/>
              <a:gd name="connsiteY2" fmla="*/ 5157788 h 5157788"/>
              <a:gd name="connsiteX3" fmla="*/ 0 w 4968044"/>
              <a:gd name="connsiteY3" fmla="*/ 5153180 h 5157788"/>
              <a:gd name="connsiteX4" fmla="*/ 1944216 w 4968044"/>
              <a:gd name="connsiteY4" fmla="*/ 3461908 h 5157788"/>
              <a:gd name="connsiteX5" fmla="*/ 2232248 w 4968044"/>
              <a:gd name="connsiteY5" fmla="*/ 0 h 5157788"/>
              <a:gd name="connsiteX0" fmla="*/ 2207679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207679 w 4943475"/>
              <a:gd name="connsiteY5" fmla="*/ 0 h 5157788"/>
              <a:gd name="connsiteX0" fmla="*/ 2963763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963763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092200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71575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343583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675731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675731 w 4943475"/>
              <a:gd name="connsiteY5" fmla="*/ 0 h 5157788"/>
              <a:gd name="connsiteX0" fmla="*/ 2675731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675731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9672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19672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51412" h="5157788">
                <a:moveTo>
                  <a:pt x="2706687" y="0"/>
                </a:moveTo>
                <a:lnTo>
                  <a:pt x="4951412" y="0"/>
                </a:lnTo>
                <a:lnTo>
                  <a:pt x="4951412" y="5157788"/>
                </a:lnTo>
                <a:lnTo>
                  <a:pt x="0" y="5153180"/>
                </a:lnTo>
                <a:cubicBezTo>
                  <a:pt x="84411" y="4542509"/>
                  <a:pt x="183041" y="4024723"/>
                  <a:pt x="1243508" y="2562613"/>
                </a:cubicBezTo>
                <a:cubicBezTo>
                  <a:pt x="1867447" y="1704780"/>
                  <a:pt x="2665955" y="709265"/>
                  <a:pt x="2706687" y="0"/>
                </a:cubicBezTo>
                <a:close/>
              </a:path>
            </a:pathLst>
          </a:custGeom>
          <a:solidFill>
            <a:schemeClr val="bg2"/>
          </a:solidFill>
          <a:ln w="3175">
            <a:noFill/>
          </a:ln>
        </p:spPr>
        <p:txBody>
          <a:bodyPr tIns="720000" rtlCol="0" anchor="ctr">
            <a:noAutofit/>
          </a:bodyPr>
          <a:lstStyle>
            <a:lvl1pPr algn="ctr">
              <a:defRPr sz="1500">
                <a:solidFill>
                  <a:schemeClr val="bg1"/>
                </a:solidFill>
              </a:defRPr>
            </a:lvl1pPr>
          </a:lstStyle>
          <a:p>
            <a:pPr lvl="0"/>
            <a:r>
              <a:rPr lang="en-US" noProof="0"/>
              <a:t>Click icon to add picture</a:t>
            </a:r>
          </a:p>
        </p:txBody>
      </p:sp>
      <p:sp>
        <p:nvSpPr>
          <p:cNvPr id="11" name="Espace réservé de la date 9"/>
          <p:cNvSpPr>
            <a:spLocks noGrp="1"/>
          </p:cNvSpPr>
          <p:nvPr>
            <p:ph type="dt" sz="half" idx="20"/>
          </p:nvPr>
        </p:nvSpPr>
        <p:spPr/>
        <p:txBody>
          <a:bodyPr/>
          <a:lstStyle>
            <a:lvl1pPr>
              <a:defRPr/>
            </a:lvl1pPr>
          </a:lstStyle>
          <a:p>
            <a:pPr>
              <a:defRPr/>
            </a:pPr>
            <a:r>
              <a:rPr lang="en-US">
                <a:solidFill>
                  <a:prstClr val="white">
                    <a:alpha val="0"/>
                  </a:prstClr>
                </a:solidFill>
              </a:rPr>
              <a:t>Date</a:t>
            </a:r>
          </a:p>
        </p:txBody>
      </p:sp>
      <p:sp>
        <p:nvSpPr>
          <p:cNvPr id="12" name="Espace réservé du numéro de diapositive 10"/>
          <p:cNvSpPr>
            <a:spLocks noGrp="1"/>
          </p:cNvSpPr>
          <p:nvPr>
            <p:ph type="sldNum" sz="quarter" idx="21"/>
          </p:nvPr>
        </p:nvSpPr>
        <p:spPr/>
        <p:txBody>
          <a:bodyPr/>
          <a:lstStyle>
            <a:lvl1pPr>
              <a:defRPr sz="100">
                <a:solidFill>
                  <a:schemeClr val="bg1">
                    <a:alpha val="0"/>
                  </a:schemeClr>
                </a:solidFill>
              </a:defRPr>
            </a:lvl1pPr>
          </a:lstStyle>
          <a:p>
            <a:pPr>
              <a:defRPr/>
            </a:pPr>
            <a:r>
              <a:rPr lang="en-US">
                <a:solidFill>
                  <a:prstClr val="white">
                    <a:alpha val="0"/>
                  </a:prstClr>
                </a:solidFill>
              </a:rPr>
              <a:t>Page: </a:t>
            </a:r>
            <a:fld id="{4AF4F797-1FBC-44F9-B7CF-6A5F893B852E}" type="slidenum">
              <a:rPr lang="en-US">
                <a:solidFill>
                  <a:prstClr val="white">
                    <a:alpha val="0"/>
                  </a:prstClr>
                </a:solidFill>
              </a:rPr>
              <a:pPr>
                <a:defRPr/>
              </a:pPr>
              <a:t>‹#›</a:t>
            </a:fld>
            <a:endParaRPr lang="en-US">
              <a:solidFill>
                <a:prstClr val="white">
                  <a:alpha val="0"/>
                </a:prstClr>
              </a:solidFill>
            </a:endParaRPr>
          </a:p>
        </p:txBody>
      </p:sp>
      <p:sp>
        <p:nvSpPr>
          <p:cNvPr id="14" name="Espace réservé du pied de page 11"/>
          <p:cNvSpPr>
            <a:spLocks noGrp="1"/>
          </p:cNvSpPr>
          <p:nvPr>
            <p:ph type="ftr" sz="quarter" idx="22"/>
          </p:nvPr>
        </p:nvSpPr>
        <p:spPr>
          <a:xfrm>
            <a:off x="468313" y="523875"/>
            <a:ext cx="4824412" cy="360363"/>
          </a:xfrm>
        </p:spPr>
        <p:txBody>
          <a:bodyPr/>
          <a:lstStyle>
            <a:lvl1pPr algn="l">
              <a:defRPr sz="1800" b="0">
                <a:solidFill>
                  <a:schemeClr val="bg1"/>
                </a:solidFill>
              </a:defRPr>
            </a:lvl1pPr>
          </a:lstStyle>
          <a:p>
            <a:pPr>
              <a:defRPr/>
            </a:pPr>
            <a:r>
              <a:rPr lang="en-US">
                <a:solidFill>
                  <a:prstClr val="white"/>
                </a:solidFill>
              </a:rPr>
              <a:t>#</a:t>
            </a:r>
            <a:r>
              <a:rPr lang="en-US" err="1">
                <a:solidFill>
                  <a:prstClr val="white"/>
                </a:solidFill>
              </a:rPr>
              <a:t>vaccineswork</a:t>
            </a:r>
            <a:endParaRPr lang="en-US">
              <a:solidFill>
                <a:prstClr val="white"/>
              </a:solidFill>
            </a:endParaRPr>
          </a:p>
        </p:txBody>
      </p:sp>
    </p:spTree>
    <p:extLst>
      <p:ext uri="{BB962C8B-B14F-4D97-AF65-F5344CB8AC3E}">
        <p14:creationId xmlns:p14="http://schemas.microsoft.com/office/powerpoint/2010/main" val="1134580535"/>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hank_you_2">
    <p:spTree>
      <p:nvGrpSpPr>
        <p:cNvPr id="1" name=""/>
        <p:cNvGrpSpPr/>
        <p:nvPr/>
      </p:nvGrpSpPr>
      <p:grpSpPr>
        <a:xfrm>
          <a:off x="0" y="0"/>
          <a:ext cx="0" cy="0"/>
          <a:chOff x="0" y="0"/>
          <a:chExt cx="0" cy="0"/>
        </a:xfrm>
      </p:grpSpPr>
      <p:sp>
        <p:nvSpPr>
          <p:cNvPr id="5" name="Rectangle 4"/>
          <p:cNvSpPr/>
          <p:nvPr userDrawn="1"/>
        </p:nvSpPr>
        <p:spPr bwMode="gray">
          <a:xfrm>
            <a:off x="3635375" y="5265738"/>
            <a:ext cx="5508625" cy="15922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prstClr val="white"/>
              </a:solidFill>
            </a:endParaRPr>
          </a:p>
        </p:txBody>
      </p:sp>
      <p:pic>
        <p:nvPicPr>
          <p:cNvPr id="6" name="Image 20" descr="FD_1_L254.png"/>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gray">
          <a:xfrm>
            <a:off x="0" y="0"/>
            <a:ext cx="9144000" cy="51577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7" name="Image 19" descr="Bas_couv.png"/>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gray">
          <a:xfrm>
            <a:off x="0" y="5172075"/>
            <a:ext cx="3635375" cy="16859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8" name="Rectangle 7"/>
          <p:cNvSpPr/>
          <p:nvPr userDrawn="1"/>
        </p:nvSpPr>
        <p:spPr bwMode="gray">
          <a:xfrm>
            <a:off x="3635375" y="6354763"/>
            <a:ext cx="5113338" cy="2873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p>
            <a:pPr algn="r">
              <a:defRPr/>
            </a:pPr>
            <a:r>
              <a:rPr lang="en-US" sz="1000" err="1">
                <a:solidFill>
                  <a:srgbClr val="95D600"/>
                </a:solidFill>
              </a:rPr>
              <a:t>www.gavi.org</a:t>
            </a:r>
            <a:endParaRPr lang="en-US" sz="1000">
              <a:solidFill>
                <a:srgbClr val="95D600"/>
              </a:solidFill>
            </a:endParaRPr>
          </a:p>
        </p:txBody>
      </p:sp>
      <p:cxnSp>
        <p:nvCxnSpPr>
          <p:cNvPr id="10" name="Connecteur droit 13"/>
          <p:cNvCxnSpPr/>
          <p:nvPr userDrawn="1"/>
        </p:nvCxnSpPr>
        <p:spPr bwMode="gray">
          <a:xfrm flipH="1">
            <a:off x="468313" y="3402013"/>
            <a:ext cx="2447925" cy="0"/>
          </a:xfrm>
          <a:prstGeom prst="line">
            <a:avLst/>
          </a:prstGeom>
          <a:ln w="24130">
            <a:solidFill>
              <a:schemeClr val="accent1"/>
            </a:solidFill>
          </a:ln>
        </p:spPr>
        <p:style>
          <a:lnRef idx="1">
            <a:schemeClr val="accent1"/>
          </a:lnRef>
          <a:fillRef idx="0">
            <a:schemeClr val="accent1"/>
          </a:fillRef>
          <a:effectRef idx="0">
            <a:schemeClr val="accent1"/>
          </a:effectRef>
          <a:fontRef idx="minor">
            <a:schemeClr val="tx1"/>
          </a:fontRef>
        </p:style>
      </p:cxnSp>
      <p:sp>
        <p:nvSpPr>
          <p:cNvPr id="9" name="Espace réservé du texte 8"/>
          <p:cNvSpPr>
            <a:spLocks noGrp="1"/>
          </p:cNvSpPr>
          <p:nvPr>
            <p:ph type="body" sz="quarter" idx="13"/>
          </p:nvPr>
        </p:nvSpPr>
        <p:spPr bwMode="gray">
          <a:xfrm>
            <a:off x="468314" y="1036800"/>
            <a:ext cx="4824000" cy="2242800"/>
          </a:xfrm>
        </p:spPr>
        <p:txBody>
          <a:bodyPr anchor="b"/>
          <a:lstStyle>
            <a:lvl1pPr marL="0" indent="0" algn="l">
              <a:lnSpc>
                <a:spcPct val="90000"/>
              </a:lnSpc>
              <a:buNone/>
              <a:defRPr sz="2800" b="1" cap="none" baseline="0">
                <a:solidFill>
                  <a:schemeClr val="bg1"/>
                </a:solidFill>
              </a:defRPr>
            </a:lvl1pPr>
            <a:lvl2pPr marL="0" algn="ctr">
              <a:lnSpc>
                <a:spcPct val="100000"/>
              </a:lnSpc>
              <a:spcBef>
                <a:spcPts val="6900"/>
              </a:spcBef>
              <a:defRPr sz="2000" b="1">
                <a:solidFill>
                  <a:schemeClr val="bg1"/>
                </a:solidFill>
              </a:defRPr>
            </a:lvl2pPr>
          </a:lstStyle>
          <a:p>
            <a:pPr lvl="0"/>
            <a:r>
              <a:rPr lang="en-US" noProof="0"/>
              <a:t>Click to edit Master text styles</a:t>
            </a:r>
          </a:p>
        </p:txBody>
      </p:sp>
      <p:sp>
        <p:nvSpPr>
          <p:cNvPr id="15" name="Espace réservé du texte 14"/>
          <p:cNvSpPr>
            <a:spLocks noGrp="1"/>
          </p:cNvSpPr>
          <p:nvPr>
            <p:ph type="body" sz="quarter" idx="19"/>
          </p:nvPr>
        </p:nvSpPr>
        <p:spPr bwMode="gray">
          <a:xfrm>
            <a:off x="3635376" y="6021388"/>
            <a:ext cx="5113338" cy="324000"/>
          </a:xfrm>
        </p:spPr>
        <p:txBody>
          <a:bodyPr anchor="b"/>
          <a:lstStyle>
            <a:lvl1pPr algn="r">
              <a:lnSpc>
                <a:spcPct val="100000"/>
              </a:lnSpc>
              <a:defRPr sz="1000" b="1">
                <a:solidFill>
                  <a:schemeClr val="accent3"/>
                </a:solidFill>
              </a:defRPr>
            </a:lvl1pPr>
          </a:lstStyle>
          <a:p>
            <a:pPr lvl="0"/>
            <a:r>
              <a:rPr lang="en-US" noProof="0"/>
              <a:t>Click to edit Master text styles</a:t>
            </a:r>
          </a:p>
        </p:txBody>
      </p:sp>
      <p:sp>
        <p:nvSpPr>
          <p:cNvPr id="13" name="Espace réservé pour une image  17"/>
          <p:cNvSpPr>
            <a:spLocks noGrp="1"/>
          </p:cNvSpPr>
          <p:nvPr>
            <p:ph type="pic" sz="quarter" idx="18"/>
          </p:nvPr>
        </p:nvSpPr>
        <p:spPr bwMode="gray">
          <a:xfrm>
            <a:off x="4192588" y="0"/>
            <a:ext cx="4951412" cy="5162400"/>
          </a:xfrm>
          <a:custGeom>
            <a:avLst/>
            <a:gdLst>
              <a:gd name="connsiteX0" fmla="*/ 0 w 3851275"/>
              <a:gd name="connsiteY0" fmla="*/ 0 h 5157788"/>
              <a:gd name="connsiteX1" fmla="*/ 3851275 w 3851275"/>
              <a:gd name="connsiteY1" fmla="*/ 0 h 5157788"/>
              <a:gd name="connsiteX2" fmla="*/ 3851275 w 3851275"/>
              <a:gd name="connsiteY2" fmla="*/ 5157788 h 5157788"/>
              <a:gd name="connsiteX3" fmla="*/ 0 w 3851275"/>
              <a:gd name="connsiteY3" fmla="*/ 5157788 h 5157788"/>
              <a:gd name="connsiteX4" fmla="*/ 0 w 3851275"/>
              <a:gd name="connsiteY4"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0 w 3851275"/>
              <a:gd name="connsiteY3" fmla="*/ 5157788 h 5157788"/>
              <a:gd name="connsiteX4" fmla="*/ 1692275 w 3851275"/>
              <a:gd name="connsiteY4" fmla="*/ 0 h 5157788"/>
              <a:gd name="connsiteX0" fmla="*/ 0 w 2159000"/>
              <a:gd name="connsiteY0" fmla="*/ 0 h 5157788"/>
              <a:gd name="connsiteX1" fmla="*/ 2159000 w 2159000"/>
              <a:gd name="connsiteY1" fmla="*/ 0 h 5157788"/>
              <a:gd name="connsiteX2" fmla="*/ 2159000 w 2159000"/>
              <a:gd name="connsiteY2" fmla="*/ 5157788 h 5157788"/>
              <a:gd name="connsiteX3" fmla="*/ 0 w 2159000"/>
              <a:gd name="connsiteY3" fmla="*/ 5157788 h 5157788"/>
              <a:gd name="connsiteX4" fmla="*/ 0 w 2159000"/>
              <a:gd name="connsiteY4" fmla="*/ 0 h 5157788"/>
              <a:gd name="connsiteX0" fmla="*/ 2625271 w 4784271"/>
              <a:gd name="connsiteY0" fmla="*/ 0 h 5157788"/>
              <a:gd name="connsiteX1" fmla="*/ 4784271 w 4784271"/>
              <a:gd name="connsiteY1" fmla="*/ 0 h 5157788"/>
              <a:gd name="connsiteX2" fmla="*/ 4784271 w 4784271"/>
              <a:gd name="connsiteY2" fmla="*/ 5157788 h 5157788"/>
              <a:gd name="connsiteX3" fmla="*/ 2625271 w 4784271"/>
              <a:gd name="connsiteY3" fmla="*/ 5157788 h 5157788"/>
              <a:gd name="connsiteX4" fmla="*/ 2625271 w 4784271"/>
              <a:gd name="connsiteY4" fmla="*/ 0 h 5157788"/>
              <a:gd name="connsiteX0" fmla="*/ 2625271 w 4784271"/>
              <a:gd name="connsiteY0" fmla="*/ 0 h 5157788"/>
              <a:gd name="connsiteX1" fmla="*/ 4784271 w 4784271"/>
              <a:gd name="connsiteY1" fmla="*/ 0 h 5157788"/>
              <a:gd name="connsiteX2" fmla="*/ 4784271 w 4784271"/>
              <a:gd name="connsiteY2" fmla="*/ 5157788 h 5157788"/>
              <a:gd name="connsiteX3" fmla="*/ 2625271 w 4784271"/>
              <a:gd name="connsiteY3" fmla="*/ 5157788 h 5157788"/>
              <a:gd name="connsiteX4" fmla="*/ 2625271 w 4784271"/>
              <a:gd name="connsiteY4" fmla="*/ 0 h 5157788"/>
              <a:gd name="connsiteX0" fmla="*/ 3568576 w 5727576"/>
              <a:gd name="connsiteY0" fmla="*/ 0 h 5157788"/>
              <a:gd name="connsiteX1" fmla="*/ 5727576 w 5727576"/>
              <a:gd name="connsiteY1" fmla="*/ 0 h 5157788"/>
              <a:gd name="connsiteX2" fmla="*/ 5727576 w 5727576"/>
              <a:gd name="connsiteY2" fmla="*/ 5157788 h 5157788"/>
              <a:gd name="connsiteX3" fmla="*/ 3568576 w 5727576"/>
              <a:gd name="connsiteY3" fmla="*/ 5157788 h 5157788"/>
              <a:gd name="connsiteX4" fmla="*/ 3568576 w 5727576"/>
              <a:gd name="connsiteY4" fmla="*/ 0 h 5157788"/>
              <a:gd name="connsiteX0" fmla="*/ 3306355 w 5465355"/>
              <a:gd name="connsiteY0" fmla="*/ 0 h 5157788"/>
              <a:gd name="connsiteX1" fmla="*/ 5465355 w 5465355"/>
              <a:gd name="connsiteY1" fmla="*/ 0 h 5157788"/>
              <a:gd name="connsiteX2" fmla="*/ 5465355 w 5465355"/>
              <a:gd name="connsiteY2" fmla="*/ 5157788 h 5157788"/>
              <a:gd name="connsiteX3" fmla="*/ 3306355 w 5465355"/>
              <a:gd name="connsiteY3" fmla="*/ 5157788 h 5157788"/>
              <a:gd name="connsiteX4" fmla="*/ 3306355 w 5465355"/>
              <a:gd name="connsiteY4" fmla="*/ 0 h 5157788"/>
              <a:gd name="connsiteX0" fmla="*/ 1416957 w 3575957"/>
              <a:gd name="connsiteY0" fmla="*/ 0 h 5157788"/>
              <a:gd name="connsiteX1" fmla="*/ 3575957 w 3575957"/>
              <a:gd name="connsiteY1" fmla="*/ 0 h 5157788"/>
              <a:gd name="connsiteX2" fmla="*/ 3575957 w 3575957"/>
              <a:gd name="connsiteY2" fmla="*/ 5157788 h 5157788"/>
              <a:gd name="connsiteX3" fmla="*/ 1416957 w 3575957"/>
              <a:gd name="connsiteY3" fmla="*/ 5157788 h 5157788"/>
              <a:gd name="connsiteX4" fmla="*/ 0 w 3575957"/>
              <a:gd name="connsiteY4" fmla="*/ 3339193 h 5157788"/>
              <a:gd name="connsiteX5" fmla="*/ 1416957 w 3575957"/>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6017419"/>
              <a:gd name="connsiteX1" fmla="*/ 3851275 w 3851275"/>
              <a:gd name="connsiteY1" fmla="*/ 0 h 6017419"/>
              <a:gd name="connsiteX2" fmla="*/ 3851275 w 3851275"/>
              <a:gd name="connsiteY2" fmla="*/ 5157788 h 6017419"/>
              <a:gd name="connsiteX3" fmla="*/ 1692275 w 3851275"/>
              <a:gd name="connsiteY3" fmla="*/ 5157788 h 6017419"/>
              <a:gd name="connsiteX4" fmla="*/ 0 w 3851275"/>
              <a:gd name="connsiteY4" fmla="*/ 3284984 h 6017419"/>
              <a:gd name="connsiteX5" fmla="*/ 1692275 w 3851275"/>
              <a:gd name="connsiteY5" fmla="*/ 0 h 6017419"/>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429000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429000 h 5157788"/>
              <a:gd name="connsiteX5" fmla="*/ 1710871 w 3869871"/>
              <a:gd name="connsiteY5" fmla="*/ 0 h 5157788"/>
              <a:gd name="connsiteX0" fmla="*/ 1704975 w 3863975"/>
              <a:gd name="connsiteY0" fmla="*/ 0 h 5157788"/>
              <a:gd name="connsiteX1" fmla="*/ 3863975 w 3863975"/>
              <a:gd name="connsiteY1" fmla="*/ 0 h 5157788"/>
              <a:gd name="connsiteX2" fmla="*/ 3863975 w 3863975"/>
              <a:gd name="connsiteY2" fmla="*/ 5157788 h 5157788"/>
              <a:gd name="connsiteX3" fmla="*/ 1704975 w 3863975"/>
              <a:gd name="connsiteY3" fmla="*/ 5157788 h 5157788"/>
              <a:gd name="connsiteX4" fmla="*/ 12700 w 3863975"/>
              <a:gd name="connsiteY4" fmla="*/ 3429000 h 5157788"/>
              <a:gd name="connsiteX5" fmla="*/ 1704975 w 3863975"/>
              <a:gd name="connsiteY5" fmla="*/ 0 h 5157788"/>
              <a:gd name="connsiteX0" fmla="*/ 1707243 w 3866243"/>
              <a:gd name="connsiteY0" fmla="*/ 0 h 5157788"/>
              <a:gd name="connsiteX1" fmla="*/ 3866243 w 3866243"/>
              <a:gd name="connsiteY1" fmla="*/ 0 h 5157788"/>
              <a:gd name="connsiteX2" fmla="*/ 3866243 w 3866243"/>
              <a:gd name="connsiteY2" fmla="*/ 5157788 h 5157788"/>
              <a:gd name="connsiteX3" fmla="*/ 1707243 w 3866243"/>
              <a:gd name="connsiteY3" fmla="*/ 5157788 h 5157788"/>
              <a:gd name="connsiteX4" fmla="*/ 14968 w 3866243"/>
              <a:gd name="connsiteY4" fmla="*/ 3429000 h 5157788"/>
              <a:gd name="connsiteX5" fmla="*/ 1707243 w 3866243"/>
              <a:gd name="connsiteY5" fmla="*/ 0 h 5157788"/>
              <a:gd name="connsiteX0" fmla="*/ 1130447 w 3866243"/>
              <a:gd name="connsiteY0" fmla="*/ 0 h 5157788"/>
              <a:gd name="connsiteX1" fmla="*/ 3866243 w 3866243"/>
              <a:gd name="connsiteY1" fmla="*/ 0 h 5157788"/>
              <a:gd name="connsiteX2" fmla="*/ 3866243 w 3866243"/>
              <a:gd name="connsiteY2" fmla="*/ 5157788 h 5157788"/>
              <a:gd name="connsiteX3" fmla="*/ 1707243 w 3866243"/>
              <a:gd name="connsiteY3" fmla="*/ 5157788 h 5157788"/>
              <a:gd name="connsiteX4" fmla="*/ 14968 w 3866243"/>
              <a:gd name="connsiteY4" fmla="*/ 3429000 h 5157788"/>
              <a:gd name="connsiteX5" fmla="*/ 1130447 w 3866243"/>
              <a:gd name="connsiteY5" fmla="*/ 0 h 5157788"/>
              <a:gd name="connsiteX0" fmla="*/ 2746143 w 5481939"/>
              <a:gd name="connsiteY0" fmla="*/ 0 h 5157788"/>
              <a:gd name="connsiteX1" fmla="*/ 5481939 w 5481939"/>
              <a:gd name="connsiteY1" fmla="*/ 0 h 5157788"/>
              <a:gd name="connsiteX2" fmla="*/ 5481939 w 5481939"/>
              <a:gd name="connsiteY2" fmla="*/ 5157788 h 5157788"/>
              <a:gd name="connsiteX3" fmla="*/ 585903 w 5481939"/>
              <a:gd name="connsiteY3" fmla="*/ 5153180 h 5157788"/>
              <a:gd name="connsiteX4" fmla="*/ 1630664 w 5481939"/>
              <a:gd name="connsiteY4" fmla="*/ 3429000 h 5157788"/>
              <a:gd name="connsiteX5" fmla="*/ 2746143 w 5481939"/>
              <a:gd name="connsiteY5" fmla="*/ 0 h 5157788"/>
              <a:gd name="connsiteX0" fmla="*/ 2746143 w 5481939"/>
              <a:gd name="connsiteY0" fmla="*/ 0 h 5157788"/>
              <a:gd name="connsiteX1" fmla="*/ 5481939 w 5481939"/>
              <a:gd name="connsiteY1" fmla="*/ 0 h 5157788"/>
              <a:gd name="connsiteX2" fmla="*/ 5481939 w 5481939"/>
              <a:gd name="connsiteY2" fmla="*/ 5157788 h 5157788"/>
              <a:gd name="connsiteX3" fmla="*/ 585903 w 5481939"/>
              <a:gd name="connsiteY3" fmla="*/ 5153180 h 5157788"/>
              <a:gd name="connsiteX4" fmla="*/ 1630664 w 5481939"/>
              <a:gd name="connsiteY4" fmla="*/ 3429000 h 5157788"/>
              <a:gd name="connsiteX5" fmla="*/ 2746143 w 548193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3574235 w 6310031"/>
              <a:gd name="connsiteY0" fmla="*/ 0 h 5157788"/>
              <a:gd name="connsiteX1" fmla="*/ 6310031 w 6310031"/>
              <a:gd name="connsiteY1" fmla="*/ 0 h 5157788"/>
              <a:gd name="connsiteX2" fmla="*/ 6310031 w 6310031"/>
              <a:gd name="connsiteY2" fmla="*/ 5157788 h 5157788"/>
              <a:gd name="connsiteX3" fmla="*/ 585903 w 6310031"/>
              <a:gd name="connsiteY3" fmla="*/ 5153180 h 5157788"/>
              <a:gd name="connsiteX4" fmla="*/ 1738031 w 6310031"/>
              <a:gd name="connsiteY4" fmla="*/ 3389965 h 5157788"/>
              <a:gd name="connsiteX5" fmla="*/ 3574235 w 6310031"/>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296143 w 5724128"/>
              <a:gd name="connsiteY4" fmla="*/ 3461908 h 5157788"/>
              <a:gd name="connsiteX5" fmla="*/ 2988332 w 5724128"/>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1188132 w 5760132"/>
              <a:gd name="connsiteY4" fmla="*/ 3425937 h 5157788"/>
              <a:gd name="connsiteX5" fmla="*/ 3024336 w 5760132"/>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2736304 w 5760132"/>
              <a:gd name="connsiteY4" fmla="*/ 3461908 h 5157788"/>
              <a:gd name="connsiteX5" fmla="*/ 3024336 w 5760132"/>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2736304 w 5760132"/>
              <a:gd name="connsiteY4" fmla="*/ 3461908 h 5157788"/>
              <a:gd name="connsiteX5" fmla="*/ 3024336 w 5760132"/>
              <a:gd name="connsiteY5" fmla="*/ 0 h 5157788"/>
              <a:gd name="connsiteX0" fmla="*/ 2160240 w 4896036"/>
              <a:gd name="connsiteY0" fmla="*/ 0 h 5157788"/>
              <a:gd name="connsiteX1" fmla="*/ 4896036 w 4896036"/>
              <a:gd name="connsiteY1" fmla="*/ 0 h 5157788"/>
              <a:gd name="connsiteX2" fmla="*/ 4896036 w 4896036"/>
              <a:gd name="connsiteY2" fmla="*/ 5157788 h 5157788"/>
              <a:gd name="connsiteX3" fmla="*/ 0 w 4896036"/>
              <a:gd name="connsiteY3" fmla="*/ 5153180 h 5157788"/>
              <a:gd name="connsiteX4" fmla="*/ 1872208 w 4896036"/>
              <a:gd name="connsiteY4" fmla="*/ 3461908 h 5157788"/>
              <a:gd name="connsiteX5" fmla="*/ 2160240 w 4896036"/>
              <a:gd name="connsiteY5" fmla="*/ 0 h 5157788"/>
              <a:gd name="connsiteX0" fmla="*/ 2232248 w 4968044"/>
              <a:gd name="connsiteY0" fmla="*/ 0 h 5157788"/>
              <a:gd name="connsiteX1" fmla="*/ 4968044 w 4968044"/>
              <a:gd name="connsiteY1" fmla="*/ 0 h 5157788"/>
              <a:gd name="connsiteX2" fmla="*/ 4968044 w 4968044"/>
              <a:gd name="connsiteY2" fmla="*/ 5157788 h 5157788"/>
              <a:gd name="connsiteX3" fmla="*/ 0 w 4968044"/>
              <a:gd name="connsiteY3" fmla="*/ 5153180 h 5157788"/>
              <a:gd name="connsiteX4" fmla="*/ 1944216 w 4968044"/>
              <a:gd name="connsiteY4" fmla="*/ 3461908 h 5157788"/>
              <a:gd name="connsiteX5" fmla="*/ 2232248 w 4968044"/>
              <a:gd name="connsiteY5" fmla="*/ 0 h 5157788"/>
              <a:gd name="connsiteX0" fmla="*/ 2207679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207679 w 4943475"/>
              <a:gd name="connsiteY5" fmla="*/ 0 h 5157788"/>
              <a:gd name="connsiteX0" fmla="*/ 2963763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963763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092200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71575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343583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675731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675731 w 4943475"/>
              <a:gd name="connsiteY5" fmla="*/ 0 h 5157788"/>
              <a:gd name="connsiteX0" fmla="*/ 2675731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675731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9672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19672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51412" h="5157788">
                <a:moveTo>
                  <a:pt x="2706687" y="0"/>
                </a:moveTo>
                <a:lnTo>
                  <a:pt x="4951412" y="0"/>
                </a:lnTo>
                <a:lnTo>
                  <a:pt x="4951412" y="5157788"/>
                </a:lnTo>
                <a:lnTo>
                  <a:pt x="0" y="5153180"/>
                </a:lnTo>
                <a:cubicBezTo>
                  <a:pt x="84411" y="4542509"/>
                  <a:pt x="183041" y="4024723"/>
                  <a:pt x="1243508" y="2562613"/>
                </a:cubicBezTo>
                <a:cubicBezTo>
                  <a:pt x="1867447" y="1704780"/>
                  <a:pt x="2665955" y="709265"/>
                  <a:pt x="2706687" y="0"/>
                </a:cubicBezTo>
                <a:close/>
              </a:path>
            </a:pathLst>
          </a:custGeom>
          <a:solidFill>
            <a:schemeClr val="bg2"/>
          </a:solidFill>
          <a:ln w="3175">
            <a:noFill/>
          </a:ln>
        </p:spPr>
        <p:txBody>
          <a:bodyPr tIns="720000" rtlCol="0" anchor="ctr">
            <a:noAutofit/>
          </a:bodyPr>
          <a:lstStyle>
            <a:lvl1pPr algn="ctr">
              <a:defRPr sz="1500">
                <a:solidFill>
                  <a:schemeClr val="bg1"/>
                </a:solidFill>
              </a:defRPr>
            </a:lvl1pPr>
          </a:lstStyle>
          <a:p>
            <a:pPr lvl="0"/>
            <a:r>
              <a:rPr lang="en-US" noProof="0"/>
              <a:t>Click icon to add picture</a:t>
            </a:r>
          </a:p>
        </p:txBody>
      </p:sp>
      <p:sp>
        <p:nvSpPr>
          <p:cNvPr id="11" name="Espace réservé de la date 9"/>
          <p:cNvSpPr>
            <a:spLocks noGrp="1"/>
          </p:cNvSpPr>
          <p:nvPr>
            <p:ph type="dt" sz="half" idx="20"/>
          </p:nvPr>
        </p:nvSpPr>
        <p:spPr/>
        <p:txBody>
          <a:bodyPr/>
          <a:lstStyle>
            <a:lvl1pPr>
              <a:defRPr/>
            </a:lvl1pPr>
          </a:lstStyle>
          <a:p>
            <a:pPr>
              <a:defRPr/>
            </a:pPr>
            <a:r>
              <a:rPr lang="en-US">
                <a:solidFill>
                  <a:prstClr val="white">
                    <a:alpha val="0"/>
                  </a:prstClr>
                </a:solidFill>
              </a:rPr>
              <a:t>Date</a:t>
            </a:r>
          </a:p>
        </p:txBody>
      </p:sp>
      <p:sp>
        <p:nvSpPr>
          <p:cNvPr id="12" name="Espace réservé du numéro de diapositive 10"/>
          <p:cNvSpPr>
            <a:spLocks noGrp="1"/>
          </p:cNvSpPr>
          <p:nvPr>
            <p:ph type="sldNum" sz="quarter" idx="21"/>
          </p:nvPr>
        </p:nvSpPr>
        <p:spPr/>
        <p:txBody>
          <a:bodyPr/>
          <a:lstStyle>
            <a:lvl1pPr>
              <a:defRPr sz="100">
                <a:solidFill>
                  <a:schemeClr val="bg1">
                    <a:alpha val="0"/>
                  </a:schemeClr>
                </a:solidFill>
              </a:defRPr>
            </a:lvl1pPr>
          </a:lstStyle>
          <a:p>
            <a:pPr>
              <a:defRPr/>
            </a:pPr>
            <a:r>
              <a:rPr lang="en-US">
                <a:solidFill>
                  <a:prstClr val="white">
                    <a:alpha val="0"/>
                  </a:prstClr>
                </a:solidFill>
              </a:rPr>
              <a:t>Page: </a:t>
            </a:r>
            <a:fld id="{168EB3F5-198F-4211-80D0-E690EB6CEA77}" type="slidenum">
              <a:rPr lang="en-US">
                <a:solidFill>
                  <a:prstClr val="white">
                    <a:alpha val="0"/>
                  </a:prstClr>
                </a:solidFill>
              </a:rPr>
              <a:pPr>
                <a:defRPr/>
              </a:pPr>
              <a:t>‹#›</a:t>
            </a:fld>
            <a:endParaRPr lang="en-US">
              <a:solidFill>
                <a:prstClr val="white">
                  <a:alpha val="0"/>
                </a:prstClr>
              </a:solidFill>
            </a:endParaRPr>
          </a:p>
        </p:txBody>
      </p:sp>
      <p:sp>
        <p:nvSpPr>
          <p:cNvPr id="14" name="Espace réservé du pied de page 11"/>
          <p:cNvSpPr>
            <a:spLocks noGrp="1"/>
          </p:cNvSpPr>
          <p:nvPr>
            <p:ph type="ftr" sz="quarter" idx="22"/>
          </p:nvPr>
        </p:nvSpPr>
        <p:spPr>
          <a:xfrm>
            <a:off x="468313" y="523875"/>
            <a:ext cx="4824412" cy="360363"/>
          </a:xfrm>
        </p:spPr>
        <p:txBody>
          <a:bodyPr/>
          <a:lstStyle>
            <a:lvl1pPr algn="l">
              <a:defRPr sz="1800" b="0">
                <a:solidFill>
                  <a:schemeClr val="bg1"/>
                </a:solidFill>
              </a:defRPr>
            </a:lvl1pPr>
          </a:lstStyle>
          <a:p>
            <a:pPr>
              <a:defRPr/>
            </a:pPr>
            <a:r>
              <a:rPr lang="en-US">
                <a:solidFill>
                  <a:prstClr val="white"/>
                </a:solidFill>
              </a:rPr>
              <a:t>#</a:t>
            </a:r>
            <a:r>
              <a:rPr lang="en-US" err="1">
                <a:solidFill>
                  <a:prstClr val="white"/>
                </a:solidFill>
              </a:rPr>
              <a:t>vaccineswork</a:t>
            </a:r>
            <a:endParaRPr lang="en-US">
              <a:solidFill>
                <a:prstClr val="white"/>
              </a:solidFill>
            </a:endParaRPr>
          </a:p>
        </p:txBody>
      </p:sp>
    </p:spTree>
    <p:extLst>
      <p:ext uri="{BB962C8B-B14F-4D97-AF65-F5344CB8AC3E}">
        <p14:creationId xmlns:p14="http://schemas.microsoft.com/office/powerpoint/2010/main" val="3556860564"/>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userDrawn="1">
  <p:cSld name="Text and Visual">
    <p:spTree>
      <p:nvGrpSpPr>
        <p:cNvPr id="1" name=""/>
        <p:cNvGrpSpPr/>
        <p:nvPr/>
      </p:nvGrpSpPr>
      <p:grpSpPr>
        <a:xfrm>
          <a:off x="0" y="0"/>
          <a:ext cx="0" cy="0"/>
          <a:chOff x="0" y="0"/>
          <a:chExt cx="0" cy="0"/>
        </a:xfrm>
      </p:grpSpPr>
      <p:sp>
        <p:nvSpPr>
          <p:cNvPr id="2" name="Title 1"/>
          <p:cNvSpPr>
            <a:spLocks noGrp="1"/>
          </p:cNvSpPr>
          <p:nvPr>
            <p:ph type="title"/>
          </p:nvPr>
        </p:nvSpPr>
        <p:spPr>
          <a:xfrm>
            <a:off x="973138" y="225211"/>
            <a:ext cx="7207249" cy="697999"/>
          </a:xfrm>
        </p:spPr>
        <p:txBody>
          <a:bodyPr/>
          <a:lstStyle/>
          <a:p>
            <a:r>
              <a:rPr lang="en-US"/>
              <a:t>Click to edit Master title style</a:t>
            </a:r>
          </a:p>
        </p:txBody>
      </p:sp>
      <p:sp>
        <p:nvSpPr>
          <p:cNvPr id="4" name="Content Placeholder 3"/>
          <p:cNvSpPr>
            <a:spLocks noGrp="1"/>
          </p:cNvSpPr>
          <p:nvPr>
            <p:ph sz="half" idx="2"/>
          </p:nvPr>
        </p:nvSpPr>
        <p:spPr>
          <a:xfrm>
            <a:off x="3425825" y="2302159"/>
            <a:ext cx="4754564" cy="2541673"/>
          </a:xfrm>
        </p:spPr>
        <p:txBody>
          <a:bodyPr/>
          <a:lstStyle>
            <a:lvl1pPr>
              <a:defRPr sz="1600"/>
            </a:lvl1pPr>
            <a:lvl2pPr marL="457200" indent="0">
              <a:buNone/>
              <a:defRPr sz="1600"/>
            </a:lvl2pPr>
            <a:lvl3pPr marL="914400" indent="0">
              <a:buNone/>
              <a:defRPr sz="1600"/>
            </a:lvl3pPr>
            <a:lvl4pPr marL="1371600" indent="0">
              <a:buNone/>
              <a:defRPr sz="1600"/>
            </a:lvl4pPr>
            <a:lvl5pPr marL="1828800" indent="0">
              <a:buNone/>
              <a:defRPr sz="16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p:cNvSpPr>
            <a:spLocks noGrp="1"/>
          </p:cNvSpPr>
          <p:nvPr>
            <p:ph type="pic" sz="quarter" idx="13"/>
          </p:nvPr>
        </p:nvSpPr>
        <p:spPr>
          <a:xfrm>
            <a:off x="973138" y="1247776"/>
            <a:ext cx="2300287" cy="3450384"/>
          </a:xfrm>
        </p:spPr>
        <p:txBody>
          <a:bodyPr rtlCol="0">
            <a:noAutofit/>
          </a:bodyPr>
          <a:lstStyle/>
          <a:p>
            <a:pPr lvl="0"/>
            <a:endParaRPr lang="en-US" noProof="0"/>
          </a:p>
        </p:txBody>
      </p:sp>
      <p:sp>
        <p:nvSpPr>
          <p:cNvPr id="10" name="Content Placeholder 3"/>
          <p:cNvSpPr>
            <a:spLocks noGrp="1"/>
          </p:cNvSpPr>
          <p:nvPr>
            <p:ph sz="half" idx="14"/>
          </p:nvPr>
        </p:nvSpPr>
        <p:spPr>
          <a:xfrm>
            <a:off x="3425825" y="1241426"/>
            <a:ext cx="4754564" cy="879316"/>
          </a:xfrm>
        </p:spPr>
        <p:txBody>
          <a:bodyPr/>
          <a:lstStyle>
            <a:lvl1pPr marL="0" indent="0">
              <a:buNone/>
              <a:defRPr sz="1600">
                <a:solidFill>
                  <a:srgbClr val="005CB9"/>
                </a:solidFill>
              </a:defRPr>
            </a:lvl1pPr>
            <a:lvl2pPr marL="457200" indent="0">
              <a:buNone/>
              <a:defRPr sz="1400">
                <a:solidFill>
                  <a:srgbClr val="005CB9"/>
                </a:solidFill>
              </a:defRPr>
            </a:lvl2pPr>
            <a:lvl3pPr marL="914400" indent="0">
              <a:buNone/>
              <a:defRPr sz="1400">
                <a:solidFill>
                  <a:srgbClr val="005CB9"/>
                </a:solidFill>
              </a:defRPr>
            </a:lvl3pPr>
            <a:lvl4pPr marL="1371600" indent="0">
              <a:buNone/>
              <a:defRPr sz="1400">
                <a:solidFill>
                  <a:srgbClr val="005CB9"/>
                </a:solidFill>
              </a:defRPr>
            </a:lvl4pPr>
            <a:lvl5pPr marL="1828800" indent="0">
              <a:buNone/>
              <a:defRPr sz="1400">
                <a:solidFill>
                  <a:srgbClr val="005CB9"/>
                </a:solidFill>
              </a:defRPr>
            </a:lvl5pPr>
            <a:lvl6pPr>
              <a:defRPr sz="1800"/>
            </a:lvl6pPr>
            <a:lvl7pPr>
              <a:defRPr sz="1800"/>
            </a:lvl7pPr>
            <a:lvl8pPr>
              <a:defRPr sz="1800"/>
            </a:lvl8pPr>
            <a:lvl9pPr>
              <a:defRPr sz="1800"/>
            </a:lvl9pPr>
          </a:lstStyle>
          <a:p>
            <a:pPr lvl="0"/>
            <a:r>
              <a:rPr lang="en-US"/>
              <a:t>Click to edit Master text styles</a:t>
            </a:r>
          </a:p>
        </p:txBody>
      </p:sp>
      <p:sp>
        <p:nvSpPr>
          <p:cNvPr id="6" name="Footer Placeholder 5"/>
          <p:cNvSpPr>
            <a:spLocks noGrp="1"/>
          </p:cNvSpPr>
          <p:nvPr>
            <p:ph type="ftr" sz="quarter" idx="15"/>
          </p:nvPr>
        </p:nvSpPr>
        <p:spPr/>
        <p:txBody>
          <a:bodyPr/>
          <a:lstStyle>
            <a:lvl1pPr>
              <a:defRPr/>
            </a:lvl1pPr>
          </a:lstStyle>
          <a:p>
            <a:pPr>
              <a:defRPr/>
            </a:pPr>
            <a:r>
              <a:rPr lang="en-US">
                <a:solidFill>
                  <a:srgbClr val="005CB9"/>
                </a:solidFill>
              </a:rPr>
              <a:t>Basic facts about </a:t>
            </a:r>
            <a:r>
              <a:rPr lang="en-US" err="1">
                <a:solidFill>
                  <a:srgbClr val="005CB9"/>
                </a:solidFill>
              </a:rPr>
              <a:t>Gavi</a:t>
            </a:r>
            <a:r>
              <a:rPr lang="en-US">
                <a:solidFill>
                  <a:srgbClr val="005CB9"/>
                </a:solidFill>
              </a:rPr>
              <a:t> the Vaccine Alliance</a:t>
            </a:r>
          </a:p>
        </p:txBody>
      </p:sp>
      <p:sp>
        <p:nvSpPr>
          <p:cNvPr id="7" name="Slide Number Placeholder 6"/>
          <p:cNvSpPr>
            <a:spLocks noGrp="1"/>
          </p:cNvSpPr>
          <p:nvPr>
            <p:ph type="sldNum" sz="quarter" idx="16"/>
          </p:nvPr>
        </p:nvSpPr>
        <p:spPr/>
        <p:txBody>
          <a:bodyPr/>
          <a:lstStyle>
            <a:lvl1pPr algn="ctr">
              <a:defRPr/>
            </a:lvl1pPr>
          </a:lstStyle>
          <a:p>
            <a:pPr>
              <a:defRPr/>
            </a:pPr>
            <a:fld id="{FFE8DD00-E6C1-42A5-A44D-4115350A5429}" type="slidenum">
              <a:rPr lang="en-US">
                <a:solidFill>
                  <a:srgbClr val="343434"/>
                </a:solidFill>
              </a:rPr>
              <a:pPr>
                <a:defRPr/>
              </a:pPr>
              <a:t>‹#›</a:t>
            </a:fld>
            <a:endParaRPr lang="en-US">
              <a:solidFill>
                <a:srgbClr val="343434"/>
              </a:solidFill>
            </a:endParaRPr>
          </a:p>
        </p:txBody>
      </p:sp>
    </p:spTree>
    <p:extLst>
      <p:ext uri="{BB962C8B-B14F-4D97-AF65-F5344CB8AC3E}">
        <p14:creationId xmlns:p14="http://schemas.microsoft.com/office/powerpoint/2010/main" val="1054927157"/>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userDrawn="1">
  <p:cSld name="Text&amp;4_Blocks_Layout">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p:txBody>
          <a:bodyPr/>
          <a:lstStyle/>
          <a:p>
            <a:r>
              <a:rPr lang="en-GB" noProof="0"/>
              <a:t>TITLE</a:t>
            </a:r>
          </a:p>
        </p:txBody>
      </p:sp>
      <p:sp>
        <p:nvSpPr>
          <p:cNvPr id="10" name="Espace réservé du texte 9"/>
          <p:cNvSpPr>
            <a:spLocks noGrp="1"/>
          </p:cNvSpPr>
          <p:nvPr>
            <p:ph type="body" sz="quarter" idx="13" hasCustomPrompt="1"/>
          </p:nvPr>
        </p:nvSpPr>
        <p:spPr bwMode="gray">
          <a:xfrm>
            <a:off x="935038" y="1304924"/>
            <a:ext cx="7345362" cy="936626"/>
          </a:xfrm>
        </p:spPr>
        <p:txBody>
          <a:body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8" name="Espace réservé de la date 7"/>
          <p:cNvSpPr>
            <a:spLocks noGrp="1"/>
          </p:cNvSpPr>
          <p:nvPr>
            <p:ph type="dt" sz="half" idx="14"/>
          </p:nvPr>
        </p:nvSpPr>
        <p:spPr bwMode="gray"/>
        <p:txBody>
          <a:bodyPr/>
          <a:lstStyle/>
          <a:p>
            <a:r>
              <a:rPr lang="en-US">
                <a:solidFill>
                  <a:prstClr val="white">
                    <a:alpha val="0"/>
                  </a:prstClr>
                </a:solidFill>
              </a:rPr>
              <a:t>Date</a:t>
            </a:r>
            <a:endParaRPr lang="en-GB">
              <a:solidFill>
                <a:prstClr val="white">
                  <a:alpha val="0"/>
                </a:prstClr>
              </a:solidFill>
            </a:endParaRPr>
          </a:p>
        </p:txBody>
      </p:sp>
      <p:sp>
        <p:nvSpPr>
          <p:cNvPr id="9" name="Espace réservé du numéro de diapositive 8"/>
          <p:cNvSpPr>
            <a:spLocks noGrp="1"/>
          </p:cNvSpPr>
          <p:nvPr>
            <p:ph type="sldNum" sz="quarter" idx="15"/>
          </p:nvPr>
        </p:nvSpPr>
        <p:spPr bwMode="gray"/>
        <p:txBody>
          <a:bodyPr/>
          <a:lstStyle/>
          <a:p>
            <a:fld id="{733122C9-A0B9-462F-8757-0847AD287B63}" type="slidenum">
              <a:rPr lang="en-GB" smtClean="0">
                <a:solidFill>
                  <a:srgbClr val="343434"/>
                </a:solidFill>
              </a:rPr>
              <a:pPr/>
              <a:t>‹#›</a:t>
            </a:fld>
            <a:endParaRPr lang="en-GB">
              <a:solidFill>
                <a:srgbClr val="343434"/>
              </a:solidFill>
            </a:endParaRPr>
          </a:p>
        </p:txBody>
      </p:sp>
      <p:sp>
        <p:nvSpPr>
          <p:cNvPr id="11" name="Espace réservé du pied de page 10"/>
          <p:cNvSpPr>
            <a:spLocks noGrp="1"/>
          </p:cNvSpPr>
          <p:nvPr>
            <p:ph type="ftr" sz="quarter" idx="16"/>
          </p:nvPr>
        </p:nvSpPr>
        <p:spPr bwMode="gray"/>
        <p:txBody>
          <a:bodyPr/>
          <a:lstStyle/>
          <a:p>
            <a:r>
              <a:rPr lang="en-GB">
                <a:solidFill>
                  <a:srgbClr val="005CB9"/>
                </a:solidFill>
              </a:rPr>
              <a:t>#vaccineswork</a:t>
            </a:r>
          </a:p>
        </p:txBody>
      </p:sp>
      <p:sp>
        <p:nvSpPr>
          <p:cNvPr id="21" name="Espace réservé du texte 9"/>
          <p:cNvSpPr>
            <a:spLocks noGrp="1"/>
          </p:cNvSpPr>
          <p:nvPr>
            <p:ph type="body" sz="quarter" idx="19" hasCustomPrompt="1"/>
          </p:nvPr>
        </p:nvSpPr>
        <p:spPr bwMode="gray">
          <a:xfrm>
            <a:off x="935038" y="2241550"/>
            <a:ext cx="3564000" cy="324000"/>
          </a:xfrm>
          <a:solidFill>
            <a:schemeClr val="accent1"/>
          </a:solidFill>
          <a:ln w="9525">
            <a:solidFill>
              <a:schemeClr val="accent1"/>
            </a:solidFill>
          </a:ln>
        </p:spPr>
        <p:txBody>
          <a:bodyPr anchor="ctr" anchorCtr="0"/>
          <a:lstStyle>
            <a:lvl1pPr algn="ctr">
              <a:lnSpc>
                <a:spcPct val="100000"/>
              </a:lnSpc>
              <a:defRPr>
                <a:solidFill>
                  <a:schemeClr val="bg1"/>
                </a:solidFill>
              </a:defRPr>
            </a:lvl1pPr>
          </a:lstStyle>
          <a:p>
            <a:pPr lvl="0"/>
            <a:r>
              <a:rPr lang="en-GB" noProof="0"/>
              <a:t>Text level 1</a:t>
            </a:r>
          </a:p>
        </p:txBody>
      </p:sp>
      <p:sp>
        <p:nvSpPr>
          <p:cNvPr id="22" name="Espace réservé du texte 9"/>
          <p:cNvSpPr>
            <a:spLocks noGrp="1"/>
          </p:cNvSpPr>
          <p:nvPr>
            <p:ph type="body" sz="quarter" idx="20" hasCustomPrompt="1"/>
          </p:nvPr>
        </p:nvSpPr>
        <p:spPr bwMode="gray">
          <a:xfrm>
            <a:off x="935038" y="2565550"/>
            <a:ext cx="3564000" cy="1350000"/>
          </a:xfrm>
          <a:ln w="9525">
            <a:solidFill>
              <a:schemeClr val="accent1"/>
            </a:solidFill>
          </a:ln>
        </p:spPr>
        <p:txBody>
          <a:bodyPr tIns="72000"/>
          <a:lstStyle>
            <a:lvl1pPr marL="324000" indent="-180000">
              <a:lnSpc>
                <a:spcPct val="100000"/>
              </a:lnSpc>
              <a:spcBef>
                <a:spcPts val="300"/>
              </a:spcBef>
              <a:buClr>
                <a:schemeClr val="accent3"/>
              </a:buClr>
              <a:buFont typeface="Arial" pitchFamily="34" charset="0"/>
              <a:buChar char="•"/>
              <a:defRPr sz="1800">
                <a:solidFill>
                  <a:schemeClr val="tx1"/>
                </a:solidFill>
              </a:defRPr>
            </a:lvl1pPr>
            <a:lvl2pPr marL="504000">
              <a:buClr>
                <a:schemeClr val="tx1"/>
              </a:buClr>
              <a:defRPr sz="1600" b="0"/>
            </a:lvl2pPr>
            <a:lvl3pPr indent="0">
              <a:buNone/>
              <a:defRPr/>
            </a:lvl3pPr>
            <a:lvl4pPr marL="684000" indent="-180000">
              <a:buClr>
                <a:schemeClr val="tx1"/>
              </a:buClr>
              <a:buFont typeface="Arial" pitchFamily="34" charset="0"/>
              <a:buChar char="•"/>
              <a:defRPr sz="1400"/>
            </a:lvl4pPr>
          </a:lstStyle>
          <a:p>
            <a:pPr lvl="0"/>
            <a:r>
              <a:rPr lang="en-GB" noProof="0"/>
              <a:t>Text level 2</a:t>
            </a:r>
          </a:p>
          <a:p>
            <a:pPr lvl="1"/>
            <a:r>
              <a:rPr lang="en-GB" noProof="0"/>
              <a:t>Text level 3</a:t>
            </a:r>
          </a:p>
          <a:p>
            <a:pPr lvl="2"/>
            <a:r>
              <a:rPr lang="en-GB" noProof="0"/>
              <a:t>Text level 4</a:t>
            </a:r>
          </a:p>
          <a:p>
            <a:pPr lvl="3"/>
            <a:r>
              <a:rPr lang="en-GB" noProof="0"/>
              <a:t>Text level 5</a:t>
            </a:r>
          </a:p>
        </p:txBody>
      </p:sp>
      <p:sp>
        <p:nvSpPr>
          <p:cNvPr id="23" name="Espace réservé du texte 9"/>
          <p:cNvSpPr>
            <a:spLocks noGrp="1"/>
          </p:cNvSpPr>
          <p:nvPr>
            <p:ph type="body" sz="quarter" idx="21" hasCustomPrompt="1"/>
          </p:nvPr>
        </p:nvSpPr>
        <p:spPr bwMode="gray">
          <a:xfrm>
            <a:off x="4716400" y="2241550"/>
            <a:ext cx="3564000" cy="324000"/>
          </a:xfrm>
          <a:solidFill>
            <a:schemeClr val="accent2"/>
          </a:solidFill>
          <a:ln w="9525">
            <a:solidFill>
              <a:schemeClr val="accent2"/>
            </a:solidFill>
          </a:ln>
        </p:spPr>
        <p:txBody>
          <a:bodyPr anchor="ctr" anchorCtr="0"/>
          <a:lstStyle>
            <a:lvl1pPr algn="ctr">
              <a:lnSpc>
                <a:spcPct val="100000"/>
              </a:lnSpc>
              <a:defRPr>
                <a:solidFill>
                  <a:schemeClr val="bg1"/>
                </a:solidFill>
              </a:defRPr>
            </a:lvl1pPr>
          </a:lstStyle>
          <a:p>
            <a:pPr lvl="0"/>
            <a:r>
              <a:rPr lang="en-GB" noProof="0"/>
              <a:t>Text level 1</a:t>
            </a:r>
          </a:p>
        </p:txBody>
      </p:sp>
      <p:sp>
        <p:nvSpPr>
          <p:cNvPr id="24" name="Espace réservé du texte 9"/>
          <p:cNvSpPr>
            <a:spLocks noGrp="1"/>
          </p:cNvSpPr>
          <p:nvPr>
            <p:ph type="body" sz="quarter" idx="22" hasCustomPrompt="1"/>
          </p:nvPr>
        </p:nvSpPr>
        <p:spPr bwMode="gray">
          <a:xfrm>
            <a:off x="4716400" y="2565550"/>
            <a:ext cx="3564000" cy="1350000"/>
          </a:xfrm>
          <a:ln w="9525">
            <a:solidFill>
              <a:schemeClr val="accent2"/>
            </a:solidFill>
          </a:ln>
        </p:spPr>
        <p:txBody>
          <a:bodyPr tIns="72000"/>
          <a:lstStyle>
            <a:lvl1pPr marL="324000" indent="-180000">
              <a:lnSpc>
                <a:spcPct val="100000"/>
              </a:lnSpc>
              <a:spcBef>
                <a:spcPts val="300"/>
              </a:spcBef>
              <a:buClr>
                <a:schemeClr val="accent3"/>
              </a:buClr>
              <a:buFont typeface="Arial" pitchFamily="34" charset="0"/>
              <a:buChar char="•"/>
              <a:defRPr sz="1800">
                <a:solidFill>
                  <a:schemeClr val="tx1"/>
                </a:solidFill>
              </a:defRPr>
            </a:lvl1pPr>
            <a:lvl2pPr marL="504000">
              <a:buClr>
                <a:schemeClr val="tx1"/>
              </a:buClr>
              <a:defRPr sz="1600" b="0"/>
            </a:lvl2pPr>
            <a:lvl3pPr indent="0">
              <a:buNone/>
              <a:defRPr/>
            </a:lvl3pPr>
            <a:lvl4pPr marL="684000" indent="-180000">
              <a:buClr>
                <a:schemeClr val="tx1"/>
              </a:buClr>
              <a:buFont typeface="Arial" pitchFamily="34" charset="0"/>
              <a:buChar char="•"/>
              <a:defRPr sz="1400"/>
            </a:lvl4pPr>
          </a:lstStyle>
          <a:p>
            <a:pPr lvl="0"/>
            <a:r>
              <a:rPr lang="en-GB" noProof="0"/>
              <a:t>Text level 2</a:t>
            </a:r>
          </a:p>
          <a:p>
            <a:pPr lvl="1"/>
            <a:r>
              <a:rPr lang="en-GB" noProof="0"/>
              <a:t>Text level 3</a:t>
            </a:r>
          </a:p>
          <a:p>
            <a:pPr lvl="2"/>
            <a:r>
              <a:rPr lang="en-GB" noProof="0"/>
              <a:t>Text level 4</a:t>
            </a:r>
          </a:p>
          <a:p>
            <a:pPr lvl="3"/>
            <a:r>
              <a:rPr lang="en-GB" noProof="0"/>
              <a:t>Text level 5</a:t>
            </a:r>
          </a:p>
        </p:txBody>
      </p:sp>
      <p:sp>
        <p:nvSpPr>
          <p:cNvPr id="25" name="Espace réservé du texte 9"/>
          <p:cNvSpPr>
            <a:spLocks noGrp="1"/>
          </p:cNvSpPr>
          <p:nvPr>
            <p:ph type="body" sz="quarter" idx="23" hasCustomPrompt="1"/>
          </p:nvPr>
        </p:nvSpPr>
        <p:spPr bwMode="gray">
          <a:xfrm>
            <a:off x="935038" y="4131488"/>
            <a:ext cx="3564000" cy="324000"/>
          </a:xfrm>
          <a:solidFill>
            <a:schemeClr val="accent3"/>
          </a:solidFill>
          <a:ln w="9525">
            <a:solidFill>
              <a:schemeClr val="accent3"/>
            </a:solidFill>
          </a:ln>
        </p:spPr>
        <p:txBody>
          <a:bodyPr anchor="ctr" anchorCtr="0"/>
          <a:lstStyle>
            <a:lvl1pPr algn="ctr">
              <a:lnSpc>
                <a:spcPct val="100000"/>
              </a:lnSpc>
              <a:defRPr>
                <a:solidFill>
                  <a:schemeClr val="bg1"/>
                </a:solidFill>
              </a:defRPr>
            </a:lvl1pPr>
          </a:lstStyle>
          <a:p>
            <a:pPr lvl="0"/>
            <a:r>
              <a:rPr lang="en-GB" noProof="0"/>
              <a:t>Text level 1</a:t>
            </a:r>
          </a:p>
        </p:txBody>
      </p:sp>
      <p:sp>
        <p:nvSpPr>
          <p:cNvPr id="26" name="Espace réservé du texte 9"/>
          <p:cNvSpPr>
            <a:spLocks noGrp="1"/>
          </p:cNvSpPr>
          <p:nvPr>
            <p:ph type="body" sz="quarter" idx="24" hasCustomPrompt="1"/>
          </p:nvPr>
        </p:nvSpPr>
        <p:spPr bwMode="gray">
          <a:xfrm>
            <a:off x="935038" y="4455488"/>
            <a:ext cx="3564000" cy="1350000"/>
          </a:xfrm>
          <a:ln w="9525">
            <a:solidFill>
              <a:schemeClr val="accent3"/>
            </a:solidFill>
          </a:ln>
        </p:spPr>
        <p:txBody>
          <a:bodyPr tIns="72000"/>
          <a:lstStyle>
            <a:lvl1pPr marL="324000" indent="-180000">
              <a:lnSpc>
                <a:spcPct val="100000"/>
              </a:lnSpc>
              <a:spcBef>
                <a:spcPts val="300"/>
              </a:spcBef>
              <a:buClr>
                <a:schemeClr val="accent3"/>
              </a:buClr>
              <a:buFont typeface="Arial" pitchFamily="34" charset="0"/>
              <a:buChar char="•"/>
              <a:defRPr sz="1800">
                <a:solidFill>
                  <a:schemeClr val="tx1"/>
                </a:solidFill>
              </a:defRPr>
            </a:lvl1pPr>
            <a:lvl2pPr marL="504000">
              <a:buClr>
                <a:schemeClr val="tx1"/>
              </a:buClr>
              <a:defRPr sz="1600" b="0"/>
            </a:lvl2pPr>
            <a:lvl3pPr indent="0">
              <a:buNone/>
              <a:defRPr/>
            </a:lvl3pPr>
            <a:lvl4pPr marL="684000" indent="-180000">
              <a:buClr>
                <a:schemeClr val="tx1"/>
              </a:buClr>
              <a:buFont typeface="Arial" pitchFamily="34" charset="0"/>
              <a:buChar char="•"/>
              <a:defRPr sz="1400"/>
            </a:lvl4pPr>
          </a:lstStyle>
          <a:p>
            <a:pPr lvl="0"/>
            <a:r>
              <a:rPr lang="en-GB" noProof="0"/>
              <a:t>Text level 2</a:t>
            </a:r>
          </a:p>
          <a:p>
            <a:pPr lvl="1"/>
            <a:r>
              <a:rPr lang="en-GB" noProof="0"/>
              <a:t>Text level 3</a:t>
            </a:r>
          </a:p>
          <a:p>
            <a:pPr lvl="2"/>
            <a:r>
              <a:rPr lang="en-GB" noProof="0"/>
              <a:t>Text level 4</a:t>
            </a:r>
          </a:p>
          <a:p>
            <a:pPr lvl="3"/>
            <a:r>
              <a:rPr lang="en-GB" noProof="0"/>
              <a:t>Text level 5</a:t>
            </a:r>
          </a:p>
        </p:txBody>
      </p:sp>
      <p:sp>
        <p:nvSpPr>
          <p:cNvPr id="27" name="Espace réservé du texte 9"/>
          <p:cNvSpPr>
            <a:spLocks noGrp="1"/>
          </p:cNvSpPr>
          <p:nvPr>
            <p:ph type="body" sz="quarter" idx="25" hasCustomPrompt="1"/>
          </p:nvPr>
        </p:nvSpPr>
        <p:spPr bwMode="gray">
          <a:xfrm>
            <a:off x="4716400" y="4131488"/>
            <a:ext cx="3564000" cy="324000"/>
          </a:xfrm>
          <a:solidFill>
            <a:schemeClr val="bg2"/>
          </a:solidFill>
          <a:ln w="9525">
            <a:solidFill>
              <a:schemeClr val="bg2"/>
            </a:solidFill>
          </a:ln>
        </p:spPr>
        <p:txBody>
          <a:bodyPr anchor="ctr" anchorCtr="0"/>
          <a:lstStyle>
            <a:lvl1pPr algn="ctr">
              <a:lnSpc>
                <a:spcPct val="100000"/>
              </a:lnSpc>
              <a:defRPr>
                <a:solidFill>
                  <a:schemeClr val="bg1"/>
                </a:solidFill>
              </a:defRPr>
            </a:lvl1pPr>
          </a:lstStyle>
          <a:p>
            <a:pPr lvl="0"/>
            <a:r>
              <a:rPr lang="en-GB" noProof="0"/>
              <a:t>Text level 1</a:t>
            </a:r>
          </a:p>
        </p:txBody>
      </p:sp>
      <p:sp>
        <p:nvSpPr>
          <p:cNvPr id="28" name="Espace réservé du texte 9"/>
          <p:cNvSpPr>
            <a:spLocks noGrp="1"/>
          </p:cNvSpPr>
          <p:nvPr>
            <p:ph type="body" sz="quarter" idx="26" hasCustomPrompt="1"/>
          </p:nvPr>
        </p:nvSpPr>
        <p:spPr bwMode="gray">
          <a:xfrm>
            <a:off x="4716400" y="4455488"/>
            <a:ext cx="3564000" cy="1350000"/>
          </a:xfrm>
          <a:ln w="9525">
            <a:solidFill>
              <a:schemeClr val="bg2"/>
            </a:solidFill>
          </a:ln>
        </p:spPr>
        <p:txBody>
          <a:bodyPr tIns="72000"/>
          <a:lstStyle>
            <a:lvl1pPr marL="324000" indent="-180000">
              <a:lnSpc>
                <a:spcPct val="100000"/>
              </a:lnSpc>
              <a:spcBef>
                <a:spcPts val="300"/>
              </a:spcBef>
              <a:buClr>
                <a:schemeClr val="accent3"/>
              </a:buClr>
              <a:buFont typeface="Arial" pitchFamily="34" charset="0"/>
              <a:buChar char="•"/>
              <a:defRPr sz="1800">
                <a:solidFill>
                  <a:schemeClr val="tx1"/>
                </a:solidFill>
              </a:defRPr>
            </a:lvl1pPr>
            <a:lvl2pPr marL="504000">
              <a:buClr>
                <a:schemeClr val="tx1"/>
              </a:buClr>
              <a:defRPr sz="1600" b="0"/>
            </a:lvl2pPr>
            <a:lvl3pPr indent="0">
              <a:buNone/>
              <a:defRPr/>
            </a:lvl3pPr>
            <a:lvl4pPr marL="684000" indent="-180000">
              <a:buClr>
                <a:schemeClr val="tx1"/>
              </a:buClr>
              <a:buFont typeface="Arial" pitchFamily="34" charset="0"/>
              <a:buChar char="•"/>
              <a:defRPr sz="1400"/>
            </a:lvl4pPr>
          </a:lstStyle>
          <a:p>
            <a:pPr lvl="0"/>
            <a:r>
              <a:rPr lang="en-GB" noProof="0"/>
              <a:t>Text level 2</a:t>
            </a:r>
          </a:p>
          <a:p>
            <a:pPr lvl="1"/>
            <a:r>
              <a:rPr lang="en-GB" noProof="0"/>
              <a:t>Text level 3</a:t>
            </a:r>
          </a:p>
          <a:p>
            <a:pPr lvl="2"/>
            <a:r>
              <a:rPr lang="en-GB" noProof="0"/>
              <a:t>Text level 4</a:t>
            </a:r>
          </a:p>
          <a:p>
            <a:pPr lvl="3"/>
            <a:r>
              <a:rPr lang="en-GB" noProof="0"/>
              <a:t>Text level 5</a:t>
            </a:r>
          </a:p>
        </p:txBody>
      </p:sp>
    </p:spTree>
    <p:extLst>
      <p:ext uri="{BB962C8B-B14F-4D97-AF65-F5344CB8AC3E}">
        <p14:creationId xmlns:p14="http://schemas.microsoft.com/office/powerpoint/2010/main" val="3059497726"/>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pic>
        <p:nvPicPr>
          <p:cNvPr id="6" name="Image 18" descr="FD_02.pn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gray">
          <a:xfrm>
            <a:off x="0" y="0"/>
            <a:ext cx="9144000" cy="51577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7" name="Rectangle 6"/>
          <p:cNvSpPr/>
          <p:nvPr userDrawn="1"/>
        </p:nvSpPr>
        <p:spPr bwMode="gray">
          <a:xfrm>
            <a:off x="3635375" y="5265738"/>
            <a:ext cx="5508625" cy="15922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prstClr val="white"/>
              </a:solidFill>
            </a:endParaRPr>
          </a:p>
        </p:txBody>
      </p:sp>
      <p:pic>
        <p:nvPicPr>
          <p:cNvPr id="10" name="Image 19" descr="Bas_couv.png"/>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gray">
          <a:xfrm>
            <a:off x="0" y="5172075"/>
            <a:ext cx="3635375" cy="16859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1" name="Rectangle 10"/>
          <p:cNvSpPr/>
          <p:nvPr userDrawn="1"/>
        </p:nvSpPr>
        <p:spPr bwMode="gray">
          <a:xfrm>
            <a:off x="3635375" y="6354763"/>
            <a:ext cx="5113338" cy="2873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p>
            <a:pPr algn="r">
              <a:defRPr/>
            </a:pPr>
            <a:r>
              <a:rPr lang="en-US" sz="1000" err="1">
                <a:solidFill>
                  <a:srgbClr val="95D600"/>
                </a:solidFill>
              </a:rPr>
              <a:t>www.gavi.org</a:t>
            </a:r>
            <a:endParaRPr lang="en-US" sz="1000">
              <a:solidFill>
                <a:srgbClr val="95D600"/>
              </a:solidFill>
            </a:endParaRPr>
          </a:p>
        </p:txBody>
      </p:sp>
      <p:cxnSp>
        <p:nvCxnSpPr>
          <p:cNvPr id="12" name="Connecteur droit 22"/>
          <p:cNvCxnSpPr/>
          <p:nvPr userDrawn="1"/>
        </p:nvCxnSpPr>
        <p:spPr bwMode="gray">
          <a:xfrm flipH="1">
            <a:off x="468313" y="3402013"/>
            <a:ext cx="2447925" cy="0"/>
          </a:xfrm>
          <a:prstGeom prst="line">
            <a:avLst/>
          </a:prstGeom>
          <a:ln w="24130">
            <a:solidFill>
              <a:schemeClr val="accent1"/>
            </a:solidFill>
          </a:ln>
        </p:spPr>
        <p:style>
          <a:lnRef idx="1">
            <a:schemeClr val="accent1"/>
          </a:lnRef>
          <a:fillRef idx="0">
            <a:schemeClr val="accent1"/>
          </a:fillRef>
          <a:effectRef idx="0">
            <a:schemeClr val="accent1"/>
          </a:effectRef>
          <a:fontRef idx="minor">
            <a:schemeClr val="tx1"/>
          </a:fontRef>
        </p:style>
      </p:cxnSp>
      <p:sp>
        <p:nvSpPr>
          <p:cNvPr id="9" name="Espace réservé du texte 8"/>
          <p:cNvSpPr>
            <a:spLocks noGrp="1"/>
          </p:cNvSpPr>
          <p:nvPr>
            <p:ph type="body" sz="quarter" idx="13"/>
          </p:nvPr>
        </p:nvSpPr>
        <p:spPr bwMode="gray">
          <a:xfrm>
            <a:off x="468314" y="1036800"/>
            <a:ext cx="4824412" cy="2232000"/>
          </a:xfrm>
        </p:spPr>
        <p:txBody>
          <a:bodyPr anchor="b"/>
          <a:lstStyle>
            <a:lvl1pPr marL="0" indent="0" algn="l">
              <a:lnSpc>
                <a:spcPct val="90000"/>
              </a:lnSpc>
              <a:buNone/>
              <a:defRPr sz="2800" b="1" cap="none" baseline="0">
                <a:solidFill>
                  <a:schemeClr val="bg1"/>
                </a:solidFill>
              </a:defRPr>
            </a:lvl1pPr>
            <a:lvl2pPr marL="0" algn="ctr">
              <a:lnSpc>
                <a:spcPct val="100000"/>
              </a:lnSpc>
              <a:spcBef>
                <a:spcPts val="6900"/>
              </a:spcBef>
              <a:defRPr sz="2000" b="1">
                <a:solidFill>
                  <a:schemeClr val="bg1"/>
                </a:solidFill>
              </a:defRPr>
            </a:lvl2pPr>
          </a:lstStyle>
          <a:p>
            <a:pPr lvl="0"/>
            <a:r>
              <a:rPr lang="en-US" noProof="0"/>
              <a:t>Click to edit Master text styles</a:t>
            </a:r>
          </a:p>
        </p:txBody>
      </p:sp>
      <p:sp>
        <p:nvSpPr>
          <p:cNvPr id="8" name="Espace réservé du texte 8"/>
          <p:cNvSpPr>
            <a:spLocks noGrp="1"/>
          </p:cNvSpPr>
          <p:nvPr>
            <p:ph type="body" sz="quarter" idx="14"/>
          </p:nvPr>
        </p:nvSpPr>
        <p:spPr bwMode="gray">
          <a:xfrm>
            <a:off x="468314" y="3585600"/>
            <a:ext cx="4824411" cy="1479600"/>
          </a:xfrm>
        </p:spPr>
        <p:txBody>
          <a:bodyPr/>
          <a:lstStyle>
            <a:lvl1pPr marL="0" indent="0" algn="l">
              <a:lnSpc>
                <a:spcPct val="90000"/>
              </a:lnSpc>
              <a:buNone/>
              <a:defRPr sz="2000" b="0" baseline="0">
                <a:solidFill>
                  <a:schemeClr val="bg1"/>
                </a:solidFill>
              </a:defRPr>
            </a:lvl1pPr>
            <a:lvl2pPr marL="0" algn="ctr">
              <a:lnSpc>
                <a:spcPct val="100000"/>
              </a:lnSpc>
              <a:spcBef>
                <a:spcPts val="6900"/>
              </a:spcBef>
              <a:defRPr sz="2000" b="1">
                <a:solidFill>
                  <a:schemeClr val="bg1"/>
                </a:solidFill>
              </a:defRPr>
            </a:lvl2pPr>
          </a:lstStyle>
          <a:p>
            <a:pPr lvl="0"/>
            <a:r>
              <a:rPr lang="en-US" noProof="0"/>
              <a:t>Click to edit Master text styles</a:t>
            </a:r>
          </a:p>
        </p:txBody>
      </p:sp>
      <p:sp>
        <p:nvSpPr>
          <p:cNvPr id="15" name="Espace réservé du texte 14"/>
          <p:cNvSpPr>
            <a:spLocks noGrp="1"/>
          </p:cNvSpPr>
          <p:nvPr>
            <p:ph type="body" sz="quarter" idx="19"/>
          </p:nvPr>
        </p:nvSpPr>
        <p:spPr bwMode="gray">
          <a:xfrm>
            <a:off x="3635376" y="6021388"/>
            <a:ext cx="5113338" cy="324000"/>
          </a:xfrm>
        </p:spPr>
        <p:txBody>
          <a:bodyPr anchor="b"/>
          <a:lstStyle>
            <a:lvl1pPr algn="r">
              <a:lnSpc>
                <a:spcPct val="100000"/>
              </a:lnSpc>
              <a:defRPr sz="1000" b="1">
                <a:solidFill>
                  <a:schemeClr val="accent3"/>
                </a:solidFill>
              </a:defRPr>
            </a:lvl1pPr>
          </a:lstStyle>
          <a:p>
            <a:pPr lvl="0"/>
            <a:r>
              <a:rPr lang="en-US" noProof="0"/>
              <a:t>Click to edit Master text styles</a:t>
            </a:r>
          </a:p>
        </p:txBody>
      </p:sp>
      <p:sp>
        <p:nvSpPr>
          <p:cNvPr id="17" name="Espace réservé du texte 16"/>
          <p:cNvSpPr>
            <a:spLocks noGrp="1"/>
          </p:cNvSpPr>
          <p:nvPr>
            <p:ph type="body" sz="quarter" idx="20"/>
          </p:nvPr>
        </p:nvSpPr>
        <p:spPr bwMode="gray">
          <a:xfrm>
            <a:off x="0" y="5157788"/>
            <a:ext cx="9144000" cy="287337"/>
          </a:xfrm>
          <a:solidFill>
            <a:schemeClr val="bg1"/>
          </a:solidFill>
        </p:spPr>
        <p:txBody>
          <a:bodyPr/>
          <a:lstStyle>
            <a:lvl1pPr>
              <a:defRPr sz="100" b="0">
                <a:solidFill>
                  <a:schemeClr val="bg1">
                    <a:alpha val="0"/>
                  </a:schemeClr>
                </a:solidFill>
              </a:defRPr>
            </a:lvl1pPr>
          </a:lstStyle>
          <a:p>
            <a:pPr lvl="0"/>
            <a:r>
              <a:rPr lang="en-US" noProof="0"/>
              <a:t>Click to edit Master text styles</a:t>
            </a:r>
          </a:p>
        </p:txBody>
      </p:sp>
      <p:sp>
        <p:nvSpPr>
          <p:cNvPr id="13" name="Espace réservé de la date 9"/>
          <p:cNvSpPr>
            <a:spLocks noGrp="1"/>
          </p:cNvSpPr>
          <p:nvPr>
            <p:ph type="dt" sz="half" idx="21"/>
          </p:nvPr>
        </p:nvSpPr>
        <p:spPr/>
        <p:txBody>
          <a:bodyPr/>
          <a:lstStyle>
            <a:lvl1pPr>
              <a:defRPr/>
            </a:lvl1pPr>
          </a:lstStyle>
          <a:p>
            <a:pPr>
              <a:defRPr/>
            </a:pPr>
            <a:r>
              <a:rPr lang="en-US">
                <a:solidFill>
                  <a:prstClr val="white">
                    <a:alpha val="0"/>
                  </a:prstClr>
                </a:solidFill>
              </a:rPr>
              <a:t>Date</a:t>
            </a:r>
          </a:p>
        </p:txBody>
      </p:sp>
      <p:sp>
        <p:nvSpPr>
          <p:cNvPr id="14" name="Espace réservé du numéro de diapositive 10"/>
          <p:cNvSpPr>
            <a:spLocks noGrp="1"/>
          </p:cNvSpPr>
          <p:nvPr>
            <p:ph type="sldNum" sz="quarter" idx="22"/>
          </p:nvPr>
        </p:nvSpPr>
        <p:spPr/>
        <p:txBody>
          <a:bodyPr/>
          <a:lstStyle>
            <a:lvl1pPr>
              <a:defRPr sz="100">
                <a:solidFill>
                  <a:schemeClr val="bg1">
                    <a:alpha val="0"/>
                  </a:schemeClr>
                </a:solidFill>
              </a:defRPr>
            </a:lvl1pPr>
          </a:lstStyle>
          <a:p>
            <a:pPr>
              <a:defRPr/>
            </a:pPr>
            <a:r>
              <a:rPr lang="en-US">
                <a:solidFill>
                  <a:prstClr val="white">
                    <a:alpha val="0"/>
                  </a:prstClr>
                </a:solidFill>
              </a:rPr>
              <a:t>Page: </a:t>
            </a:r>
            <a:fld id="{541ADD26-9626-44B7-849C-716E619042DF}" type="slidenum">
              <a:rPr lang="en-US">
                <a:solidFill>
                  <a:prstClr val="white">
                    <a:alpha val="0"/>
                  </a:prstClr>
                </a:solidFill>
              </a:rPr>
              <a:pPr>
                <a:defRPr/>
              </a:pPr>
              <a:t>‹#›</a:t>
            </a:fld>
            <a:endParaRPr lang="en-US">
              <a:solidFill>
                <a:prstClr val="white">
                  <a:alpha val="0"/>
                </a:prstClr>
              </a:solidFill>
            </a:endParaRPr>
          </a:p>
        </p:txBody>
      </p:sp>
      <p:sp>
        <p:nvSpPr>
          <p:cNvPr id="16" name="Espace réservé du pied de page 11"/>
          <p:cNvSpPr>
            <a:spLocks noGrp="1"/>
          </p:cNvSpPr>
          <p:nvPr>
            <p:ph type="ftr" sz="quarter" idx="23"/>
          </p:nvPr>
        </p:nvSpPr>
        <p:spPr>
          <a:xfrm>
            <a:off x="468313" y="523875"/>
            <a:ext cx="4824412" cy="360363"/>
          </a:xfrm>
        </p:spPr>
        <p:txBody>
          <a:bodyPr/>
          <a:lstStyle>
            <a:lvl1pPr algn="l">
              <a:defRPr sz="1800" b="0">
                <a:solidFill>
                  <a:schemeClr val="bg1"/>
                </a:solidFill>
              </a:defRPr>
            </a:lvl1pPr>
          </a:lstStyle>
          <a:p>
            <a:pPr>
              <a:defRPr/>
            </a:pPr>
            <a:r>
              <a:rPr lang="en-US">
                <a:solidFill>
                  <a:prstClr val="white"/>
                </a:solidFill>
              </a:rPr>
              <a:t>#vaccelerate</a:t>
            </a:r>
          </a:p>
        </p:txBody>
      </p:sp>
    </p:spTree>
    <p:extLst>
      <p:ext uri="{BB962C8B-B14F-4D97-AF65-F5344CB8AC3E}">
        <p14:creationId xmlns:p14="http://schemas.microsoft.com/office/powerpoint/2010/main" val="912869874"/>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Cover_Picture_1">
    <p:spTree>
      <p:nvGrpSpPr>
        <p:cNvPr id="1" name=""/>
        <p:cNvGrpSpPr/>
        <p:nvPr/>
      </p:nvGrpSpPr>
      <p:grpSpPr>
        <a:xfrm>
          <a:off x="0" y="0"/>
          <a:ext cx="0" cy="0"/>
          <a:chOff x="0" y="0"/>
          <a:chExt cx="0" cy="0"/>
        </a:xfrm>
      </p:grpSpPr>
      <p:pic>
        <p:nvPicPr>
          <p:cNvPr id="7" name="Image 20" descr="FD_1_L254.png"/>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gray">
          <a:xfrm>
            <a:off x="0" y="0"/>
            <a:ext cx="9144000" cy="51577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0" name="Rectangle 9"/>
          <p:cNvSpPr/>
          <p:nvPr userDrawn="1"/>
        </p:nvSpPr>
        <p:spPr bwMode="gray">
          <a:xfrm>
            <a:off x="3635375" y="5265738"/>
            <a:ext cx="5508625" cy="15922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prstClr val="white"/>
              </a:solidFill>
            </a:endParaRPr>
          </a:p>
        </p:txBody>
      </p:sp>
      <p:pic>
        <p:nvPicPr>
          <p:cNvPr id="11" name="Image 19" descr="Bas_couv.png"/>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gray">
          <a:xfrm>
            <a:off x="0" y="5172075"/>
            <a:ext cx="3635375" cy="16859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2" name="Rectangle 11"/>
          <p:cNvSpPr/>
          <p:nvPr userDrawn="1"/>
        </p:nvSpPr>
        <p:spPr bwMode="gray">
          <a:xfrm>
            <a:off x="3635375" y="6354763"/>
            <a:ext cx="5113338" cy="2873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p>
            <a:pPr algn="r">
              <a:defRPr/>
            </a:pPr>
            <a:r>
              <a:rPr lang="en-US" sz="1000" err="1">
                <a:solidFill>
                  <a:srgbClr val="95D600"/>
                </a:solidFill>
              </a:rPr>
              <a:t>www.gavi.org</a:t>
            </a:r>
            <a:endParaRPr lang="en-US" sz="1000">
              <a:solidFill>
                <a:srgbClr val="95D600"/>
              </a:solidFill>
            </a:endParaRPr>
          </a:p>
        </p:txBody>
      </p:sp>
      <p:cxnSp>
        <p:nvCxnSpPr>
          <p:cNvPr id="13" name="Connecteur droit 22"/>
          <p:cNvCxnSpPr/>
          <p:nvPr userDrawn="1"/>
        </p:nvCxnSpPr>
        <p:spPr bwMode="gray">
          <a:xfrm flipH="1">
            <a:off x="468313" y="3402013"/>
            <a:ext cx="2447925" cy="0"/>
          </a:xfrm>
          <a:prstGeom prst="line">
            <a:avLst/>
          </a:prstGeom>
          <a:ln w="24130">
            <a:solidFill>
              <a:schemeClr val="accent1"/>
            </a:solidFill>
          </a:ln>
        </p:spPr>
        <p:style>
          <a:lnRef idx="1">
            <a:schemeClr val="accent1"/>
          </a:lnRef>
          <a:fillRef idx="0">
            <a:schemeClr val="accent1"/>
          </a:fillRef>
          <a:effectRef idx="0">
            <a:schemeClr val="accent1"/>
          </a:effectRef>
          <a:fontRef idx="minor">
            <a:schemeClr val="tx1"/>
          </a:fontRef>
        </p:style>
      </p:cxnSp>
      <p:sp>
        <p:nvSpPr>
          <p:cNvPr id="9" name="Espace réservé du texte 8"/>
          <p:cNvSpPr>
            <a:spLocks noGrp="1"/>
          </p:cNvSpPr>
          <p:nvPr>
            <p:ph type="body" sz="quarter" idx="13"/>
          </p:nvPr>
        </p:nvSpPr>
        <p:spPr bwMode="gray">
          <a:xfrm>
            <a:off x="468314" y="1036638"/>
            <a:ext cx="4824412" cy="2231392"/>
          </a:xfrm>
        </p:spPr>
        <p:txBody>
          <a:bodyPr anchor="b"/>
          <a:lstStyle>
            <a:lvl1pPr marL="0" indent="0" algn="l">
              <a:lnSpc>
                <a:spcPct val="90000"/>
              </a:lnSpc>
              <a:buNone/>
              <a:defRPr sz="2800" b="1" cap="none" baseline="0">
                <a:solidFill>
                  <a:schemeClr val="bg1"/>
                </a:solidFill>
              </a:defRPr>
            </a:lvl1pPr>
            <a:lvl2pPr marL="0" algn="ctr">
              <a:lnSpc>
                <a:spcPct val="100000"/>
              </a:lnSpc>
              <a:spcBef>
                <a:spcPts val="6900"/>
              </a:spcBef>
              <a:defRPr sz="2000" b="1">
                <a:solidFill>
                  <a:schemeClr val="bg1"/>
                </a:solidFill>
              </a:defRPr>
            </a:lvl2pPr>
          </a:lstStyle>
          <a:p>
            <a:pPr lvl="0"/>
            <a:r>
              <a:rPr lang="en-US" noProof="0"/>
              <a:t>Click to edit Master text styles</a:t>
            </a:r>
          </a:p>
        </p:txBody>
      </p:sp>
      <p:sp>
        <p:nvSpPr>
          <p:cNvPr id="8" name="Espace réservé du texte 8"/>
          <p:cNvSpPr>
            <a:spLocks noGrp="1"/>
          </p:cNvSpPr>
          <p:nvPr>
            <p:ph type="body" sz="quarter" idx="14"/>
          </p:nvPr>
        </p:nvSpPr>
        <p:spPr bwMode="gray">
          <a:xfrm>
            <a:off x="468314" y="3584637"/>
            <a:ext cx="3592800" cy="1477788"/>
          </a:xfrm>
        </p:spPr>
        <p:txBody>
          <a:bodyPr/>
          <a:lstStyle>
            <a:lvl1pPr marL="0" indent="0" algn="l">
              <a:lnSpc>
                <a:spcPct val="90000"/>
              </a:lnSpc>
              <a:buNone/>
              <a:defRPr sz="2000" b="0" baseline="0">
                <a:solidFill>
                  <a:schemeClr val="bg1"/>
                </a:solidFill>
              </a:defRPr>
            </a:lvl1pPr>
            <a:lvl2pPr marL="0" algn="ctr">
              <a:lnSpc>
                <a:spcPct val="100000"/>
              </a:lnSpc>
              <a:spcBef>
                <a:spcPts val="6900"/>
              </a:spcBef>
              <a:defRPr sz="2000" b="1">
                <a:solidFill>
                  <a:schemeClr val="bg1"/>
                </a:solidFill>
              </a:defRPr>
            </a:lvl2pPr>
          </a:lstStyle>
          <a:p>
            <a:pPr lvl="0"/>
            <a:r>
              <a:rPr lang="en-US" noProof="0"/>
              <a:t>Click to edit Master text styles</a:t>
            </a:r>
          </a:p>
        </p:txBody>
      </p:sp>
      <p:sp>
        <p:nvSpPr>
          <p:cNvPr id="15" name="Espace réservé du texte 14"/>
          <p:cNvSpPr>
            <a:spLocks noGrp="1"/>
          </p:cNvSpPr>
          <p:nvPr>
            <p:ph type="body" sz="quarter" idx="19"/>
          </p:nvPr>
        </p:nvSpPr>
        <p:spPr bwMode="gray">
          <a:xfrm>
            <a:off x="3635376" y="6021388"/>
            <a:ext cx="5113338" cy="324000"/>
          </a:xfrm>
        </p:spPr>
        <p:txBody>
          <a:bodyPr anchor="b"/>
          <a:lstStyle>
            <a:lvl1pPr algn="r">
              <a:lnSpc>
                <a:spcPct val="100000"/>
              </a:lnSpc>
              <a:defRPr sz="1000" b="1">
                <a:solidFill>
                  <a:schemeClr val="accent3"/>
                </a:solidFill>
              </a:defRPr>
            </a:lvl1pPr>
          </a:lstStyle>
          <a:p>
            <a:pPr lvl="0"/>
            <a:r>
              <a:rPr lang="en-US" noProof="0"/>
              <a:t>Click to edit Master text styles</a:t>
            </a:r>
          </a:p>
        </p:txBody>
      </p:sp>
      <p:sp>
        <p:nvSpPr>
          <p:cNvPr id="17" name="Espace réservé du texte 16"/>
          <p:cNvSpPr>
            <a:spLocks noGrp="1"/>
          </p:cNvSpPr>
          <p:nvPr>
            <p:ph type="body" sz="quarter" idx="20"/>
          </p:nvPr>
        </p:nvSpPr>
        <p:spPr bwMode="gray">
          <a:xfrm>
            <a:off x="0" y="5157788"/>
            <a:ext cx="9144000" cy="287337"/>
          </a:xfrm>
          <a:solidFill>
            <a:schemeClr val="bg1"/>
          </a:solidFill>
        </p:spPr>
        <p:txBody>
          <a:bodyPr/>
          <a:lstStyle>
            <a:lvl1pPr>
              <a:defRPr sz="100" b="0">
                <a:solidFill>
                  <a:schemeClr val="bg1">
                    <a:alpha val="0"/>
                  </a:schemeClr>
                </a:solidFill>
              </a:defRPr>
            </a:lvl1pPr>
          </a:lstStyle>
          <a:p>
            <a:pPr lvl="0"/>
            <a:r>
              <a:rPr lang="en-US" noProof="0"/>
              <a:t>Click to edit Master text styles</a:t>
            </a:r>
          </a:p>
        </p:txBody>
      </p:sp>
      <p:sp>
        <p:nvSpPr>
          <p:cNvPr id="24" name="Espace réservé pour une image  17"/>
          <p:cNvSpPr>
            <a:spLocks noGrp="1"/>
          </p:cNvSpPr>
          <p:nvPr>
            <p:ph type="pic" sz="quarter" idx="18"/>
          </p:nvPr>
        </p:nvSpPr>
        <p:spPr bwMode="gray">
          <a:xfrm>
            <a:off x="4192588" y="0"/>
            <a:ext cx="4951412" cy="5162400"/>
          </a:xfrm>
          <a:custGeom>
            <a:avLst/>
            <a:gdLst>
              <a:gd name="connsiteX0" fmla="*/ 0 w 3851275"/>
              <a:gd name="connsiteY0" fmla="*/ 0 h 5157788"/>
              <a:gd name="connsiteX1" fmla="*/ 3851275 w 3851275"/>
              <a:gd name="connsiteY1" fmla="*/ 0 h 5157788"/>
              <a:gd name="connsiteX2" fmla="*/ 3851275 w 3851275"/>
              <a:gd name="connsiteY2" fmla="*/ 5157788 h 5157788"/>
              <a:gd name="connsiteX3" fmla="*/ 0 w 3851275"/>
              <a:gd name="connsiteY3" fmla="*/ 5157788 h 5157788"/>
              <a:gd name="connsiteX4" fmla="*/ 0 w 3851275"/>
              <a:gd name="connsiteY4"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0 w 3851275"/>
              <a:gd name="connsiteY3" fmla="*/ 5157788 h 5157788"/>
              <a:gd name="connsiteX4" fmla="*/ 1692275 w 3851275"/>
              <a:gd name="connsiteY4" fmla="*/ 0 h 5157788"/>
              <a:gd name="connsiteX0" fmla="*/ 0 w 2159000"/>
              <a:gd name="connsiteY0" fmla="*/ 0 h 5157788"/>
              <a:gd name="connsiteX1" fmla="*/ 2159000 w 2159000"/>
              <a:gd name="connsiteY1" fmla="*/ 0 h 5157788"/>
              <a:gd name="connsiteX2" fmla="*/ 2159000 w 2159000"/>
              <a:gd name="connsiteY2" fmla="*/ 5157788 h 5157788"/>
              <a:gd name="connsiteX3" fmla="*/ 0 w 2159000"/>
              <a:gd name="connsiteY3" fmla="*/ 5157788 h 5157788"/>
              <a:gd name="connsiteX4" fmla="*/ 0 w 2159000"/>
              <a:gd name="connsiteY4" fmla="*/ 0 h 5157788"/>
              <a:gd name="connsiteX0" fmla="*/ 2625271 w 4784271"/>
              <a:gd name="connsiteY0" fmla="*/ 0 h 5157788"/>
              <a:gd name="connsiteX1" fmla="*/ 4784271 w 4784271"/>
              <a:gd name="connsiteY1" fmla="*/ 0 h 5157788"/>
              <a:gd name="connsiteX2" fmla="*/ 4784271 w 4784271"/>
              <a:gd name="connsiteY2" fmla="*/ 5157788 h 5157788"/>
              <a:gd name="connsiteX3" fmla="*/ 2625271 w 4784271"/>
              <a:gd name="connsiteY3" fmla="*/ 5157788 h 5157788"/>
              <a:gd name="connsiteX4" fmla="*/ 2625271 w 4784271"/>
              <a:gd name="connsiteY4" fmla="*/ 0 h 5157788"/>
              <a:gd name="connsiteX0" fmla="*/ 2625271 w 4784271"/>
              <a:gd name="connsiteY0" fmla="*/ 0 h 5157788"/>
              <a:gd name="connsiteX1" fmla="*/ 4784271 w 4784271"/>
              <a:gd name="connsiteY1" fmla="*/ 0 h 5157788"/>
              <a:gd name="connsiteX2" fmla="*/ 4784271 w 4784271"/>
              <a:gd name="connsiteY2" fmla="*/ 5157788 h 5157788"/>
              <a:gd name="connsiteX3" fmla="*/ 2625271 w 4784271"/>
              <a:gd name="connsiteY3" fmla="*/ 5157788 h 5157788"/>
              <a:gd name="connsiteX4" fmla="*/ 2625271 w 4784271"/>
              <a:gd name="connsiteY4" fmla="*/ 0 h 5157788"/>
              <a:gd name="connsiteX0" fmla="*/ 3568576 w 5727576"/>
              <a:gd name="connsiteY0" fmla="*/ 0 h 5157788"/>
              <a:gd name="connsiteX1" fmla="*/ 5727576 w 5727576"/>
              <a:gd name="connsiteY1" fmla="*/ 0 h 5157788"/>
              <a:gd name="connsiteX2" fmla="*/ 5727576 w 5727576"/>
              <a:gd name="connsiteY2" fmla="*/ 5157788 h 5157788"/>
              <a:gd name="connsiteX3" fmla="*/ 3568576 w 5727576"/>
              <a:gd name="connsiteY3" fmla="*/ 5157788 h 5157788"/>
              <a:gd name="connsiteX4" fmla="*/ 3568576 w 5727576"/>
              <a:gd name="connsiteY4" fmla="*/ 0 h 5157788"/>
              <a:gd name="connsiteX0" fmla="*/ 3306355 w 5465355"/>
              <a:gd name="connsiteY0" fmla="*/ 0 h 5157788"/>
              <a:gd name="connsiteX1" fmla="*/ 5465355 w 5465355"/>
              <a:gd name="connsiteY1" fmla="*/ 0 h 5157788"/>
              <a:gd name="connsiteX2" fmla="*/ 5465355 w 5465355"/>
              <a:gd name="connsiteY2" fmla="*/ 5157788 h 5157788"/>
              <a:gd name="connsiteX3" fmla="*/ 3306355 w 5465355"/>
              <a:gd name="connsiteY3" fmla="*/ 5157788 h 5157788"/>
              <a:gd name="connsiteX4" fmla="*/ 3306355 w 5465355"/>
              <a:gd name="connsiteY4" fmla="*/ 0 h 5157788"/>
              <a:gd name="connsiteX0" fmla="*/ 1416957 w 3575957"/>
              <a:gd name="connsiteY0" fmla="*/ 0 h 5157788"/>
              <a:gd name="connsiteX1" fmla="*/ 3575957 w 3575957"/>
              <a:gd name="connsiteY1" fmla="*/ 0 h 5157788"/>
              <a:gd name="connsiteX2" fmla="*/ 3575957 w 3575957"/>
              <a:gd name="connsiteY2" fmla="*/ 5157788 h 5157788"/>
              <a:gd name="connsiteX3" fmla="*/ 1416957 w 3575957"/>
              <a:gd name="connsiteY3" fmla="*/ 5157788 h 5157788"/>
              <a:gd name="connsiteX4" fmla="*/ 0 w 3575957"/>
              <a:gd name="connsiteY4" fmla="*/ 3339193 h 5157788"/>
              <a:gd name="connsiteX5" fmla="*/ 1416957 w 3575957"/>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6017419"/>
              <a:gd name="connsiteX1" fmla="*/ 3851275 w 3851275"/>
              <a:gd name="connsiteY1" fmla="*/ 0 h 6017419"/>
              <a:gd name="connsiteX2" fmla="*/ 3851275 w 3851275"/>
              <a:gd name="connsiteY2" fmla="*/ 5157788 h 6017419"/>
              <a:gd name="connsiteX3" fmla="*/ 1692275 w 3851275"/>
              <a:gd name="connsiteY3" fmla="*/ 5157788 h 6017419"/>
              <a:gd name="connsiteX4" fmla="*/ 0 w 3851275"/>
              <a:gd name="connsiteY4" fmla="*/ 3284984 h 6017419"/>
              <a:gd name="connsiteX5" fmla="*/ 1692275 w 3851275"/>
              <a:gd name="connsiteY5" fmla="*/ 0 h 6017419"/>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429000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429000 h 5157788"/>
              <a:gd name="connsiteX5" fmla="*/ 1710871 w 3869871"/>
              <a:gd name="connsiteY5" fmla="*/ 0 h 5157788"/>
              <a:gd name="connsiteX0" fmla="*/ 1704975 w 3863975"/>
              <a:gd name="connsiteY0" fmla="*/ 0 h 5157788"/>
              <a:gd name="connsiteX1" fmla="*/ 3863975 w 3863975"/>
              <a:gd name="connsiteY1" fmla="*/ 0 h 5157788"/>
              <a:gd name="connsiteX2" fmla="*/ 3863975 w 3863975"/>
              <a:gd name="connsiteY2" fmla="*/ 5157788 h 5157788"/>
              <a:gd name="connsiteX3" fmla="*/ 1704975 w 3863975"/>
              <a:gd name="connsiteY3" fmla="*/ 5157788 h 5157788"/>
              <a:gd name="connsiteX4" fmla="*/ 12700 w 3863975"/>
              <a:gd name="connsiteY4" fmla="*/ 3429000 h 5157788"/>
              <a:gd name="connsiteX5" fmla="*/ 1704975 w 3863975"/>
              <a:gd name="connsiteY5" fmla="*/ 0 h 5157788"/>
              <a:gd name="connsiteX0" fmla="*/ 1707243 w 3866243"/>
              <a:gd name="connsiteY0" fmla="*/ 0 h 5157788"/>
              <a:gd name="connsiteX1" fmla="*/ 3866243 w 3866243"/>
              <a:gd name="connsiteY1" fmla="*/ 0 h 5157788"/>
              <a:gd name="connsiteX2" fmla="*/ 3866243 w 3866243"/>
              <a:gd name="connsiteY2" fmla="*/ 5157788 h 5157788"/>
              <a:gd name="connsiteX3" fmla="*/ 1707243 w 3866243"/>
              <a:gd name="connsiteY3" fmla="*/ 5157788 h 5157788"/>
              <a:gd name="connsiteX4" fmla="*/ 14968 w 3866243"/>
              <a:gd name="connsiteY4" fmla="*/ 3429000 h 5157788"/>
              <a:gd name="connsiteX5" fmla="*/ 1707243 w 3866243"/>
              <a:gd name="connsiteY5" fmla="*/ 0 h 5157788"/>
              <a:gd name="connsiteX0" fmla="*/ 1130447 w 3866243"/>
              <a:gd name="connsiteY0" fmla="*/ 0 h 5157788"/>
              <a:gd name="connsiteX1" fmla="*/ 3866243 w 3866243"/>
              <a:gd name="connsiteY1" fmla="*/ 0 h 5157788"/>
              <a:gd name="connsiteX2" fmla="*/ 3866243 w 3866243"/>
              <a:gd name="connsiteY2" fmla="*/ 5157788 h 5157788"/>
              <a:gd name="connsiteX3" fmla="*/ 1707243 w 3866243"/>
              <a:gd name="connsiteY3" fmla="*/ 5157788 h 5157788"/>
              <a:gd name="connsiteX4" fmla="*/ 14968 w 3866243"/>
              <a:gd name="connsiteY4" fmla="*/ 3429000 h 5157788"/>
              <a:gd name="connsiteX5" fmla="*/ 1130447 w 3866243"/>
              <a:gd name="connsiteY5" fmla="*/ 0 h 5157788"/>
              <a:gd name="connsiteX0" fmla="*/ 2746143 w 5481939"/>
              <a:gd name="connsiteY0" fmla="*/ 0 h 5157788"/>
              <a:gd name="connsiteX1" fmla="*/ 5481939 w 5481939"/>
              <a:gd name="connsiteY1" fmla="*/ 0 h 5157788"/>
              <a:gd name="connsiteX2" fmla="*/ 5481939 w 5481939"/>
              <a:gd name="connsiteY2" fmla="*/ 5157788 h 5157788"/>
              <a:gd name="connsiteX3" fmla="*/ 585903 w 5481939"/>
              <a:gd name="connsiteY3" fmla="*/ 5153180 h 5157788"/>
              <a:gd name="connsiteX4" fmla="*/ 1630664 w 5481939"/>
              <a:gd name="connsiteY4" fmla="*/ 3429000 h 5157788"/>
              <a:gd name="connsiteX5" fmla="*/ 2746143 w 5481939"/>
              <a:gd name="connsiteY5" fmla="*/ 0 h 5157788"/>
              <a:gd name="connsiteX0" fmla="*/ 2746143 w 5481939"/>
              <a:gd name="connsiteY0" fmla="*/ 0 h 5157788"/>
              <a:gd name="connsiteX1" fmla="*/ 5481939 w 5481939"/>
              <a:gd name="connsiteY1" fmla="*/ 0 h 5157788"/>
              <a:gd name="connsiteX2" fmla="*/ 5481939 w 5481939"/>
              <a:gd name="connsiteY2" fmla="*/ 5157788 h 5157788"/>
              <a:gd name="connsiteX3" fmla="*/ 585903 w 5481939"/>
              <a:gd name="connsiteY3" fmla="*/ 5153180 h 5157788"/>
              <a:gd name="connsiteX4" fmla="*/ 1630664 w 5481939"/>
              <a:gd name="connsiteY4" fmla="*/ 3429000 h 5157788"/>
              <a:gd name="connsiteX5" fmla="*/ 2746143 w 548193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3574235 w 6310031"/>
              <a:gd name="connsiteY0" fmla="*/ 0 h 5157788"/>
              <a:gd name="connsiteX1" fmla="*/ 6310031 w 6310031"/>
              <a:gd name="connsiteY1" fmla="*/ 0 h 5157788"/>
              <a:gd name="connsiteX2" fmla="*/ 6310031 w 6310031"/>
              <a:gd name="connsiteY2" fmla="*/ 5157788 h 5157788"/>
              <a:gd name="connsiteX3" fmla="*/ 585903 w 6310031"/>
              <a:gd name="connsiteY3" fmla="*/ 5153180 h 5157788"/>
              <a:gd name="connsiteX4" fmla="*/ 1738031 w 6310031"/>
              <a:gd name="connsiteY4" fmla="*/ 3389965 h 5157788"/>
              <a:gd name="connsiteX5" fmla="*/ 3574235 w 6310031"/>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296143 w 5724128"/>
              <a:gd name="connsiteY4" fmla="*/ 3461908 h 5157788"/>
              <a:gd name="connsiteX5" fmla="*/ 2988332 w 5724128"/>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1188132 w 5760132"/>
              <a:gd name="connsiteY4" fmla="*/ 3425937 h 5157788"/>
              <a:gd name="connsiteX5" fmla="*/ 3024336 w 5760132"/>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2736304 w 5760132"/>
              <a:gd name="connsiteY4" fmla="*/ 3461908 h 5157788"/>
              <a:gd name="connsiteX5" fmla="*/ 3024336 w 5760132"/>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2736304 w 5760132"/>
              <a:gd name="connsiteY4" fmla="*/ 3461908 h 5157788"/>
              <a:gd name="connsiteX5" fmla="*/ 3024336 w 5760132"/>
              <a:gd name="connsiteY5" fmla="*/ 0 h 5157788"/>
              <a:gd name="connsiteX0" fmla="*/ 2160240 w 4896036"/>
              <a:gd name="connsiteY0" fmla="*/ 0 h 5157788"/>
              <a:gd name="connsiteX1" fmla="*/ 4896036 w 4896036"/>
              <a:gd name="connsiteY1" fmla="*/ 0 h 5157788"/>
              <a:gd name="connsiteX2" fmla="*/ 4896036 w 4896036"/>
              <a:gd name="connsiteY2" fmla="*/ 5157788 h 5157788"/>
              <a:gd name="connsiteX3" fmla="*/ 0 w 4896036"/>
              <a:gd name="connsiteY3" fmla="*/ 5153180 h 5157788"/>
              <a:gd name="connsiteX4" fmla="*/ 1872208 w 4896036"/>
              <a:gd name="connsiteY4" fmla="*/ 3461908 h 5157788"/>
              <a:gd name="connsiteX5" fmla="*/ 2160240 w 4896036"/>
              <a:gd name="connsiteY5" fmla="*/ 0 h 5157788"/>
              <a:gd name="connsiteX0" fmla="*/ 2232248 w 4968044"/>
              <a:gd name="connsiteY0" fmla="*/ 0 h 5157788"/>
              <a:gd name="connsiteX1" fmla="*/ 4968044 w 4968044"/>
              <a:gd name="connsiteY1" fmla="*/ 0 h 5157788"/>
              <a:gd name="connsiteX2" fmla="*/ 4968044 w 4968044"/>
              <a:gd name="connsiteY2" fmla="*/ 5157788 h 5157788"/>
              <a:gd name="connsiteX3" fmla="*/ 0 w 4968044"/>
              <a:gd name="connsiteY3" fmla="*/ 5153180 h 5157788"/>
              <a:gd name="connsiteX4" fmla="*/ 1944216 w 4968044"/>
              <a:gd name="connsiteY4" fmla="*/ 3461908 h 5157788"/>
              <a:gd name="connsiteX5" fmla="*/ 2232248 w 4968044"/>
              <a:gd name="connsiteY5" fmla="*/ 0 h 5157788"/>
              <a:gd name="connsiteX0" fmla="*/ 2207679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207679 w 4943475"/>
              <a:gd name="connsiteY5" fmla="*/ 0 h 5157788"/>
              <a:gd name="connsiteX0" fmla="*/ 2963763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963763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092200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71575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343583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675731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675731 w 4943475"/>
              <a:gd name="connsiteY5" fmla="*/ 0 h 5157788"/>
              <a:gd name="connsiteX0" fmla="*/ 2675731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675731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9672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19672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51412" h="5157788">
                <a:moveTo>
                  <a:pt x="2706687" y="0"/>
                </a:moveTo>
                <a:lnTo>
                  <a:pt x="4951412" y="0"/>
                </a:lnTo>
                <a:lnTo>
                  <a:pt x="4951412" y="5157788"/>
                </a:lnTo>
                <a:lnTo>
                  <a:pt x="0" y="5153180"/>
                </a:lnTo>
                <a:cubicBezTo>
                  <a:pt x="84411" y="4542509"/>
                  <a:pt x="183041" y="4024723"/>
                  <a:pt x="1243508" y="2562613"/>
                </a:cubicBezTo>
                <a:cubicBezTo>
                  <a:pt x="1867447" y="1704780"/>
                  <a:pt x="2665955" y="709265"/>
                  <a:pt x="2706687" y="0"/>
                </a:cubicBezTo>
                <a:close/>
              </a:path>
            </a:pathLst>
          </a:custGeom>
          <a:solidFill>
            <a:schemeClr val="bg2"/>
          </a:solidFill>
          <a:ln w="3175">
            <a:noFill/>
          </a:ln>
        </p:spPr>
        <p:txBody>
          <a:bodyPr tIns="720000" rtlCol="0" anchor="ctr">
            <a:noAutofit/>
          </a:bodyPr>
          <a:lstStyle>
            <a:lvl1pPr algn="ctr">
              <a:defRPr sz="1500">
                <a:solidFill>
                  <a:schemeClr val="bg1"/>
                </a:solidFill>
              </a:defRPr>
            </a:lvl1pPr>
          </a:lstStyle>
          <a:p>
            <a:pPr lvl="0"/>
            <a:r>
              <a:rPr lang="en-US" noProof="0"/>
              <a:t>Click icon to add picture</a:t>
            </a:r>
          </a:p>
        </p:txBody>
      </p:sp>
      <p:sp>
        <p:nvSpPr>
          <p:cNvPr id="14" name="Espace réservé de la date 9"/>
          <p:cNvSpPr>
            <a:spLocks noGrp="1"/>
          </p:cNvSpPr>
          <p:nvPr>
            <p:ph type="dt" sz="half" idx="21"/>
          </p:nvPr>
        </p:nvSpPr>
        <p:spPr/>
        <p:txBody>
          <a:bodyPr/>
          <a:lstStyle>
            <a:lvl1pPr>
              <a:defRPr/>
            </a:lvl1pPr>
          </a:lstStyle>
          <a:p>
            <a:pPr>
              <a:defRPr/>
            </a:pPr>
            <a:r>
              <a:rPr lang="en-US">
                <a:solidFill>
                  <a:prstClr val="white">
                    <a:alpha val="0"/>
                  </a:prstClr>
                </a:solidFill>
              </a:rPr>
              <a:t>Date</a:t>
            </a:r>
          </a:p>
        </p:txBody>
      </p:sp>
      <p:sp>
        <p:nvSpPr>
          <p:cNvPr id="16" name="Espace réservé du numéro de diapositive 10"/>
          <p:cNvSpPr>
            <a:spLocks noGrp="1"/>
          </p:cNvSpPr>
          <p:nvPr>
            <p:ph type="sldNum" sz="quarter" idx="22"/>
          </p:nvPr>
        </p:nvSpPr>
        <p:spPr/>
        <p:txBody>
          <a:bodyPr/>
          <a:lstStyle>
            <a:lvl1pPr>
              <a:defRPr sz="100">
                <a:solidFill>
                  <a:schemeClr val="bg1">
                    <a:alpha val="0"/>
                  </a:schemeClr>
                </a:solidFill>
              </a:defRPr>
            </a:lvl1pPr>
          </a:lstStyle>
          <a:p>
            <a:pPr>
              <a:defRPr/>
            </a:pPr>
            <a:r>
              <a:rPr lang="en-US">
                <a:solidFill>
                  <a:prstClr val="white">
                    <a:alpha val="0"/>
                  </a:prstClr>
                </a:solidFill>
              </a:rPr>
              <a:t>Page: </a:t>
            </a:r>
            <a:fld id="{FBC781E1-DB0D-44EA-942B-52789A2EA6EC}" type="slidenum">
              <a:rPr lang="en-US">
                <a:solidFill>
                  <a:prstClr val="white">
                    <a:alpha val="0"/>
                  </a:prstClr>
                </a:solidFill>
              </a:rPr>
              <a:pPr>
                <a:defRPr/>
              </a:pPr>
              <a:t>‹#›</a:t>
            </a:fld>
            <a:endParaRPr lang="en-US">
              <a:solidFill>
                <a:prstClr val="white">
                  <a:alpha val="0"/>
                </a:prstClr>
              </a:solidFill>
            </a:endParaRPr>
          </a:p>
        </p:txBody>
      </p:sp>
      <p:sp>
        <p:nvSpPr>
          <p:cNvPr id="18" name="Espace réservé du pied de page 11"/>
          <p:cNvSpPr>
            <a:spLocks noGrp="1"/>
          </p:cNvSpPr>
          <p:nvPr>
            <p:ph type="ftr" sz="quarter" idx="23"/>
          </p:nvPr>
        </p:nvSpPr>
        <p:spPr>
          <a:xfrm>
            <a:off x="468313" y="523875"/>
            <a:ext cx="4824412" cy="360363"/>
          </a:xfrm>
        </p:spPr>
        <p:txBody>
          <a:bodyPr/>
          <a:lstStyle>
            <a:lvl1pPr algn="l">
              <a:defRPr sz="1800" b="0">
                <a:solidFill>
                  <a:schemeClr val="bg1"/>
                </a:solidFill>
              </a:defRPr>
            </a:lvl1pPr>
          </a:lstStyle>
          <a:p>
            <a:pPr>
              <a:defRPr/>
            </a:pPr>
            <a:r>
              <a:rPr lang="en-US">
                <a:solidFill>
                  <a:prstClr val="white"/>
                </a:solidFill>
              </a:rPr>
              <a:t>#</a:t>
            </a:r>
            <a:r>
              <a:rPr lang="en-US" err="1">
                <a:solidFill>
                  <a:prstClr val="white"/>
                </a:solidFill>
              </a:rPr>
              <a:t>vaccineswork</a:t>
            </a:r>
            <a:endParaRPr lang="en-US">
              <a:solidFill>
                <a:prstClr val="white"/>
              </a:solidFill>
            </a:endParaRPr>
          </a:p>
          <a:p>
            <a:pPr>
              <a:defRPr/>
            </a:pPr>
            <a:endParaRPr lang="en-US">
              <a:solidFill>
                <a:prstClr val="white"/>
              </a:solidFill>
            </a:endParaRPr>
          </a:p>
        </p:txBody>
      </p:sp>
    </p:spTree>
    <p:extLst>
      <p:ext uri="{BB962C8B-B14F-4D97-AF65-F5344CB8AC3E}">
        <p14:creationId xmlns:p14="http://schemas.microsoft.com/office/powerpoint/2010/main" val="315920149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ext&amp;2_Contents_Layout">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p:txBody>
          <a:bodyPr/>
          <a:lstStyle/>
          <a:p>
            <a:r>
              <a:rPr lang="en-US" noProof="0"/>
              <a:t>TITLE</a:t>
            </a:r>
          </a:p>
        </p:txBody>
      </p:sp>
      <p:sp>
        <p:nvSpPr>
          <p:cNvPr id="3" name="Espace réservé du contenu 2"/>
          <p:cNvSpPr>
            <a:spLocks noGrp="1"/>
          </p:cNvSpPr>
          <p:nvPr>
            <p:ph idx="1" hasCustomPrompt="1"/>
          </p:nvPr>
        </p:nvSpPr>
        <p:spPr bwMode="gray">
          <a:xfrm>
            <a:off x="935038" y="2781388"/>
            <a:ext cx="3564000" cy="3240000"/>
          </a:xfrm>
        </p:spPr>
        <p:txBody>
          <a:bodyPr/>
          <a:lstStyle>
            <a:lvl2pPr>
              <a:defRPr/>
            </a:lvl2pPr>
            <a:lvl3pPr>
              <a:defRPr/>
            </a:lvl3pPr>
            <a:lvl4pPr>
              <a:defRPr baseline="0"/>
            </a:lvl4pPr>
            <a:lvl5pPr>
              <a:defRPr/>
            </a:lvl5pPr>
          </a:lstStyle>
          <a:p>
            <a:pPr lvl="0"/>
            <a:r>
              <a:rPr lang="en-US" noProof="0"/>
              <a:t>Text level 1</a:t>
            </a:r>
          </a:p>
          <a:p>
            <a:pPr lvl="1"/>
            <a:r>
              <a:rPr lang="en-US" noProof="0"/>
              <a:t>Text level 2</a:t>
            </a:r>
          </a:p>
          <a:p>
            <a:pPr lvl="2"/>
            <a:r>
              <a:rPr lang="en-US" noProof="0"/>
              <a:t>Text level 3</a:t>
            </a:r>
          </a:p>
          <a:p>
            <a:pPr lvl="3"/>
            <a:r>
              <a:rPr lang="en-US" noProof="0"/>
              <a:t>Text level 4</a:t>
            </a:r>
          </a:p>
          <a:p>
            <a:pPr lvl="4"/>
            <a:r>
              <a:rPr lang="en-US" noProof="0"/>
              <a:t>Text level 5</a:t>
            </a:r>
          </a:p>
        </p:txBody>
      </p:sp>
      <p:sp>
        <p:nvSpPr>
          <p:cNvPr id="10" name="Espace réservé du texte 9"/>
          <p:cNvSpPr>
            <a:spLocks noGrp="1"/>
          </p:cNvSpPr>
          <p:nvPr>
            <p:ph type="body" sz="quarter" idx="13" hasCustomPrompt="1"/>
          </p:nvPr>
        </p:nvSpPr>
        <p:spPr bwMode="gray">
          <a:xfrm>
            <a:off x="935038" y="1304924"/>
            <a:ext cx="7345362" cy="1260000"/>
          </a:xfrm>
        </p:spPr>
        <p:txBody>
          <a:bodyPr/>
          <a:lstStyle/>
          <a:p>
            <a:pPr lvl="0"/>
            <a:r>
              <a:rPr lang="en-US" noProof="0"/>
              <a:t>Text level 1</a:t>
            </a:r>
          </a:p>
          <a:p>
            <a:pPr lvl="1"/>
            <a:r>
              <a:rPr lang="en-US" noProof="0"/>
              <a:t>Text level 2</a:t>
            </a:r>
          </a:p>
          <a:p>
            <a:pPr lvl="2"/>
            <a:r>
              <a:rPr lang="en-US" noProof="0"/>
              <a:t>Text level 3</a:t>
            </a:r>
          </a:p>
          <a:p>
            <a:pPr lvl="3"/>
            <a:r>
              <a:rPr lang="en-US" noProof="0"/>
              <a:t>Text level 4</a:t>
            </a:r>
          </a:p>
          <a:p>
            <a:pPr lvl="4"/>
            <a:r>
              <a:rPr lang="en-US" noProof="0"/>
              <a:t>Text level 5</a:t>
            </a:r>
          </a:p>
        </p:txBody>
      </p:sp>
      <p:sp>
        <p:nvSpPr>
          <p:cNvPr id="8" name="Espace réservé de la date 7"/>
          <p:cNvSpPr>
            <a:spLocks noGrp="1"/>
          </p:cNvSpPr>
          <p:nvPr>
            <p:ph type="dt" sz="half" idx="14"/>
          </p:nvPr>
        </p:nvSpPr>
        <p:spPr bwMode="gray"/>
        <p:txBody>
          <a:bodyPr/>
          <a:lstStyle/>
          <a:p>
            <a:r>
              <a:rPr lang="en-US" noProof="0"/>
              <a:t>Date</a:t>
            </a:r>
          </a:p>
        </p:txBody>
      </p:sp>
      <p:sp>
        <p:nvSpPr>
          <p:cNvPr id="9" name="Espace réservé du numéro de diapositive 8"/>
          <p:cNvSpPr>
            <a:spLocks noGrp="1"/>
          </p:cNvSpPr>
          <p:nvPr>
            <p:ph type="sldNum" sz="quarter" idx="15"/>
          </p:nvPr>
        </p:nvSpPr>
        <p:spPr bwMode="gray"/>
        <p:txBody>
          <a:bodyPr/>
          <a:lstStyle/>
          <a:p>
            <a:pPr algn="l"/>
            <a:fld id="{733122C9-A0B9-462F-8757-0847AD287B63}" type="slidenum">
              <a:rPr lang="en-US" noProof="0" smtClean="0"/>
              <a:pPr algn="l"/>
              <a:t>‹#›</a:t>
            </a:fld>
            <a:endParaRPr lang="en-US" noProof="0"/>
          </a:p>
        </p:txBody>
      </p:sp>
      <p:sp>
        <p:nvSpPr>
          <p:cNvPr id="11" name="Espace réservé du pied de page 10"/>
          <p:cNvSpPr>
            <a:spLocks noGrp="1"/>
          </p:cNvSpPr>
          <p:nvPr>
            <p:ph type="ftr" sz="quarter" idx="16"/>
          </p:nvPr>
        </p:nvSpPr>
        <p:spPr bwMode="gray"/>
        <p:txBody>
          <a:bodyPr/>
          <a:lstStyle/>
          <a:p>
            <a:r>
              <a:rPr lang="en-US" noProof="0"/>
              <a:t>#add your hashtag</a:t>
            </a:r>
          </a:p>
        </p:txBody>
      </p:sp>
      <p:sp>
        <p:nvSpPr>
          <p:cNvPr id="12" name="Espace réservé du contenu 2"/>
          <p:cNvSpPr>
            <a:spLocks noGrp="1"/>
          </p:cNvSpPr>
          <p:nvPr>
            <p:ph idx="17" hasCustomPrompt="1"/>
          </p:nvPr>
        </p:nvSpPr>
        <p:spPr bwMode="gray">
          <a:xfrm>
            <a:off x="4716400" y="2781388"/>
            <a:ext cx="3564000" cy="3240000"/>
          </a:xfrm>
        </p:spPr>
        <p:txBody>
          <a:bodyPr/>
          <a:lstStyle>
            <a:lvl2pPr>
              <a:defRPr/>
            </a:lvl2pPr>
            <a:lvl3pPr>
              <a:defRPr/>
            </a:lvl3pPr>
            <a:lvl4pPr>
              <a:defRPr baseline="0"/>
            </a:lvl4pPr>
            <a:lvl5pPr>
              <a:defRPr/>
            </a:lvl5pPr>
          </a:lstStyle>
          <a:p>
            <a:pPr lvl="0"/>
            <a:r>
              <a:rPr lang="en-US" noProof="0"/>
              <a:t>Text level 1</a:t>
            </a:r>
          </a:p>
          <a:p>
            <a:pPr lvl="1"/>
            <a:r>
              <a:rPr lang="en-US" noProof="0"/>
              <a:t>Text level 2</a:t>
            </a:r>
          </a:p>
          <a:p>
            <a:pPr lvl="2"/>
            <a:r>
              <a:rPr lang="en-US" noProof="0"/>
              <a:t>Text level 3</a:t>
            </a:r>
          </a:p>
          <a:p>
            <a:pPr lvl="3"/>
            <a:r>
              <a:rPr lang="en-US" noProof="0"/>
              <a:t>Text level 4</a:t>
            </a:r>
          </a:p>
          <a:p>
            <a:pPr lvl="4"/>
            <a:r>
              <a:rPr lang="en-US" noProof="0"/>
              <a:t>Text level 5</a:t>
            </a:r>
          </a:p>
        </p:txBody>
      </p:sp>
    </p:spTree>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Cover_Picture_2">
    <p:spTree>
      <p:nvGrpSpPr>
        <p:cNvPr id="1" name=""/>
        <p:cNvGrpSpPr/>
        <p:nvPr/>
      </p:nvGrpSpPr>
      <p:grpSpPr>
        <a:xfrm>
          <a:off x="0" y="0"/>
          <a:ext cx="0" cy="0"/>
          <a:chOff x="0" y="0"/>
          <a:chExt cx="0" cy="0"/>
        </a:xfrm>
      </p:grpSpPr>
      <p:pic>
        <p:nvPicPr>
          <p:cNvPr id="7" name="Image 20" descr="FD_1_L254.png"/>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gray">
          <a:xfrm>
            <a:off x="0" y="0"/>
            <a:ext cx="9144000" cy="51577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0" name="Rectangle 9"/>
          <p:cNvSpPr/>
          <p:nvPr userDrawn="1"/>
        </p:nvSpPr>
        <p:spPr bwMode="gray">
          <a:xfrm>
            <a:off x="3635375" y="5265738"/>
            <a:ext cx="5508625" cy="15922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prstClr val="white"/>
              </a:solidFill>
            </a:endParaRPr>
          </a:p>
        </p:txBody>
      </p:sp>
      <p:pic>
        <p:nvPicPr>
          <p:cNvPr id="11" name="Image 19" descr="Bas_couv.png"/>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gray">
          <a:xfrm>
            <a:off x="0" y="5172075"/>
            <a:ext cx="3635375" cy="16859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2" name="Rectangle 11"/>
          <p:cNvSpPr/>
          <p:nvPr userDrawn="1"/>
        </p:nvSpPr>
        <p:spPr bwMode="gray">
          <a:xfrm>
            <a:off x="3635375" y="6354763"/>
            <a:ext cx="5113338" cy="2873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p>
            <a:pPr algn="r">
              <a:defRPr/>
            </a:pPr>
            <a:r>
              <a:rPr lang="en-US" sz="1000" err="1">
                <a:solidFill>
                  <a:srgbClr val="95D600"/>
                </a:solidFill>
              </a:rPr>
              <a:t>www.gavi.org</a:t>
            </a:r>
            <a:endParaRPr lang="en-US" sz="1000">
              <a:solidFill>
                <a:srgbClr val="95D600"/>
              </a:solidFill>
            </a:endParaRPr>
          </a:p>
        </p:txBody>
      </p:sp>
      <p:cxnSp>
        <p:nvCxnSpPr>
          <p:cNvPr id="13" name="Connecteur droit 13"/>
          <p:cNvCxnSpPr/>
          <p:nvPr userDrawn="1"/>
        </p:nvCxnSpPr>
        <p:spPr bwMode="gray">
          <a:xfrm flipH="1">
            <a:off x="468313" y="3402013"/>
            <a:ext cx="2447925" cy="0"/>
          </a:xfrm>
          <a:prstGeom prst="line">
            <a:avLst/>
          </a:prstGeom>
          <a:ln w="24130">
            <a:solidFill>
              <a:schemeClr val="accent1"/>
            </a:solidFill>
          </a:ln>
        </p:spPr>
        <p:style>
          <a:lnRef idx="1">
            <a:schemeClr val="accent1"/>
          </a:lnRef>
          <a:fillRef idx="0">
            <a:schemeClr val="accent1"/>
          </a:fillRef>
          <a:effectRef idx="0">
            <a:schemeClr val="accent1"/>
          </a:effectRef>
          <a:fontRef idx="minor">
            <a:schemeClr val="tx1"/>
          </a:fontRef>
        </p:style>
      </p:cxnSp>
      <p:sp>
        <p:nvSpPr>
          <p:cNvPr id="9" name="Espace réservé du texte 8"/>
          <p:cNvSpPr>
            <a:spLocks noGrp="1"/>
          </p:cNvSpPr>
          <p:nvPr>
            <p:ph type="body" sz="quarter" idx="13"/>
          </p:nvPr>
        </p:nvSpPr>
        <p:spPr bwMode="gray">
          <a:xfrm>
            <a:off x="468000" y="1036800"/>
            <a:ext cx="4824412" cy="2232000"/>
          </a:xfrm>
        </p:spPr>
        <p:txBody>
          <a:bodyPr anchor="b"/>
          <a:lstStyle>
            <a:lvl1pPr marL="0" indent="0" algn="l">
              <a:lnSpc>
                <a:spcPct val="90000"/>
              </a:lnSpc>
              <a:buNone/>
              <a:defRPr sz="2800" b="1" cap="none" baseline="0">
                <a:solidFill>
                  <a:schemeClr val="bg1"/>
                </a:solidFill>
              </a:defRPr>
            </a:lvl1pPr>
            <a:lvl2pPr marL="0" algn="ctr">
              <a:lnSpc>
                <a:spcPct val="100000"/>
              </a:lnSpc>
              <a:spcBef>
                <a:spcPts val="6900"/>
              </a:spcBef>
              <a:defRPr sz="2000" b="1">
                <a:solidFill>
                  <a:schemeClr val="bg1"/>
                </a:solidFill>
              </a:defRPr>
            </a:lvl2pPr>
          </a:lstStyle>
          <a:p>
            <a:pPr lvl="0"/>
            <a:r>
              <a:rPr lang="en-US" noProof="0"/>
              <a:t>Click to edit Master text styles</a:t>
            </a:r>
          </a:p>
        </p:txBody>
      </p:sp>
      <p:sp>
        <p:nvSpPr>
          <p:cNvPr id="8" name="Espace réservé du texte 8"/>
          <p:cNvSpPr>
            <a:spLocks noGrp="1"/>
          </p:cNvSpPr>
          <p:nvPr>
            <p:ph type="body" sz="quarter" idx="14"/>
          </p:nvPr>
        </p:nvSpPr>
        <p:spPr bwMode="gray">
          <a:xfrm>
            <a:off x="468314" y="3585600"/>
            <a:ext cx="3592800" cy="1479600"/>
          </a:xfrm>
        </p:spPr>
        <p:txBody>
          <a:bodyPr/>
          <a:lstStyle>
            <a:lvl1pPr marL="0" indent="0" algn="l">
              <a:lnSpc>
                <a:spcPct val="90000"/>
              </a:lnSpc>
              <a:buNone/>
              <a:defRPr sz="2000" b="0" baseline="0">
                <a:solidFill>
                  <a:schemeClr val="bg1"/>
                </a:solidFill>
              </a:defRPr>
            </a:lvl1pPr>
            <a:lvl2pPr marL="0" algn="ctr">
              <a:lnSpc>
                <a:spcPct val="100000"/>
              </a:lnSpc>
              <a:spcBef>
                <a:spcPts val="6900"/>
              </a:spcBef>
              <a:defRPr sz="2000" b="1">
                <a:solidFill>
                  <a:schemeClr val="bg1"/>
                </a:solidFill>
              </a:defRPr>
            </a:lvl2pPr>
          </a:lstStyle>
          <a:p>
            <a:pPr lvl="0"/>
            <a:r>
              <a:rPr lang="en-US" noProof="0"/>
              <a:t>Click to edit Master text styles</a:t>
            </a:r>
          </a:p>
        </p:txBody>
      </p:sp>
      <p:sp>
        <p:nvSpPr>
          <p:cNvPr id="15" name="Espace réservé du texte 14"/>
          <p:cNvSpPr>
            <a:spLocks noGrp="1"/>
          </p:cNvSpPr>
          <p:nvPr>
            <p:ph type="body" sz="quarter" idx="19"/>
          </p:nvPr>
        </p:nvSpPr>
        <p:spPr bwMode="gray">
          <a:xfrm>
            <a:off x="3635376" y="6021388"/>
            <a:ext cx="5113338" cy="324000"/>
          </a:xfrm>
        </p:spPr>
        <p:txBody>
          <a:bodyPr anchor="b"/>
          <a:lstStyle>
            <a:lvl1pPr algn="r">
              <a:lnSpc>
                <a:spcPct val="100000"/>
              </a:lnSpc>
              <a:defRPr sz="1000" b="1">
                <a:solidFill>
                  <a:schemeClr val="accent3"/>
                </a:solidFill>
              </a:defRPr>
            </a:lvl1pPr>
          </a:lstStyle>
          <a:p>
            <a:pPr lvl="0"/>
            <a:r>
              <a:rPr lang="en-US" noProof="0"/>
              <a:t>Click to edit Master text styles</a:t>
            </a:r>
          </a:p>
        </p:txBody>
      </p:sp>
      <p:sp>
        <p:nvSpPr>
          <p:cNvPr id="17" name="Espace réservé du texte 16"/>
          <p:cNvSpPr>
            <a:spLocks noGrp="1"/>
          </p:cNvSpPr>
          <p:nvPr>
            <p:ph type="body" sz="quarter" idx="20"/>
          </p:nvPr>
        </p:nvSpPr>
        <p:spPr bwMode="gray">
          <a:xfrm>
            <a:off x="0" y="5157788"/>
            <a:ext cx="9144000" cy="287337"/>
          </a:xfrm>
          <a:solidFill>
            <a:schemeClr val="bg1"/>
          </a:solidFill>
        </p:spPr>
        <p:txBody>
          <a:bodyPr/>
          <a:lstStyle>
            <a:lvl1pPr>
              <a:defRPr sz="100" b="0">
                <a:solidFill>
                  <a:schemeClr val="bg1">
                    <a:alpha val="0"/>
                  </a:schemeClr>
                </a:solidFill>
              </a:defRPr>
            </a:lvl1pPr>
          </a:lstStyle>
          <a:p>
            <a:pPr lvl="0"/>
            <a:r>
              <a:rPr lang="en-US" noProof="0"/>
              <a:t>Click to edit Master text styles</a:t>
            </a:r>
          </a:p>
        </p:txBody>
      </p:sp>
      <p:sp>
        <p:nvSpPr>
          <p:cNvPr id="18" name="Espace réservé pour une image  17"/>
          <p:cNvSpPr>
            <a:spLocks noGrp="1"/>
          </p:cNvSpPr>
          <p:nvPr>
            <p:ph type="pic" sz="quarter" idx="18"/>
          </p:nvPr>
        </p:nvSpPr>
        <p:spPr bwMode="gray">
          <a:xfrm>
            <a:off x="4192588" y="0"/>
            <a:ext cx="4951412" cy="5162400"/>
          </a:xfrm>
          <a:custGeom>
            <a:avLst/>
            <a:gdLst>
              <a:gd name="connsiteX0" fmla="*/ 0 w 3851275"/>
              <a:gd name="connsiteY0" fmla="*/ 0 h 5157788"/>
              <a:gd name="connsiteX1" fmla="*/ 3851275 w 3851275"/>
              <a:gd name="connsiteY1" fmla="*/ 0 h 5157788"/>
              <a:gd name="connsiteX2" fmla="*/ 3851275 w 3851275"/>
              <a:gd name="connsiteY2" fmla="*/ 5157788 h 5157788"/>
              <a:gd name="connsiteX3" fmla="*/ 0 w 3851275"/>
              <a:gd name="connsiteY3" fmla="*/ 5157788 h 5157788"/>
              <a:gd name="connsiteX4" fmla="*/ 0 w 3851275"/>
              <a:gd name="connsiteY4"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0 w 3851275"/>
              <a:gd name="connsiteY3" fmla="*/ 5157788 h 5157788"/>
              <a:gd name="connsiteX4" fmla="*/ 1692275 w 3851275"/>
              <a:gd name="connsiteY4" fmla="*/ 0 h 5157788"/>
              <a:gd name="connsiteX0" fmla="*/ 0 w 2159000"/>
              <a:gd name="connsiteY0" fmla="*/ 0 h 5157788"/>
              <a:gd name="connsiteX1" fmla="*/ 2159000 w 2159000"/>
              <a:gd name="connsiteY1" fmla="*/ 0 h 5157788"/>
              <a:gd name="connsiteX2" fmla="*/ 2159000 w 2159000"/>
              <a:gd name="connsiteY2" fmla="*/ 5157788 h 5157788"/>
              <a:gd name="connsiteX3" fmla="*/ 0 w 2159000"/>
              <a:gd name="connsiteY3" fmla="*/ 5157788 h 5157788"/>
              <a:gd name="connsiteX4" fmla="*/ 0 w 2159000"/>
              <a:gd name="connsiteY4" fmla="*/ 0 h 5157788"/>
              <a:gd name="connsiteX0" fmla="*/ 2625271 w 4784271"/>
              <a:gd name="connsiteY0" fmla="*/ 0 h 5157788"/>
              <a:gd name="connsiteX1" fmla="*/ 4784271 w 4784271"/>
              <a:gd name="connsiteY1" fmla="*/ 0 h 5157788"/>
              <a:gd name="connsiteX2" fmla="*/ 4784271 w 4784271"/>
              <a:gd name="connsiteY2" fmla="*/ 5157788 h 5157788"/>
              <a:gd name="connsiteX3" fmla="*/ 2625271 w 4784271"/>
              <a:gd name="connsiteY3" fmla="*/ 5157788 h 5157788"/>
              <a:gd name="connsiteX4" fmla="*/ 2625271 w 4784271"/>
              <a:gd name="connsiteY4" fmla="*/ 0 h 5157788"/>
              <a:gd name="connsiteX0" fmla="*/ 2625271 w 4784271"/>
              <a:gd name="connsiteY0" fmla="*/ 0 h 5157788"/>
              <a:gd name="connsiteX1" fmla="*/ 4784271 w 4784271"/>
              <a:gd name="connsiteY1" fmla="*/ 0 h 5157788"/>
              <a:gd name="connsiteX2" fmla="*/ 4784271 w 4784271"/>
              <a:gd name="connsiteY2" fmla="*/ 5157788 h 5157788"/>
              <a:gd name="connsiteX3" fmla="*/ 2625271 w 4784271"/>
              <a:gd name="connsiteY3" fmla="*/ 5157788 h 5157788"/>
              <a:gd name="connsiteX4" fmla="*/ 2625271 w 4784271"/>
              <a:gd name="connsiteY4" fmla="*/ 0 h 5157788"/>
              <a:gd name="connsiteX0" fmla="*/ 3568576 w 5727576"/>
              <a:gd name="connsiteY0" fmla="*/ 0 h 5157788"/>
              <a:gd name="connsiteX1" fmla="*/ 5727576 w 5727576"/>
              <a:gd name="connsiteY1" fmla="*/ 0 h 5157788"/>
              <a:gd name="connsiteX2" fmla="*/ 5727576 w 5727576"/>
              <a:gd name="connsiteY2" fmla="*/ 5157788 h 5157788"/>
              <a:gd name="connsiteX3" fmla="*/ 3568576 w 5727576"/>
              <a:gd name="connsiteY3" fmla="*/ 5157788 h 5157788"/>
              <a:gd name="connsiteX4" fmla="*/ 3568576 w 5727576"/>
              <a:gd name="connsiteY4" fmla="*/ 0 h 5157788"/>
              <a:gd name="connsiteX0" fmla="*/ 3306355 w 5465355"/>
              <a:gd name="connsiteY0" fmla="*/ 0 h 5157788"/>
              <a:gd name="connsiteX1" fmla="*/ 5465355 w 5465355"/>
              <a:gd name="connsiteY1" fmla="*/ 0 h 5157788"/>
              <a:gd name="connsiteX2" fmla="*/ 5465355 w 5465355"/>
              <a:gd name="connsiteY2" fmla="*/ 5157788 h 5157788"/>
              <a:gd name="connsiteX3" fmla="*/ 3306355 w 5465355"/>
              <a:gd name="connsiteY3" fmla="*/ 5157788 h 5157788"/>
              <a:gd name="connsiteX4" fmla="*/ 3306355 w 5465355"/>
              <a:gd name="connsiteY4" fmla="*/ 0 h 5157788"/>
              <a:gd name="connsiteX0" fmla="*/ 1416957 w 3575957"/>
              <a:gd name="connsiteY0" fmla="*/ 0 h 5157788"/>
              <a:gd name="connsiteX1" fmla="*/ 3575957 w 3575957"/>
              <a:gd name="connsiteY1" fmla="*/ 0 h 5157788"/>
              <a:gd name="connsiteX2" fmla="*/ 3575957 w 3575957"/>
              <a:gd name="connsiteY2" fmla="*/ 5157788 h 5157788"/>
              <a:gd name="connsiteX3" fmla="*/ 1416957 w 3575957"/>
              <a:gd name="connsiteY3" fmla="*/ 5157788 h 5157788"/>
              <a:gd name="connsiteX4" fmla="*/ 0 w 3575957"/>
              <a:gd name="connsiteY4" fmla="*/ 3339193 h 5157788"/>
              <a:gd name="connsiteX5" fmla="*/ 1416957 w 3575957"/>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6017419"/>
              <a:gd name="connsiteX1" fmla="*/ 3851275 w 3851275"/>
              <a:gd name="connsiteY1" fmla="*/ 0 h 6017419"/>
              <a:gd name="connsiteX2" fmla="*/ 3851275 w 3851275"/>
              <a:gd name="connsiteY2" fmla="*/ 5157788 h 6017419"/>
              <a:gd name="connsiteX3" fmla="*/ 1692275 w 3851275"/>
              <a:gd name="connsiteY3" fmla="*/ 5157788 h 6017419"/>
              <a:gd name="connsiteX4" fmla="*/ 0 w 3851275"/>
              <a:gd name="connsiteY4" fmla="*/ 3284984 h 6017419"/>
              <a:gd name="connsiteX5" fmla="*/ 1692275 w 3851275"/>
              <a:gd name="connsiteY5" fmla="*/ 0 h 6017419"/>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429000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429000 h 5157788"/>
              <a:gd name="connsiteX5" fmla="*/ 1710871 w 3869871"/>
              <a:gd name="connsiteY5" fmla="*/ 0 h 5157788"/>
              <a:gd name="connsiteX0" fmla="*/ 1704975 w 3863975"/>
              <a:gd name="connsiteY0" fmla="*/ 0 h 5157788"/>
              <a:gd name="connsiteX1" fmla="*/ 3863975 w 3863975"/>
              <a:gd name="connsiteY1" fmla="*/ 0 h 5157788"/>
              <a:gd name="connsiteX2" fmla="*/ 3863975 w 3863975"/>
              <a:gd name="connsiteY2" fmla="*/ 5157788 h 5157788"/>
              <a:gd name="connsiteX3" fmla="*/ 1704975 w 3863975"/>
              <a:gd name="connsiteY3" fmla="*/ 5157788 h 5157788"/>
              <a:gd name="connsiteX4" fmla="*/ 12700 w 3863975"/>
              <a:gd name="connsiteY4" fmla="*/ 3429000 h 5157788"/>
              <a:gd name="connsiteX5" fmla="*/ 1704975 w 3863975"/>
              <a:gd name="connsiteY5" fmla="*/ 0 h 5157788"/>
              <a:gd name="connsiteX0" fmla="*/ 1707243 w 3866243"/>
              <a:gd name="connsiteY0" fmla="*/ 0 h 5157788"/>
              <a:gd name="connsiteX1" fmla="*/ 3866243 w 3866243"/>
              <a:gd name="connsiteY1" fmla="*/ 0 h 5157788"/>
              <a:gd name="connsiteX2" fmla="*/ 3866243 w 3866243"/>
              <a:gd name="connsiteY2" fmla="*/ 5157788 h 5157788"/>
              <a:gd name="connsiteX3" fmla="*/ 1707243 w 3866243"/>
              <a:gd name="connsiteY3" fmla="*/ 5157788 h 5157788"/>
              <a:gd name="connsiteX4" fmla="*/ 14968 w 3866243"/>
              <a:gd name="connsiteY4" fmla="*/ 3429000 h 5157788"/>
              <a:gd name="connsiteX5" fmla="*/ 1707243 w 3866243"/>
              <a:gd name="connsiteY5" fmla="*/ 0 h 5157788"/>
              <a:gd name="connsiteX0" fmla="*/ 1130447 w 3866243"/>
              <a:gd name="connsiteY0" fmla="*/ 0 h 5157788"/>
              <a:gd name="connsiteX1" fmla="*/ 3866243 w 3866243"/>
              <a:gd name="connsiteY1" fmla="*/ 0 h 5157788"/>
              <a:gd name="connsiteX2" fmla="*/ 3866243 w 3866243"/>
              <a:gd name="connsiteY2" fmla="*/ 5157788 h 5157788"/>
              <a:gd name="connsiteX3" fmla="*/ 1707243 w 3866243"/>
              <a:gd name="connsiteY3" fmla="*/ 5157788 h 5157788"/>
              <a:gd name="connsiteX4" fmla="*/ 14968 w 3866243"/>
              <a:gd name="connsiteY4" fmla="*/ 3429000 h 5157788"/>
              <a:gd name="connsiteX5" fmla="*/ 1130447 w 3866243"/>
              <a:gd name="connsiteY5" fmla="*/ 0 h 5157788"/>
              <a:gd name="connsiteX0" fmla="*/ 2746143 w 5481939"/>
              <a:gd name="connsiteY0" fmla="*/ 0 h 5157788"/>
              <a:gd name="connsiteX1" fmla="*/ 5481939 w 5481939"/>
              <a:gd name="connsiteY1" fmla="*/ 0 h 5157788"/>
              <a:gd name="connsiteX2" fmla="*/ 5481939 w 5481939"/>
              <a:gd name="connsiteY2" fmla="*/ 5157788 h 5157788"/>
              <a:gd name="connsiteX3" fmla="*/ 585903 w 5481939"/>
              <a:gd name="connsiteY3" fmla="*/ 5153180 h 5157788"/>
              <a:gd name="connsiteX4" fmla="*/ 1630664 w 5481939"/>
              <a:gd name="connsiteY4" fmla="*/ 3429000 h 5157788"/>
              <a:gd name="connsiteX5" fmla="*/ 2746143 w 5481939"/>
              <a:gd name="connsiteY5" fmla="*/ 0 h 5157788"/>
              <a:gd name="connsiteX0" fmla="*/ 2746143 w 5481939"/>
              <a:gd name="connsiteY0" fmla="*/ 0 h 5157788"/>
              <a:gd name="connsiteX1" fmla="*/ 5481939 w 5481939"/>
              <a:gd name="connsiteY1" fmla="*/ 0 h 5157788"/>
              <a:gd name="connsiteX2" fmla="*/ 5481939 w 5481939"/>
              <a:gd name="connsiteY2" fmla="*/ 5157788 h 5157788"/>
              <a:gd name="connsiteX3" fmla="*/ 585903 w 5481939"/>
              <a:gd name="connsiteY3" fmla="*/ 5153180 h 5157788"/>
              <a:gd name="connsiteX4" fmla="*/ 1630664 w 5481939"/>
              <a:gd name="connsiteY4" fmla="*/ 3429000 h 5157788"/>
              <a:gd name="connsiteX5" fmla="*/ 2746143 w 548193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3574235 w 6310031"/>
              <a:gd name="connsiteY0" fmla="*/ 0 h 5157788"/>
              <a:gd name="connsiteX1" fmla="*/ 6310031 w 6310031"/>
              <a:gd name="connsiteY1" fmla="*/ 0 h 5157788"/>
              <a:gd name="connsiteX2" fmla="*/ 6310031 w 6310031"/>
              <a:gd name="connsiteY2" fmla="*/ 5157788 h 5157788"/>
              <a:gd name="connsiteX3" fmla="*/ 585903 w 6310031"/>
              <a:gd name="connsiteY3" fmla="*/ 5153180 h 5157788"/>
              <a:gd name="connsiteX4" fmla="*/ 1738031 w 6310031"/>
              <a:gd name="connsiteY4" fmla="*/ 3389965 h 5157788"/>
              <a:gd name="connsiteX5" fmla="*/ 3574235 w 6310031"/>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296143 w 5724128"/>
              <a:gd name="connsiteY4" fmla="*/ 3461908 h 5157788"/>
              <a:gd name="connsiteX5" fmla="*/ 2988332 w 5724128"/>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1188132 w 5760132"/>
              <a:gd name="connsiteY4" fmla="*/ 3425937 h 5157788"/>
              <a:gd name="connsiteX5" fmla="*/ 3024336 w 5760132"/>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2736304 w 5760132"/>
              <a:gd name="connsiteY4" fmla="*/ 3461908 h 5157788"/>
              <a:gd name="connsiteX5" fmla="*/ 3024336 w 5760132"/>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2736304 w 5760132"/>
              <a:gd name="connsiteY4" fmla="*/ 3461908 h 5157788"/>
              <a:gd name="connsiteX5" fmla="*/ 3024336 w 5760132"/>
              <a:gd name="connsiteY5" fmla="*/ 0 h 5157788"/>
              <a:gd name="connsiteX0" fmla="*/ 2160240 w 4896036"/>
              <a:gd name="connsiteY0" fmla="*/ 0 h 5157788"/>
              <a:gd name="connsiteX1" fmla="*/ 4896036 w 4896036"/>
              <a:gd name="connsiteY1" fmla="*/ 0 h 5157788"/>
              <a:gd name="connsiteX2" fmla="*/ 4896036 w 4896036"/>
              <a:gd name="connsiteY2" fmla="*/ 5157788 h 5157788"/>
              <a:gd name="connsiteX3" fmla="*/ 0 w 4896036"/>
              <a:gd name="connsiteY3" fmla="*/ 5153180 h 5157788"/>
              <a:gd name="connsiteX4" fmla="*/ 1872208 w 4896036"/>
              <a:gd name="connsiteY4" fmla="*/ 3461908 h 5157788"/>
              <a:gd name="connsiteX5" fmla="*/ 2160240 w 4896036"/>
              <a:gd name="connsiteY5" fmla="*/ 0 h 5157788"/>
              <a:gd name="connsiteX0" fmla="*/ 2232248 w 4968044"/>
              <a:gd name="connsiteY0" fmla="*/ 0 h 5157788"/>
              <a:gd name="connsiteX1" fmla="*/ 4968044 w 4968044"/>
              <a:gd name="connsiteY1" fmla="*/ 0 h 5157788"/>
              <a:gd name="connsiteX2" fmla="*/ 4968044 w 4968044"/>
              <a:gd name="connsiteY2" fmla="*/ 5157788 h 5157788"/>
              <a:gd name="connsiteX3" fmla="*/ 0 w 4968044"/>
              <a:gd name="connsiteY3" fmla="*/ 5153180 h 5157788"/>
              <a:gd name="connsiteX4" fmla="*/ 1944216 w 4968044"/>
              <a:gd name="connsiteY4" fmla="*/ 3461908 h 5157788"/>
              <a:gd name="connsiteX5" fmla="*/ 2232248 w 4968044"/>
              <a:gd name="connsiteY5" fmla="*/ 0 h 5157788"/>
              <a:gd name="connsiteX0" fmla="*/ 2207679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207679 w 4943475"/>
              <a:gd name="connsiteY5" fmla="*/ 0 h 5157788"/>
              <a:gd name="connsiteX0" fmla="*/ 2963763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963763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092200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71575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343583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675731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675731 w 4943475"/>
              <a:gd name="connsiteY5" fmla="*/ 0 h 5157788"/>
              <a:gd name="connsiteX0" fmla="*/ 2675731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675731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9672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19672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51412" h="5157788">
                <a:moveTo>
                  <a:pt x="2706687" y="0"/>
                </a:moveTo>
                <a:lnTo>
                  <a:pt x="4951412" y="0"/>
                </a:lnTo>
                <a:lnTo>
                  <a:pt x="4951412" y="5157788"/>
                </a:lnTo>
                <a:lnTo>
                  <a:pt x="0" y="5153180"/>
                </a:lnTo>
                <a:cubicBezTo>
                  <a:pt x="84411" y="4542509"/>
                  <a:pt x="183041" y="4024723"/>
                  <a:pt x="1243508" y="2562613"/>
                </a:cubicBezTo>
                <a:cubicBezTo>
                  <a:pt x="1867447" y="1704780"/>
                  <a:pt x="2665955" y="709265"/>
                  <a:pt x="2706687" y="0"/>
                </a:cubicBezTo>
                <a:close/>
              </a:path>
            </a:pathLst>
          </a:custGeom>
          <a:solidFill>
            <a:schemeClr val="bg2"/>
          </a:solidFill>
          <a:ln w="3175">
            <a:noFill/>
          </a:ln>
        </p:spPr>
        <p:txBody>
          <a:bodyPr tIns="720000" rtlCol="0" anchor="ctr">
            <a:noAutofit/>
          </a:bodyPr>
          <a:lstStyle>
            <a:lvl1pPr algn="ctr">
              <a:defRPr sz="1500">
                <a:solidFill>
                  <a:schemeClr val="bg1"/>
                </a:solidFill>
              </a:defRPr>
            </a:lvl1pPr>
          </a:lstStyle>
          <a:p>
            <a:pPr lvl="0"/>
            <a:r>
              <a:rPr lang="en-US" noProof="0"/>
              <a:t>Click icon to add picture</a:t>
            </a:r>
          </a:p>
        </p:txBody>
      </p:sp>
      <p:sp>
        <p:nvSpPr>
          <p:cNvPr id="14" name="Espace réservé de la date 9"/>
          <p:cNvSpPr>
            <a:spLocks noGrp="1"/>
          </p:cNvSpPr>
          <p:nvPr>
            <p:ph type="dt" sz="half" idx="21"/>
          </p:nvPr>
        </p:nvSpPr>
        <p:spPr/>
        <p:txBody>
          <a:bodyPr/>
          <a:lstStyle>
            <a:lvl1pPr>
              <a:defRPr/>
            </a:lvl1pPr>
          </a:lstStyle>
          <a:p>
            <a:pPr>
              <a:defRPr/>
            </a:pPr>
            <a:r>
              <a:rPr lang="en-US">
                <a:solidFill>
                  <a:prstClr val="white">
                    <a:alpha val="0"/>
                  </a:prstClr>
                </a:solidFill>
              </a:rPr>
              <a:t>Date</a:t>
            </a:r>
          </a:p>
        </p:txBody>
      </p:sp>
      <p:sp>
        <p:nvSpPr>
          <p:cNvPr id="16" name="Espace réservé du numéro de diapositive 10"/>
          <p:cNvSpPr>
            <a:spLocks noGrp="1"/>
          </p:cNvSpPr>
          <p:nvPr>
            <p:ph type="sldNum" sz="quarter" idx="22"/>
          </p:nvPr>
        </p:nvSpPr>
        <p:spPr/>
        <p:txBody>
          <a:bodyPr/>
          <a:lstStyle>
            <a:lvl1pPr>
              <a:defRPr sz="100">
                <a:solidFill>
                  <a:schemeClr val="bg1">
                    <a:alpha val="0"/>
                  </a:schemeClr>
                </a:solidFill>
              </a:defRPr>
            </a:lvl1pPr>
          </a:lstStyle>
          <a:p>
            <a:pPr>
              <a:defRPr/>
            </a:pPr>
            <a:r>
              <a:rPr lang="en-US">
                <a:solidFill>
                  <a:prstClr val="white">
                    <a:alpha val="0"/>
                  </a:prstClr>
                </a:solidFill>
              </a:rPr>
              <a:t>Page: </a:t>
            </a:r>
            <a:fld id="{A170035D-6B8C-439A-85EA-19B5ADE5A975}" type="slidenum">
              <a:rPr lang="en-US">
                <a:solidFill>
                  <a:prstClr val="white">
                    <a:alpha val="0"/>
                  </a:prstClr>
                </a:solidFill>
              </a:rPr>
              <a:pPr>
                <a:defRPr/>
              </a:pPr>
              <a:t>‹#›</a:t>
            </a:fld>
            <a:endParaRPr lang="en-US">
              <a:solidFill>
                <a:prstClr val="white">
                  <a:alpha val="0"/>
                </a:prstClr>
              </a:solidFill>
            </a:endParaRPr>
          </a:p>
        </p:txBody>
      </p:sp>
      <p:sp>
        <p:nvSpPr>
          <p:cNvPr id="19" name="Espace réservé du pied de page 11"/>
          <p:cNvSpPr>
            <a:spLocks noGrp="1"/>
          </p:cNvSpPr>
          <p:nvPr>
            <p:ph type="ftr" sz="quarter" idx="23"/>
          </p:nvPr>
        </p:nvSpPr>
        <p:spPr>
          <a:xfrm>
            <a:off x="468313" y="523875"/>
            <a:ext cx="4824412" cy="360363"/>
          </a:xfrm>
        </p:spPr>
        <p:txBody>
          <a:bodyPr/>
          <a:lstStyle>
            <a:lvl1pPr algn="l">
              <a:defRPr sz="1800" b="0">
                <a:solidFill>
                  <a:schemeClr val="bg1"/>
                </a:solidFill>
              </a:defRPr>
            </a:lvl1pPr>
          </a:lstStyle>
          <a:p>
            <a:pPr>
              <a:defRPr/>
            </a:pPr>
            <a:r>
              <a:rPr lang="en-US">
                <a:solidFill>
                  <a:prstClr val="white"/>
                </a:solidFill>
              </a:rPr>
              <a:t>#</a:t>
            </a:r>
            <a:r>
              <a:rPr lang="en-US" err="1">
                <a:solidFill>
                  <a:prstClr val="white"/>
                </a:solidFill>
              </a:rPr>
              <a:t>vaccineswork</a:t>
            </a:r>
            <a:endParaRPr lang="en-US">
              <a:solidFill>
                <a:prstClr val="white"/>
              </a:solidFill>
            </a:endParaRPr>
          </a:p>
        </p:txBody>
      </p:sp>
    </p:spTree>
    <p:extLst>
      <p:ext uri="{BB962C8B-B14F-4D97-AF65-F5344CB8AC3E}">
        <p14:creationId xmlns:p14="http://schemas.microsoft.com/office/powerpoint/2010/main" val="2289637913"/>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Chapter_Layout">
    <p:spTree>
      <p:nvGrpSpPr>
        <p:cNvPr id="1" name=""/>
        <p:cNvGrpSpPr/>
        <p:nvPr/>
      </p:nvGrpSpPr>
      <p:grpSpPr>
        <a:xfrm>
          <a:off x="0" y="0"/>
          <a:ext cx="0" cy="0"/>
          <a:chOff x="0" y="0"/>
          <a:chExt cx="0" cy="0"/>
        </a:xfrm>
      </p:grpSpPr>
      <p:pic>
        <p:nvPicPr>
          <p:cNvPr id="6" name="Image 17" descr="FD_03_chap_110x190,5.pn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gray">
          <a:xfrm>
            <a:off x="0" y="0"/>
            <a:ext cx="3959225" cy="68580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cxnSp>
        <p:nvCxnSpPr>
          <p:cNvPr id="7" name="Connecteur droit 14"/>
          <p:cNvCxnSpPr/>
          <p:nvPr userDrawn="1"/>
        </p:nvCxnSpPr>
        <p:spPr bwMode="gray">
          <a:xfrm flipH="1">
            <a:off x="3635375" y="2389188"/>
            <a:ext cx="1584325" cy="0"/>
          </a:xfrm>
          <a:prstGeom prst="line">
            <a:avLst/>
          </a:prstGeom>
          <a:ln w="24130">
            <a:solidFill>
              <a:schemeClr val="accent1"/>
            </a:solidFill>
          </a:ln>
        </p:spPr>
        <p:style>
          <a:lnRef idx="1">
            <a:schemeClr val="accent1"/>
          </a:lnRef>
          <a:fillRef idx="0">
            <a:schemeClr val="accent1"/>
          </a:fillRef>
          <a:effectRef idx="0">
            <a:schemeClr val="accent1"/>
          </a:effectRef>
          <a:fontRef idx="minor">
            <a:schemeClr val="tx1"/>
          </a:fontRef>
        </p:style>
      </p:cxnSp>
      <p:sp>
        <p:nvSpPr>
          <p:cNvPr id="2" name="Titre 1"/>
          <p:cNvSpPr>
            <a:spLocks noGrp="1"/>
          </p:cNvSpPr>
          <p:nvPr>
            <p:ph type="title"/>
          </p:nvPr>
        </p:nvSpPr>
        <p:spPr bwMode="gray">
          <a:xfrm>
            <a:off x="3635374" y="1036638"/>
            <a:ext cx="3263901" cy="1268759"/>
          </a:xfrm>
        </p:spPr>
        <p:txBody>
          <a:bodyPr/>
          <a:lstStyle/>
          <a:p>
            <a:r>
              <a:rPr lang="en-US" noProof="0"/>
              <a:t>Click to edit Master title style</a:t>
            </a:r>
          </a:p>
        </p:txBody>
      </p:sp>
      <p:sp>
        <p:nvSpPr>
          <p:cNvPr id="10" name="Espace réservé du texte 9"/>
          <p:cNvSpPr>
            <a:spLocks noGrp="1"/>
          </p:cNvSpPr>
          <p:nvPr>
            <p:ph type="body" sz="quarter" idx="13"/>
          </p:nvPr>
        </p:nvSpPr>
        <p:spPr bwMode="gray">
          <a:xfrm>
            <a:off x="3635376" y="2574000"/>
            <a:ext cx="3263900" cy="3447388"/>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Espace réservé du texte 9"/>
          <p:cNvSpPr>
            <a:spLocks noGrp="1"/>
          </p:cNvSpPr>
          <p:nvPr>
            <p:ph type="body" sz="quarter" idx="14"/>
          </p:nvPr>
        </p:nvSpPr>
        <p:spPr bwMode="gray">
          <a:xfrm>
            <a:off x="0" y="139974"/>
            <a:ext cx="2628000" cy="5017814"/>
          </a:xfrm>
        </p:spPr>
        <p:txBody>
          <a:bodyPr/>
          <a:lstStyle>
            <a:lvl1pPr algn="r">
              <a:defRPr sz="16600" b="1">
                <a:solidFill>
                  <a:schemeClr val="bg1"/>
                </a:solidFill>
              </a:defRPr>
            </a:lvl1pPr>
          </a:lstStyle>
          <a:p>
            <a:pPr lvl="0"/>
            <a:r>
              <a:rPr lang="en-US" noProof="0"/>
              <a:t>Click to edit Master text styles</a:t>
            </a:r>
          </a:p>
        </p:txBody>
      </p:sp>
      <p:sp>
        <p:nvSpPr>
          <p:cNvPr id="19" name="Espace réservé pour une image  17"/>
          <p:cNvSpPr>
            <a:spLocks noGrp="1"/>
          </p:cNvSpPr>
          <p:nvPr>
            <p:ph type="pic" sz="quarter" idx="18"/>
          </p:nvPr>
        </p:nvSpPr>
        <p:spPr bwMode="gray">
          <a:xfrm>
            <a:off x="7254332" y="132082"/>
            <a:ext cx="1899827" cy="5812641"/>
          </a:xfrm>
          <a:custGeom>
            <a:avLst/>
            <a:gdLst>
              <a:gd name="connsiteX0" fmla="*/ 0 w 3851275"/>
              <a:gd name="connsiteY0" fmla="*/ 0 h 5157788"/>
              <a:gd name="connsiteX1" fmla="*/ 3851275 w 3851275"/>
              <a:gd name="connsiteY1" fmla="*/ 0 h 5157788"/>
              <a:gd name="connsiteX2" fmla="*/ 3851275 w 3851275"/>
              <a:gd name="connsiteY2" fmla="*/ 5157788 h 5157788"/>
              <a:gd name="connsiteX3" fmla="*/ 0 w 3851275"/>
              <a:gd name="connsiteY3" fmla="*/ 5157788 h 5157788"/>
              <a:gd name="connsiteX4" fmla="*/ 0 w 3851275"/>
              <a:gd name="connsiteY4"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0 w 3851275"/>
              <a:gd name="connsiteY3" fmla="*/ 5157788 h 5157788"/>
              <a:gd name="connsiteX4" fmla="*/ 1692275 w 3851275"/>
              <a:gd name="connsiteY4" fmla="*/ 0 h 5157788"/>
              <a:gd name="connsiteX0" fmla="*/ 0 w 2159000"/>
              <a:gd name="connsiteY0" fmla="*/ 0 h 5157788"/>
              <a:gd name="connsiteX1" fmla="*/ 2159000 w 2159000"/>
              <a:gd name="connsiteY1" fmla="*/ 0 h 5157788"/>
              <a:gd name="connsiteX2" fmla="*/ 2159000 w 2159000"/>
              <a:gd name="connsiteY2" fmla="*/ 5157788 h 5157788"/>
              <a:gd name="connsiteX3" fmla="*/ 0 w 2159000"/>
              <a:gd name="connsiteY3" fmla="*/ 5157788 h 5157788"/>
              <a:gd name="connsiteX4" fmla="*/ 0 w 2159000"/>
              <a:gd name="connsiteY4" fmla="*/ 0 h 5157788"/>
              <a:gd name="connsiteX0" fmla="*/ 2625271 w 4784271"/>
              <a:gd name="connsiteY0" fmla="*/ 0 h 5157788"/>
              <a:gd name="connsiteX1" fmla="*/ 4784271 w 4784271"/>
              <a:gd name="connsiteY1" fmla="*/ 0 h 5157788"/>
              <a:gd name="connsiteX2" fmla="*/ 4784271 w 4784271"/>
              <a:gd name="connsiteY2" fmla="*/ 5157788 h 5157788"/>
              <a:gd name="connsiteX3" fmla="*/ 2625271 w 4784271"/>
              <a:gd name="connsiteY3" fmla="*/ 5157788 h 5157788"/>
              <a:gd name="connsiteX4" fmla="*/ 2625271 w 4784271"/>
              <a:gd name="connsiteY4" fmla="*/ 0 h 5157788"/>
              <a:gd name="connsiteX0" fmla="*/ 2625271 w 4784271"/>
              <a:gd name="connsiteY0" fmla="*/ 0 h 5157788"/>
              <a:gd name="connsiteX1" fmla="*/ 4784271 w 4784271"/>
              <a:gd name="connsiteY1" fmla="*/ 0 h 5157788"/>
              <a:gd name="connsiteX2" fmla="*/ 4784271 w 4784271"/>
              <a:gd name="connsiteY2" fmla="*/ 5157788 h 5157788"/>
              <a:gd name="connsiteX3" fmla="*/ 2625271 w 4784271"/>
              <a:gd name="connsiteY3" fmla="*/ 5157788 h 5157788"/>
              <a:gd name="connsiteX4" fmla="*/ 2625271 w 4784271"/>
              <a:gd name="connsiteY4" fmla="*/ 0 h 5157788"/>
              <a:gd name="connsiteX0" fmla="*/ 3568576 w 5727576"/>
              <a:gd name="connsiteY0" fmla="*/ 0 h 5157788"/>
              <a:gd name="connsiteX1" fmla="*/ 5727576 w 5727576"/>
              <a:gd name="connsiteY1" fmla="*/ 0 h 5157788"/>
              <a:gd name="connsiteX2" fmla="*/ 5727576 w 5727576"/>
              <a:gd name="connsiteY2" fmla="*/ 5157788 h 5157788"/>
              <a:gd name="connsiteX3" fmla="*/ 3568576 w 5727576"/>
              <a:gd name="connsiteY3" fmla="*/ 5157788 h 5157788"/>
              <a:gd name="connsiteX4" fmla="*/ 3568576 w 5727576"/>
              <a:gd name="connsiteY4" fmla="*/ 0 h 5157788"/>
              <a:gd name="connsiteX0" fmla="*/ 3306355 w 5465355"/>
              <a:gd name="connsiteY0" fmla="*/ 0 h 5157788"/>
              <a:gd name="connsiteX1" fmla="*/ 5465355 w 5465355"/>
              <a:gd name="connsiteY1" fmla="*/ 0 h 5157788"/>
              <a:gd name="connsiteX2" fmla="*/ 5465355 w 5465355"/>
              <a:gd name="connsiteY2" fmla="*/ 5157788 h 5157788"/>
              <a:gd name="connsiteX3" fmla="*/ 3306355 w 5465355"/>
              <a:gd name="connsiteY3" fmla="*/ 5157788 h 5157788"/>
              <a:gd name="connsiteX4" fmla="*/ 3306355 w 5465355"/>
              <a:gd name="connsiteY4" fmla="*/ 0 h 5157788"/>
              <a:gd name="connsiteX0" fmla="*/ 1416957 w 3575957"/>
              <a:gd name="connsiteY0" fmla="*/ 0 h 5157788"/>
              <a:gd name="connsiteX1" fmla="*/ 3575957 w 3575957"/>
              <a:gd name="connsiteY1" fmla="*/ 0 h 5157788"/>
              <a:gd name="connsiteX2" fmla="*/ 3575957 w 3575957"/>
              <a:gd name="connsiteY2" fmla="*/ 5157788 h 5157788"/>
              <a:gd name="connsiteX3" fmla="*/ 1416957 w 3575957"/>
              <a:gd name="connsiteY3" fmla="*/ 5157788 h 5157788"/>
              <a:gd name="connsiteX4" fmla="*/ 0 w 3575957"/>
              <a:gd name="connsiteY4" fmla="*/ 3339193 h 5157788"/>
              <a:gd name="connsiteX5" fmla="*/ 1416957 w 3575957"/>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6017419"/>
              <a:gd name="connsiteX1" fmla="*/ 3851275 w 3851275"/>
              <a:gd name="connsiteY1" fmla="*/ 0 h 6017419"/>
              <a:gd name="connsiteX2" fmla="*/ 3851275 w 3851275"/>
              <a:gd name="connsiteY2" fmla="*/ 5157788 h 6017419"/>
              <a:gd name="connsiteX3" fmla="*/ 1692275 w 3851275"/>
              <a:gd name="connsiteY3" fmla="*/ 5157788 h 6017419"/>
              <a:gd name="connsiteX4" fmla="*/ 0 w 3851275"/>
              <a:gd name="connsiteY4" fmla="*/ 3284984 h 6017419"/>
              <a:gd name="connsiteX5" fmla="*/ 1692275 w 3851275"/>
              <a:gd name="connsiteY5" fmla="*/ 0 h 6017419"/>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429000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429000 h 5157788"/>
              <a:gd name="connsiteX5" fmla="*/ 1710871 w 3869871"/>
              <a:gd name="connsiteY5" fmla="*/ 0 h 5157788"/>
              <a:gd name="connsiteX0" fmla="*/ 1704975 w 3863975"/>
              <a:gd name="connsiteY0" fmla="*/ 0 h 5157788"/>
              <a:gd name="connsiteX1" fmla="*/ 3863975 w 3863975"/>
              <a:gd name="connsiteY1" fmla="*/ 0 h 5157788"/>
              <a:gd name="connsiteX2" fmla="*/ 3863975 w 3863975"/>
              <a:gd name="connsiteY2" fmla="*/ 5157788 h 5157788"/>
              <a:gd name="connsiteX3" fmla="*/ 1704975 w 3863975"/>
              <a:gd name="connsiteY3" fmla="*/ 5157788 h 5157788"/>
              <a:gd name="connsiteX4" fmla="*/ 12700 w 3863975"/>
              <a:gd name="connsiteY4" fmla="*/ 3429000 h 5157788"/>
              <a:gd name="connsiteX5" fmla="*/ 1704975 w 3863975"/>
              <a:gd name="connsiteY5" fmla="*/ 0 h 5157788"/>
              <a:gd name="connsiteX0" fmla="*/ 1707243 w 3866243"/>
              <a:gd name="connsiteY0" fmla="*/ 0 h 5157788"/>
              <a:gd name="connsiteX1" fmla="*/ 3866243 w 3866243"/>
              <a:gd name="connsiteY1" fmla="*/ 0 h 5157788"/>
              <a:gd name="connsiteX2" fmla="*/ 3866243 w 3866243"/>
              <a:gd name="connsiteY2" fmla="*/ 5157788 h 5157788"/>
              <a:gd name="connsiteX3" fmla="*/ 1707243 w 3866243"/>
              <a:gd name="connsiteY3" fmla="*/ 5157788 h 5157788"/>
              <a:gd name="connsiteX4" fmla="*/ 14968 w 3866243"/>
              <a:gd name="connsiteY4" fmla="*/ 3429000 h 5157788"/>
              <a:gd name="connsiteX5" fmla="*/ 1707243 w 3866243"/>
              <a:gd name="connsiteY5" fmla="*/ 0 h 5157788"/>
              <a:gd name="connsiteX0" fmla="*/ 1130447 w 3866243"/>
              <a:gd name="connsiteY0" fmla="*/ 0 h 5157788"/>
              <a:gd name="connsiteX1" fmla="*/ 3866243 w 3866243"/>
              <a:gd name="connsiteY1" fmla="*/ 0 h 5157788"/>
              <a:gd name="connsiteX2" fmla="*/ 3866243 w 3866243"/>
              <a:gd name="connsiteY2" fmla="*/ 5157788 h 5157788"/>
              <a:gd name="connsiteX3" fmla="*/ 1707243 w 3866243"/>
              <a:gd name="connsiteY3" fmla="*/ 5157788 h 5157788"/>
              <a:gd name="connsiteX4" fmla="*/ 14968 w 3866243"/>
              <a:gd name="connsiteY4" fmla="*/ 3429000 h 5157788"/>
              <a:gd name="connsiteX5" fmla="*/ 1130447 w 3866243"/>
              <a:gd name="connsiteY5" fmla="*/ 0 h 5157788"/>
              <a:gd name="connsiteX0" fmla="*/ 2746143 w 5481939"/>
              <a:gd name="connsiteY0" fmla="*/ 0 h 5157788"/>
              <a:gd name="connsiteX1" fmla="*/ 5481939 w 5481939"/>
              <a:gd name="connsiteY1" fmla="*/ 0 h 5157788"/>
              <a:gd name="connsiteX2" fmla="*/ 5481939 w 5481939"/>
              <a:gd name="connsiteY2" fmla="*/ 5157788 h 5157788"/>
              <a:gd name="connsiteX3" fmla="*/ 585903 w 5481939"/>
              <a:gd name="connsiteY3" fmla="*/ 5153180 h 5157788"/>
              <a:gd name="connsiteX4" fmla="*/ 1630664 w 5481939"/>
              <a:gd name="connsiteY4" fmla="*/ 3429000 h 5157788"/>
              <a:gd name="connsiteX5" fmla="*/ 2746143 w 5481939"/>
              <a:gd name="connsiteY5" fmla="*/ 0 h 5157788"/>
              <a:gd name="connsiteX0" fmla="*/ 2746143 w 5481939"/>
              <a:gd name="connsiteY0" fmla="*/ 0 h 5157788"/>
              <a:gd name="connsiteX1" fmla="*/ 5481939 w 5481939"/>
              <a:gd name="connsiteY1" fmla="*/ 0 h 5157788"/>
              <a:gd name="connsiteX2" fmla="*/ 5481939 w 5481939"/>
              <a:gd name="connsiteY2" fmla="*/ 5157788 h 5157788"/>
              <a:gd name="connsiteX3" fmla="*/ 585903 w 5481939"/>
              <a:gd name="connsiteY3" fmla="*/ 5153180 h 5157788"/>
              <a:gd name="connsiteX4" fmla="*/ 1630664 w 5481939"/>
              <a:gd name="connsiteY4" fmla="*/ 3429000 h 5157788"/>
              <a:gd name="connsiteX5" fmla="*/ 2746143 w 548193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3574235 w 6310031"/>
              <a:gd name="connsiteY0" fmla="*/ 0 h 5157788"/>
              <a:gd name="connsiteX1" fmla="*/ 6310031 w 6310031"/>
              <a:gd name="connsiteY1" fmla="*/ 0 h 5157788"/>
              <a:gd name="connsiteX2" fmla="*/ 6310031 w 6310031"/>
              <a:gd name="connsiteY2" fmla="*/ 5157788 h 5157788"/>
              <a:gd name="connsiteX3" fmla="*/ 585903 w 6310031"/>
              <a:gd name="connsiteY3" fmla="*/ 5153180 h 5157788"/>
              <a:gd name="connsiteX4" fmla="*/ 1738031 w 6310031"/>
              <a:gd name="connsiteY4" fmla="*/ 3389965 h 5157788"/>
              <a:gd name="connsiteX5" fmla="*/ 3574235 w 6310031"/>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296143 w 5724128"/>
              <a:gd name="connsiteY4" fmla="*/ 3461908 h 5157788"/>
              <a:gd name="connsiteX5" fmla="*/ 2988332 w 5724128"/>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1188132 w 5760132"/>
              <a:gd name="connsiteY4" fmla="*/ 3425937 h 5157788"/>
              <a:gd name="connsiteX5" fmla="*/ 3024336 w 5760132"/>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2736304 w 5760132"/>
              <a:gd name="connsiteY4" fmla="*/ 3461908 h 5157788"/>
              <a:gd name="connsiteX5" fmla="*/ 3024336 w 5760132"/>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2736304 w 5760132"/>
              <a:gd name="connsiteY4" fmla="*/ 3461908 h 5157788"/>
              <a:gd name="connsiteX5" fmla="*/ 3024336 w 5760132"/>
              <a:gd name="connsiteY5" fmla="*/ 0 h 5157788"/>
              <a:gd name="connsiteX0" fmla="*/ 2160240 w 4896036"/>
              <a:gd name="connsiteY0" fmla="*/ 0 h 5157788"/>
              <a:gd name="connsiteX1" fmla="*/ 4896036 w 4896036"/>
              <a:gd name="connsiteY1" fmla="*/ 0 h 5157788"/>
              <a:gd name="connsiteX2" fmla="*/ 4896036 w 4896036"/>
              <a:gd name="connsiteY2" fmla="*/ 5157788 h 5157788"/>
              <a:gd name="connsiteX3" fmla="*/ 0 w 4896036"/>
              <a:gd name="connsiteY3" fmla="*/ 5153180 h 5157788"/>
              <a:gd name="connsiteX4" fmla="*/ 1872208 w 4896036"/>
              <a:gd name="connsiteY4" fmla="*/ 3461908 h 5157788"/>
              <a:gd name="connsiteX5" fmla="*/ 2160240 w 4896036"/>
              <a:gd name="connsiteY5" fmla="*/ 0 h 5157788"/>
              <a:gd name="connsiteX0" fmla="*/ 2232248 w 4968044"/>
              <a:gd name="connsiteY0" fmla="*/ 0 h 5157788"/>
              <a:gd name="connsiteX1" fmla="*/ 4968044 w 4968044"/>
              <a:gd name="connsiteY1" fmla="*/ 0 h 5157788"/>
              <a:gd name="connsiteX2" fmla="*/ 4968044 w 4968044"/>
              <a:gd name="connsiteY2" fmla="*/ 5157788 h 5157788"/>
              <a:gd name="connsiteX3" fmla="*/ 0 w 4968044"/>
              <a:gd name="connsiteY3" fmla="*/ 5153180 h 5157788"/>
              <a:gd name="connsiteX4" fmla="*/ 1944216 w 4968044"/>
              <a:gd name="connsiteY4" fmla="*/ 3461908 h 5157788"/>
              <a:gd name="connsiteX5" fmla="*/ 2232248 w 4968044"/>
              <a:gd name="connsiteY5" fmla="*/ 0 h 5157788"/>
              <a:gd name="connsiteX0" fmla="*/ 2207679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207679 w 4943475"/>
              <a:gd name="connsiteY5" fmla="*/ 0 h 5157788"/>
              <a:gd name="connsiteX0" fmla="*/ 2963763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963763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092200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71575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343583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675731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675731 w 4943475"/>
              <a:gd name="connsiteY5" fmla="*/ 0 h 5157788"/>
              <a:gd name="connsiteX0" fmla="*/ 2675731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675731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9672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19672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1668519 w 3913244"/>
              <a:gd name="connsiteY0" fmla="*/ 0 h 5183692"/>
              <a:gd name="connsiteX1" fmla="*/ 3913244 w 3913244"/>
              <a:gd name="connsiteY1" fmla="*/ 0 h 5183692"/>
              <a:gd name="connsiteX2" fmla="*/ 3913244 w 3913244"/>
              <a:gd name="connsiteY2" fmla="*/ 5157788 h 5183692"/>
              <a:gd name="connsiteX3" fmla="*/ 2456872 w 3913244"/>
              <a:gd name="connsiteY3" fmla="*/ 5183633 h 5183692"/>
              <a:gd name="connsiteX4" fmla="*/ 205340 w 3913244"/>
              <a:gd name="connsiteY4" fmla="*/ 2562613 h 5183692"/>
              <a:gd name="connsiteX5" fmla="*/ 1668519 w 3913244"/>
              <a:gd name="connsiteY5" fmla="*/ 0 h 5183692"/>
              <a:gd name="connsiteX0" fmla="*/ 1668519 w 3923404"/>
              <a:gd name="connsiteY0" fmla="*/ 0 h 5939409"/>
              <a:gd name="connsiteX1" fmla="*/ 3913244 w 3923404"/>
              <a:gd name="connsiteY1" fmla="*/ 0 h 5939409"/>
              <a:gd name="connsiteX2" fmla="*/ 3923404 w 3923404"/>
              <a:gd name="connsiteY2" fmla="*/ 5939409 h 5939409"/>
              <a:gd name="connsiteX3" fmla="*/ 2456872 w 3923404"/>
              <a:gd name="connsiteY3" fmla="*/ 5183633 h 5939409"/>
              <a:gd name="connsiteX4" fmla="*/ 205340 w 3923404"/>
              <a:gd name="connsiteY4" fmla="*/ 2562613 h 5939409"/>
              <a:gd name="connsiteX5" fmla="*/ 1668519 w 3923404"/>
              <a:gd name="connsiteY5" fmla="*/ 0 h 5939409"/>
              <a:gd name="connsiteX0" fmla="*/ 1668519 w 3923404"/>
              <a:gd name="connsiteY0" fmla="*/ 0 h 5939409"/>
              <a:gd name="connsiteX1" fmla="*/ 3913244 w 3923404"/>
              <a:gd name="connsiteY1" fmla="*/ 0 h 5939409"/>
              <a:gd name="connsiteX2" fmla="*/ 3923404 w 3923404"/>
              <a:gd name="connsiteY2" fmla="*/ 5939409 h 5939409"/>
              <a:gd name="connsiteX3" fmla="*/ 2456872 w 3923404"/>
              <a:gd name="connsiteY3" fmla="*/ 5183633 h 5939409"/>
              <a:gd name="connsiteX4" fmla="*/ 205340 w 3923404"/>
              <a:gd name="connsiteY4" fmla="*/ 2562613 h 5939409"/>
              <a:gd name="connsiteX5" fmla="*/ 1668519 w 3923404"/>
              <a:gd name="connsiteY5" fmla="*/ 0 h 5939409"/>
              <a:gd name="connsiteX0" fmla="*/ 1696047 w 3950932"/>
              <a:gd name="connsiteY0" fmla="*/ 0 h 5939409"/>
              <a:gd name="connsiteX1" fmla="*/ 3940772 w 3950932"/>
              <a:gd name="connsiteY1" fmla="*/ 0 h 5939409"/>
              <a:gd name="connsiteX2" fmla="*/ 3950932 w 3950932"/>
              <a:gd name="connsiteY2" fmla="*/ 5939409 h 5939409"/>
              <a:gd name="connsiteX3" fmla="*/ 2484400 w 3950932"/>
              <a:gd name="connsiteY3" fmla="*/ 5183633 h 5939409"/>
              <a:gd name="connsiteX4" fmla="*/ 232868 w 3950932"/>
              <a:gd name="connsiteY4" fmla="*/ 2562613 h 5939409"/>
              <a:gd name="connsiteX5" fmla="*/ 1696047 w 3950932"/>
              <a:gd name="connsiteY5" fmla="*/ 0 h 5939409"/>
              <a:gd name="connsiteX0" fmla="*/ 1463179 w 3718064"/>
              <a:gd name="connsiteY0" fmla="*/ 0 h 5983194"/>
              <a:gd name="connsiteX1" fmla="*/ 3707904 w 3718064"/>
              <a:gd name="connsiteY1" fmla="*/ 0 h 5983194"/>
              <a:gd name="connsiteX2" fmla="*/ 3718064 w 3718064"/>
              <a:gd name="connsiteY2" fmla="*/ 5939409 h 5983194"/>
              <a:gd name="connsiteX3" fmla="*/ 0 w 3718064"/>
              <a:gd name="connsiteY3" fmla="*/ 2562613 h 5983194"/>
              <a:gd name="connsiteX4" fmla="*/ 1463179 w 3718064"/>
              <a:gd name="connsiteY4" fmla="*/ 0 h 5983194"/>
              <a:gd name="connsiteX0" fmla="*/ 1464005 w 3718890"/>
              <a:gd name="connsiteY0" fmla="*/ 0 h 5987401"/>
              <a:gd name="connsiteX1" fmla="*/ 3708730 w 3718890"/>
              <a:gd name="connsiteY1" fmla="*/ 0 h 5987401"/>
              <a:gd name="connsiteX2" fmla="*/ 3718890 w 3718890"/>
              <a:gd name="connsiteY2" fmla="*/ 5939409 h 5987401"/>
              <a:gd name="connsiteX3" fmla="*/ 826 w 3718890"/>
              <a:gd name="connsiteY3" fmla="*/ 2562613 h 5987401"/>
              <a:gd name="connsiteX4" fmla="*/ 1464005 w 3718890"/>
              <a:gd name="connsiteY4" fmla="*/ 0 h 5987401"/>
              <a:gd name="connsiteX0" fmla="*/ 1267 w 2256152"/>
              <a:gd name="connsiteY0" fmla="*/ 0 h 6002954"/>
              <a:gd name="connsiteX1" fmla="*/ 2245992 w 2256152"/>
              <a:gd name="connsiteY1" fmla="*/ 0 h 6002954"/>
              <a:gd name="connsiteX2" fmla="*/ 2256152 w 2256152"/>
              <a:gd name="connsiteY2" fmla="*/ 5939409 h 6002954"/>
              <a:gd name="connsiteX3" fmla="*/ 956168 w 2256152"/>
              <a:gd name="connsiteY3" fmla="*/ 3273178 h 6002954"/>
              <a:gd name="connsiteX4" fmla="*/ 1267 w 2256152"/>
              <a:gd name="connsiteY4" fmla="*/ 0 h 6002954"/>
              <a:gd name="connsiteX0" fmla="*/ 2 w 1299986"/>
              <a:gd name="connsiteY0" fmla="*/ 3321709 h 6044422"/>
              <a:gd name="connsiteX1" fmla="*/ 1289826 w 1299986"/>
              <a:gd name="connsiteY1" fmla="*/ 48531 h 6044422"/>
              <a:gd name="connsiteX2" fmla="*/ 1299986 w 1299986"/>
              <a:gd name="connsiteY2" fmla="*/ 5987940 h 6044422"/>
              <a:gd name="connsiteX3" fmla="*/ 2 w 1299986"/>
              <a:gd name="connsiteY3" fmla="*/ 3321709 h 6044422"/>
              <a:gd name="connsiteX0" fmla="*/ 2 w 1299986"/>
              <a:gd name="connsiteY0" fmla="*/ 3273178 h 5995891"/>
              <a:gd name="connsiteX1" fmla="*/ 1289826 w 1299986"/>
              <a:gd name="connsiteY1" fmla="*/ 0 h 5995891"/>
              <a:gd name="connsiteX2" fmla="*/ 1299986 w 1299986"/>
              <a:gd name="connsiteY2" fmla="*/ 5939409 h 5995891"/>
              <a:gd name="connsiteX3" fmla="*/ 2 w 1299986"/>
              <a:gd name="connsiteY3" fmla="*/ 3273178 h 5995891"/>
              <a:gd name="connsiteX0" fmla="*/ 2 w 1299986"/>
              <a:gd name="connsiteY0" fmla="*/ 3273178 h 5995891"/>
              <a:gd name="connsiteX1" fmla="*/ 1289826 w 1299986"/>
              <a:gd name="connsiteY1" fmla="*/ 0 h 5995891"/>
              <a:gd name="connsiteX2" fmla="*/ 1299986 w 1299986"/>
              <a:gd name="connsiteY2" fmla="*/ 5939409 h 5995891"/>
              <a:gd name="connsiteX3" fmla="*/ 2 w 1299986"/>
              <a:gd name="connsiteY3" fmla="*/ 3273178 h 5995891"/>
              <a:gd name="connsiteX0" fmla="*/ 2 w 1299986"/>
              <a:gd name="connsiteY0" fmla="*/ 3273178 h 5995891"/>
              <a:gd name="connsiteX1" fmla="*/ 1289826 w 1299986"/>
              <a:gd name="connsiteY1" fmla="*/ 0 h 5995891"/>
              <a:gd name="connsiteX2" fmla="*/ 1299986 w 1299986"/>
              <a:gd name="connsiteY2" fmla="*/ 5939409 h 5995891"/>
              <a:gd name="connsiteX3" fmla="*/ 2 w 1299986"/>
              <a:gd name="connsiteY3" fmla="*/ 3273178 h 5995891"/>
              <a:gd name="connsiteX0" fmla="*/ 2 w 1299986"/>
              <a:gd name="connsiteY0" fmla="*/ 2725028 h 5445777"/>
              <a:gd name="connsiteX1" fmla="*/ 1289826 w 1299986"/>
              <a:gd name="connsiteY1" fmla="*/ 0 h 5445777"/>
              <a:gd name="connsiteX2" fmla="*/ 1299986 w 1299986"/>
              <a:gd name="connsiteY2" fmla="*/ 5391259 h 5445777"/>
              <a:gd name="connsiteX3" fmla="*/ 2 w 1299986"/>
              <a:gd name="connsiteY3" fmla="*/ 2725028 h 5445777"/>
              <a:gd name="connsiteX0" fmla="*/ 2 w 1299986"/>
              <a:gd name="connsiteY0" fmla="*/ 3141216 h 5863443"/>
              <a:gd name="connsiteX1" fmla="*/ 1289826 w 1299986"/>
              <a:gd name="connsiteY1" fmla="*/ 0 h 5863443"/>
              <a:gd name="connsiteX2" fmla="*/ 1299986 w 1299986"/>
              <a:gd name="connsiteY2" fmla="*/ 5807447 h 5863443"/>
              <a:gd name="connsiteX3" fmla="*/ 2 w 1299986"/>
              <a:gd name="connsiteY3" fmla="*/ 3141216 h 5863443"/>
              <a:gd name="connsiteX0" fmla="*/ 2 w 1299986"/>
              <a:gd name="connsiteY0" fmla="*/ 3141216 h 5863444"/>
              <a:gd name="connsiteX1" fmla="*/ 1289826 w 1299986"/>
              <a:gd name="connsiteY1" fmla="*/ 0 h 5863444"/>
              <a:gd name="connsiteX2" fmla="*/ 1299986 w 1299986"/>
              <a:gd name="connsiteY2" fmla="*/ 5807447 h 5863444"/>
              <a:gd name="connsiteX3" fmla="*/ 2 w 1299986"/>
              <a:gd name="connsiteY3" fmla="*/ 3141216 h 5863444"/>
              <a:gd name="connsiteX0" fmla="*/ 1 w 1889265"/>
              <a:gd name="connsiteY0" fmla="*/ 3851780 h 5885741"/>
              <a:gd name="connsiteX1" fmla="*/ 1879105 w 1889265"/>
              <a:gd name="connsiteY1" fmla="*/ 0 h 5885741"/>
              <a:gd name="connsiteX2" fmla="*/ 1889265 w 1889265"/>
              <a:gd name="connsiteY2" fmla="*/ 5807447 h 5885741"/>
              <a:gd name="connsiteX3" fmla="*/ 1 w 1889265"/>
              <a:gd name="connsiteY3" fmla="*/ 3851780 h 5885741"/>
              <a:gd name="connsiteX0" fmla="*/ 694 w 1889958"/>
              <a:gd name="connsiteY0" fmla="*/ 3851780 h 5898819"/>
              <a:gd name="connsiteX1" fmla="*/ 1879798 w 1889958"/>
              <a:gd name="connsiteY1" fmla="*/ 0 h 5898819"/>
              <a:gd name="connsiteX2" fmla="*/ 1889958 w 1889958"/>
              <a:gd name="connsiteY2" fmla="*/ 5807447 h 5898819"/>
              <a:gd name="connsiteX3" fmla="*/ 694 w 1889958"/>
              <a:gd name="connsiteY3" fmla="*/ 3851780 h 5898819"/>
              <a:gd name="connsiteX0" fmla="*/ 694 w 1889958"/>
              <a:gd name="connsiteY0" fmla="*/ 3740120 h 5892762"/>
              <a:gd name="connsiteX1" fmla="*/ 1879798 w 1889958"/>
              <a:gd name="connsiteY1" fmla="*/ 0 h 5892762"/>
              <a:gd name="connsiteX2" fmla="*/ 1889958 w 1889958"/>
              <a:gd name="connsiteY2" fmla="*/ 5807447 h 5892762"/>
              <a:gd name="connsiteX3" fmla="*/ 694 w 1889958"/>
              <a:gd name="connsiteY3" fmla="*/ 3740120 h 5892762"/>
              <a:gd name="connsiteX0" fmla="*/ 690 w 1900114"/>
              <a:gd name="connsiteY0" fmla="*/ 3811177 h 5896524"/>
              <a:gd name="connsiteX1" fmla="*/ 1889954 w 1900114"/>
              <a:gd name="connsiteY1" fmla="*/ 0 h 5896524"/>
              <a:gd name="connsiteX2" fmla="*/ 1900114 w 1900114"/>
              <a:gd name="connsiteY2" fmla="*/ 5807447 h 5896524"/>
              <a:gd name="connsiteX3" fmla="*/ 690 w 1900114"/>
              <a:gd name="connsiteY3" fmla="*/ 3811177 h 5896524"/>
              <a:gd name="connsiteX0" fmla="*/ 690 w 1900114"/>
              <a:gd name="connsiteY0" fmla="*/ 3811177 h 5807447"/>
              <a:gd name="connsiteX1" fmla="*/ 1889954 w 1900114"/>
              <a:gd name="connsiteY1" fmla="*/ 0 h 5807447"/>
              <a:gd name="connsiteX2" fmla="*/ 1900114 w 1900114"/>
              <a:gd name="connsiteY2" fmla="*/ 5807447 h 5807447"/>
              <a:gd name="connsiteX3" fmla="*/ 690 w 1900114"/>
              <a:gd name="connsiteY3" fmla="*/ 3811177 h 5807447"/>
              <a:gd name="connsiteX0" fmla="*/ 690 w 1900114"/>
              <a:gd name="connsiteY0" fmla="*/ 3811177 h 5807447"/>
              <a:gd name="connsiteX1" fmla="*/ 1889954 w 1900114"/>
              <a:gd name="connsiteY1" fmla="*/ 0 h 5807447"/>
              <a:gd name="connsiteX2" fmla="*/ 1900114 w 1900114"/>
              <a:gd name="connsiteY2" fmla="*/ 5807447 h 5807447"/>
              <a:gd name="connsiteX3" fmla="*/ 690 w 1900114"/>
              <a:gd name="connsiteY3" fmla="*/ 3811177 h 5807447"/>
              <a:gd name="connsiteX0" fmla="*/ 403 w 1899827"/>
              <a:gd name="connsiteY0" fmla="*/ 3811177 h 5807447"/>
              <a:gd name="connsiteX1" fmla="*/ 1889667 w 1899827"/>
              <a:gd name="connsiteY1" fmla="*/ 0 h 5807447"/>
              <a:gd name="connsiteX2" fmla="*/ 1899827 w 1899827"/>
              <a:gd name="connsiteY2" fmla="*/ 5807447 h 5807447"/>
              <a:gd name="connsiteX3" fmla="*/ 403 w 1899827"/>
              <a:gd name="connsiteY3" fmla="*/ 3811177 h 5807447"/>
            </a:gdLst>
            <a:ahLst/>
            <a:cxnLst>
              <a:cxn ang="0">
                <a:pos x="connsiteX0" y="connsiteY0"/>
              </a:cxn>
              <a:cxn ang="0">
                <a:pos x="connsiteX1" y="connsiteY1"/>
              </a:cxn>
              <a:cxn ang="0">
                <a:pos x="connsiteX2" y="connsiteY2"/>
              </a:cxn>
              <a:cxn ang="0">
                <a:pos x="connsiteX3" y="connsiteY3"/>
              </a:cxn>
            </a:cxnLst>
            <a:rect l="l" t="t" r="r" b="b"/>
            <a:pathLst>
              <a:path w="1899827" h="5807447">
                <a:moveTo>
                  <a:pt x="403" y="3811177"/>
                </a:moveTo>
                <a:cubicBezTo>
                  <a:pt x="-31770" y="2467685"/>
                  <a:pt x="1876203" y="854946"/>
                  <a:pt x="1889667" y="0"/>
                </a:cubicBezTo>
                <a:cubicBezTo>
                  <a:pt x="1893054" y="1979803"/>
                  <a:pt x="1896440" y="3827644"/>
                  <a:pt x="1899827" y="5807447"/>
                </a:cubicBezTo>
                <a:cubicBezTo>
                  <a:pt x="1007523" y="5706703"/>
                  <a:pt x="32576" y="5154669"/>
                  <a:pt x="403" y="3811177"/>
                </a:cubicBezTo>
                <a:close/>
              </a:path>
            </a:pathLst>
          </a:custGeom>
          <a:solidFill>
            <a:schemeClr val="bg2"/>
          </a:solidFill>
          <a:ln w="3175">
            <a:noFill/>
          </a:ln>
        </p:spPr>
        <p:txBody>
          <a:bodyPr tIns="720000" rtlCol="0" anchor="ctr">
            <a:noAutofit/>
          </a:bodyPr>
          <a:lstStyle>
            <a:lvl1pPr algn="ctr">
              <a:defRPr sz="1500">
                <a:solidFill>
                  <a:schemeClr val="bg1"/>
                </a:solidFill>
              </a:defRPr>
            </a:lvl1pPr>
          </a:lstStyle>
          <a:p>
            <a:pPr lvl="0"/>
            <a:r>
              <a:rPr lang="en-US" noProof="0"/>
              <a:t>Click icon to add picture</a:t>
            </a:r>
          </a:p>
        </p:txBody>
      </p:sp>
      <p:sp>
        <p:nvSpPr>
          <p:cNvPr id="8" name="Espace réservé de la date 10"/>
          <p:cNvSpPr>
            <a:spLocks noGrp="1"/>
          </p:cNvSpPr>
          <p:nvPr>
            <p:ph type="dt" sz="half" idx="19"/>
          </p:nvPr>
        </p:nvSpPr>
        <p:spPr/>
        <p:txBody>
          <a:bodyPr/>
          <a:lstStyle>
            <a:lvl1pPr>
              <a:defRPr/>
            </a:lvl1pPr>
          </a:lstStyle>
          <a:p>
            <a:pPr>
              <a:defRPr/>
            </a:pPr>
            <a:r>
              <a:rPr lang="en-US">
                <a:solidFill>
                  <a:prstClr val="white">
                    <a:alpha val="0"/>
                  </a:prstClr>
                </a:solidFill>
              </a:rPr>
              <a:t>Date</a:t>
            </a:r>
          </a:p>
        </p:txBody>
      </p:sp>
      <p:sp>
        <p:nvSpPr>
          <p:cNvPr id="9" name="Espace réservé du numéro de diapositive 11"/>
          <p:cNvSpPr>
            <a:spLocks noGrp="1"/>
          </p:cNvSpPr>
          <p:nvPr>
            <p:ph type="sldNum" sz="quarter" idx="20"/>
          </p:nvPr>
        </p:nvSpPr>
        <p:spPr/>
        <p:txBody>
          <a:bodyPr/>
          <a:lstStyle>
            <a:lvl1pPr>
              <a:defRPr/>
            </a:lvl1pPr>
          </a:lstStyle>
          <a:p>
            <a:pPr>
              <a:defRPr/>
            </a:pPr>
            <a:fld id="{669CD8F2-86ED-43C7-A24E-82A206DEE6AE}" type="slidenum">
              <a:rPr lang="en-US">
                <a:solidFill>
                  <a:srgbClr val="343434"/>
                </a:solidFill>
              </a:rPr>
              <a:pPr>
                <a:defRPr/>
              </a:pPr>
              <a:t>‹#›</a:t>
            </a:fld>
            <a:endParaRPr lang="en-US">
              <a:solidFill>
                <a:srgbClr val="343434"/>
              </a:solidFill>
            </a:endParaRPr>
          </a:p>
        </p:txBody>
      </p:sp>
      <p:sp>
        <p:nvSpPr>
          <p:cNvPr id="11" name="Espace réservé du pied de page 12"/>
          <p:cNvSpPr>
            <a:spLocks noGrp="1"/>
          </p:cNvSpPr>
          <p:nvPr>
            <p:ph type="ftr" sz="quarter" idx="21"/>
          </p:nvPr>
        </p:nvSpPr>
        <p:spPr/>
        <p:txBody>
          <a:bodyPr/>
          <a:lstStyle>
            <a:lvl1pPr>
              <a:defRPr/>
            </a:lvl1pPr>
          </a:lstStyle>
          <a:p>
            <a:pPr>
              <a:defRPr/>
            </a:pPr>
            <a:r>
              <a:rPr lang="en-US">
                <a:solidFill>
                  <a:srgbClr val="005CB9"/>
                </a:solidFill>
              </a:rPr>
              <a:t>#</a:t>
            </a:r>
            <a:r>
              <a:rPr lang="en-US" err="1">
                <a:solidFill>
                  <a:srgbClr val="005CB9"/>
                </a:solidFill>
              </a:rPr>
              <a:t>vaccineswork</a:t>
            </a:r>
            <a:endParaRPr lang="en-US">
              <a:solidFill>
                <a:srgbClr val="005CB9"/>
              </a:solidFill>
            </a:endParaRPr>
          </a:p>
        </p:txBody>
      </p:sp>
    </p:spTree>
    <p:extLst>
      <p:ext uri="{BB962C8B-B14F-4D97-AF65-F5344CB8AC3E}">
        <p14:creationId xmlns:p14="http://schemas.microsoft.com/office/powerpoint/2010/main" val="236928878"/>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Picture_Layout">
    <p:spTree>
      <p:nvGrpSpPr>
        <p:cNvPr id="1" name=""/>
        <p:cNvGrpSpPr/>
        <p:nvPr/>
      </p:nvGrpSpPr>
      <p:grpSpPr>
        <a:xfrm>
          <a:off x="0" y="0"/>
          <a:ext cx="0" cy="0"/>
          <a:chOff x="0" y="0"/>
          <a:chExt cx="0" cy="0"/>
        </a:xfrm>
      </p:grpSpPr>
      <p:sp>
        <p:nvSpPr>
          <p:cNvPr id="2" name="Titre 1"/>
          <p:cNvSpPr>
            <a:spLocks noGrp="1"/>
          </p:cNvSpPr>
          <p:nvPr>
            <p:ph type="title"/>
          </p:nvPr>
        </p:nvSpPr>
        <p:spPr bwMode="gray"/>
        <p:txBody>
          <a:bodyPr/>
          <a:lstStyle/>
          <a:p>
            <a:r>
              <a:rPr lang="en-US" noProof="0"/>
              <a:t>Click to edit Master title style</a:t>
            </a:r>
          </a:p>
        </p:txBody>
      </p:sp>
      <p:sp>
        <p:nvSpPr>
          <p:cNvPr id="3" name="Espace réservé du contenu 2"/>
          <p:cNvSpPr>
            <a:spLocks noGrp="1"/>
          </p:cNvSpPr>
          <p:nvPr>
            <p:ph idx="1"/>
          </p:nvPr>
        </p:nvSpPr>
        <p:spPr bwMode="gray">
          <a:xfrm>
            <a:off x="3635896" y="1304925"/>
            <a:ext cx="4644504" cy="4716463"/>
          </a:xfrm>
        </p:spPr>
        <p:txBody>
          <a:bodyPr/>
          <a:lstStyle>
            <a:lvl2pPr>
              <a:defRPr/>
            </a:lvl2pPr>
            <a:lvl3pPr>
              <a:defRPr/>
            </a:lvl3pPr>
            <a:lvl4pPr>
              <a:defRPr baseline="0"/>
            </a:lvl4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Espace réservé pour une image  8"/>
          <p:cNvSpPr>
            <a:spLocks noGrp="1"/>
          </p:cNvSpPr>
          <p:nvPr>
            <p:ph type="pic" sz="quarter" idx="13"/>
          </p:nvPr>
        </p:nvSpPr>
        <p:spPr bwMode="gray">
          <a:xfrm>
            <a:off x="0" y="1341438"/>
            <a:ext cx="3419038" cy="4679950"/>
          </a:xfrm>
        </p:spPr>
        <p:txBody>
          <a:bodyPr tIns="1008000" rtlCol="0" anchor="ctr">
            <a:noAutofit/>
          </a:bodyPr>
          <a:lstStyle>
            <a:lvl1pPr algn="ctr">
              <a:defRPr/>
            </a:lvl1pPr>
          </a:lstStyle>
          <a:p>
            <a:pPr lvl="0"/>
            <a:r>
              <a:rPr lang="en-US" noProof="0"/>
              <a:t>Click icon to add picture</a:t>
            </a:r>
          </a:p>
        </p:txBody>
      </p:sp>
      <p:sp>
        <p:nvSpPr>
          <p:cNvPr id="5" name="Espace réservé de la date 3"/>
          <p:cNvSpPr>
            <a:spLocks noGrp="1"/>
          </p:cNvSpPr>
          <p:nvPr>
            <p:ph type="dt" sz="half" idx="14"/>
          </p:nvPr>
        </p:nvSpPr>
        <p:spPr/>
        <p:txBody>
          <a:bodyPr/>
          <a:lstStyle>
            <a:lvl1pPr>
              <a:defRPr/>
            </a:lvl1pPr>
          </a:lstStyle>
          <a:p>
            <a:pPr>
              <a:defRPr/>
            </a:pPr>
            <a:r>
              <a:rPr lang="en-US">
                <a:solidFill>
                  <a:prstClr val="white">
                    <a:alpha val="0"/>
                  </a:prstClr>
                </a:solidFill>
              </a:rPr>
              <a:t>Date</a:t>
            </a:r>
          </a:p>
        </p:txBody>
      </p:sp>
      <p:sp>
        <p:nvSpPr>
          <p:cNvPr id="6" name="Espace réservé du pied de page 4"/>
          <p:cNvSpPr>
            <a:spLocks noGrp="1"/>
          </p:cNvSpPr>
          <p:nvPr>
            <p:ph type="ftr" sz="quarter" idx="15"/>
          </p:nvPr>
        </p:nvSpPr>
        <p:spPr/>
        <p:txBody>
          <a:bodyPr/>
          <a:lstStyle>
            <a:lvl1pPr>
              <a:defRPr/>
            </a:lvl1pPr>
          </a:lstStyle>
          <a:p>
            <a:pPr>
              <a:defRPr/>
            </a:pPr>
            <a:r>
              <a:rPr lang="en-US">
                <a:solidFill>
                  <a:srgbClr val="005CB9"/>
                </a:solidFill>
              </a:rPr>
              <a:t>#</a:t>
            </a:r>
            <a:r>
              <a:rPr lang="en-US" err="1">
                <a:solidFill>
                  <a:srgbClr val="005CB9"/>
                </a:solidFill>
              </a:rPr>
              <a:t>vaccineswork</a:t>
            </a:r>
            <a:endParaRPr lang="en-US">
              <a:solidFill>
                <a:srgbClr val="005CB9"/>
              </a:solidFill>
            </a:endParaRPr>
          </a:p>
        </p:txBody>
      </p:sp>
      <p:sp>
        <p:nvSpPr>
          <p:cNvPr id="7" name="Espace réservé du numéro de diapositive 5"/>
          <p:cNvSpPr>
            <a:spLocks noGrp="1"/>
          </p:cNvSpPr>
          <p:nvPr>
            <p:ph type="sldNum" sz="quarter" idx="16"/>
          </p:nvPr>
        </p:nvSpPr>
        <p:spPr/>
        <p:txBody>
          <a:bodyPr/>
          <a:lstStyle>
            <a:lvl1pPr>
              <a:defRPr/>
            </a:lvl1pPr>
          </a:lstStyle>
          <a:p>
            <a:pPr>
              <a:defRPr/>
            </a:pPr>
            <a:fld id="{D8886677-8A24-41A7-8E0F-301076E1EA36}" type="slidenum">
              <a:rPr lang="en-US">
                <a:solidFill>
                  <a:srgbClr val="343434"/>
                </a:solidFill>
              </a:rPr>
              <a:pPr>
                <a:defRPr/>
              </a:pPr>
              <a:t>‹#›</a:t>
            </a:fld>
            <a:endParaRPr lang="en-US">
              <a:solidFill>
                <a:srgbClr val="343434"/>
              </a:solidFill>
            </a:endParaRPr>
          </a:p>
        </p:txBody>
      </p:sp>
    </p:spTree>
    <p:extLst>
      <p:ext uri="{BB962C8B-B14F-4D97-AF65-F5344CB8AC3E}">
        <p14:creationId xmlns:p14="http://schemas.microsoft.com/office/powerpoint/2010/main" val="4172328835"/>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ext&amp;Content_Layout">
    <p:spTree>
      <p:nvGrpSpPr>
        <p:cNvPr id="1" name=""/>
        <p:cNvGrpSpPr/>
        <p:nvPr/>
      </p:nvGrpSpPr>
      <p:grpSpPr>
        <a:xfrm>
          <a:off x="0" y="0"/>
          <a:ext cx="0" cy="0"/>
          <a:chOff x="0" y="0"/>
          <a:chExt cx="0" cy="0"/>
        </a:xfrm>
      </p:grpSpPr>
      <p:sp>
        <p:nvSpPr>
          <p:cNvPr id="2" name="Titre 1"/>
          <p:cNvSpPr>
            <a:spLocks noGrp="1"/>
          </p:cNvSpPr>
          <p:nvPr>
            <p:ph type="title"/>
          </p:nvPr>
        </p:nvSpPr>
        <p:spPr bwMode="gray"/>
        <p:txBody>
          <a:bodyPr/>
          <a:lstStyle/>
          <a:p>
            <a:r>
              <a:rPr lang="en-US" noProof="0"/>
              <a:t>Click to edit Master title style</a:t>
            </a:r>
          </a:p>
        </p:txBody>
      </p:sp>
      <p:sp>
        <p:nvSpPr>
          <p:cNvPr id="3" name="Espace réservé du contenu 2"/>
          <p:cNvSpPr>
            <a:spLocks noGrp="1"/>
          </p:cNvSpPr>
          <p:nvPr>
            <p:ph idx="1"/>
          </p:nvPr>
        </p:nvSpPr>
        <p:spPr bwMode="gray">
          <a:xfrm>
            <a:off x="935038" y="2781388"/>
            <a:ext cx="7345362" cy="3240000"/>
          </a:xfrm>
        </p:spPr>
        <p:txBody>
          <a:bodyPr/>
          <a:lstStyle>
            <a:lvl2pPr>
              <a:defRPr/>
            </a:lvl2pPr>
            <a:lvl3pPr>
              <a:defRPr/>
            </a:lvl3pPr>
            <a:lvl4pPr>
              <a:defRPr baseline="0"/>
            </a:lvl4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Espace réservé du texte 9"/>
          <p:cNvSpPr>
            <a:spLocks noGrp="1"/>
          </p:cNvSpPr>
          <p:nvPr>
            <p:ph type="body" sz="quarter" idx="13"/>
          </p:nvPr>
        </p:nvSpPr>
        <p:spPr bwMode="gray">
          <a:xfrm>
            <a:off x="935038" y="1304924"/>
            <a:ext cx="7345362" cy="126000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Espace réservé de la date 3"/>
          <p:cNvSpPr>
            <a:spLocks noGrp="1"/>
          </p:cNvSpPr>
          <p:nvPr>
            <p:ph type="dt" sz="half" idx="14"/>
          </p:nvPr>
        </p:nvSpPr>
        <p:spPr/>
        <p:txBody>
          <a:bodyPr/>
          <a:lstStyle>
            <a:lvl1pPr>
              <a:defRPr/>
            </a:lvl1pPr>
          </a:lstStyle>
          <a:p>
            <a:pPr>
              <a:defRPr/>
            </a:pPr>
            <a:r>
              <a:rPr lang="en-US">
                <a:solidFill>
                  <a:prstClr val="white">
                    <a:alpha val="0"/>
                  </a:prstClr>
                </a:solidFill>
              </a:rPr>
              <a:t>Date</a:t>
            </a:r>
          </a:p>
        </p:txBody>
      </p:sp>
      <p:sp>
        <p:nvSpPr>
          <p:cNvPr id="6" name="Espace réservé du pied de page 4"/>
          <p:cNvSpPr>
            <a:spLocks noGrp="1"/>
          </p:cNvSpPr>
          <p:nvPr>
            <p:ph type="ftr" sz="quarter" idx="15"/>
          </p:nvPr>
        </p:nvSpPr>
        <p:spPr/>
        <p:txBody>
          <a:bodyPr/>
          <a:lstStyle>
            <a:lvl1pPr>
              <a:defRPr/>
            </a:lvl1pPr>
          </a:lstStyle>
          <a:p>
            <a:pPr>
              <a:defRPr/>
            </a:pPr>
            <a:r>
              <a:rPr lang="en-US">
                <a:solidFill>
                  <a:srgbClr val="005CB9"/>
                </a:solidFill>
              </a:rPr>
              <a:t>#</a:t>
            </a:r>
            <a:r>
              <a:rPr lang="en-US" err="1">
                <a:solidFill>
                  <a:srgbClr val="005CB9"/>
                </a:solidFill>
              </a:rPr>
              <a:t>vaccineswork</a:t>
            </a:r>
            <a:endParaRPr lang="en-US">
              <a:solidFill>
                <a:srgbClr val="005CB9"/>
              </a:solidFill>
            </a:endParaRPr>
          </a:p>
        </p:txBody>
      </p:sp>
      <p:sp>
        <p:nvSpPr>
          <p:cNvPr id="7" name="Espace réservé du numéro de diapositive 5"/>
          <p:cNvSpPr>
            <a:spLocks noGrp="1"/>
          </p:cNvSpPr>
          <p:nvPr>
            <p:ph type="sldNum" sz="quarter" idx="16"/>
          </p:nvPr>
        </p:nvSpPr>
        <p:spPr/>
        <p:txBody>
          <a:bodyPr/>
          <a:lstStyle>
            <a:lvl1pPr>
              <a:defRPr/>
            </a:lvl1pPr>
          </a:lstStyle>
          <a:p>
            <a:pPr>
              <a:defRPr/>
            </a:pPr>
            <a:fld id="{8779425B-3CAA-48C9-9B95-57BAD5A3D82E}" type="slidenum">
              <a:rPr lang="en-US">
                <a:solidFill>
                  <a:srgbClr val="343434"/>
                </a:solidFill>
              </a:rPr>
              <a:pPr>
                <a:defRPr/>
              </a:pPr>
              <a:t>‹#›</a:t>
            </a:fld>
            <a:endParaRPr lang="en-US">
              <a:solidFill>
                <a:srgbClr val="343434"/>
              </a:solidFill>
            </a:endParaRPr>
          </a:p>
        </p:txBody>
      </p:sp>
    </p:spTree>
    <p:extLst>
      <p:ext uri="{BB962C8B-B14F-4D97-AF65-F5344CB8AC3E}">
        <p14:creationId xmlns:p14="http://schemas.microsoft.com/office/powerpoint/2010/main" val="533533180"/>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hank_you_1">
    <p:spTree>
      <p:nvGrpSpPr>
        <p:cNvPr id="1" name=""/>
        <p:cNvGrpSpPr/>
        <p:nvPr/>
      </p:nvGrpSpPr>
      <p:grpSpPr>
        <a:xfrm>
          <a:off x="0" y="0"/>
          <a:ext cx="0" cy="0"/>
          <a:chOff x="0" y="0"/>
          <a:chExt cx="0" cy="0"/>
        </a:xfrm>
      </p:grpSpPr>
      <p:pic>
        <p:nvPicPr>
          <p:cNvPr id="5" name="Image 18" descr="FD_1_L254.png"/>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gray">
          <a:xfrm>
            <a:off x="0" y="0"/>
            <a:ext cx="9144000" cy="51577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6" name="Rectangle 5"/>
          <p:cNvSpPr/>
          <p:nvPr userDrawn="1"/>
        </p:nvSpPr>
        <p:spPr bwMode="gray">
          <a:xfrm>
            <a:off x="3635375" y="5265738"/>
            <a:ext cx="5508625" cy="15922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prstClr val="white"/>
              </a:solidFill>
            </a:endParaRPr>
          </a:p>
        </p:txBody>
      </p:sp>
      <p:pic>
        <p:nvPicPr>
          <p:cNvPr id="7" name="Image 19" descr="Bas_couv.png"/>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gray">
          <a:xfrm>
            <a:off x="0" y="5172075"/>
            <a:ext cx="3635375" cy="16859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8" name="Rectangle 7"/>
          <p:cNvSpPr/>
          <p:nvPr userDrawn="1"/>
        </p:nvSpPr>
        <p:spPr bwMode="gray">
          <a:xfrm>
            <a:off x="3635375" y="6354763"/>
            <a:ext cx="5113338" cy="2873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p>
            <a:pPr algn="r">
              <a:defRPr/>
            </a:pPr>
            <a:r>
              <a:rPr lang="en-US" sz="1000" err="1">
                <a:solidFill>
                  <a:srgbClr val="95D600"/>
                </a:solidFill>
              </a:rPr>
              <a:t>www.gavi.org</a:t>
            </a:r>
            <a:endParaRPr lang="en-US" sz="1000">
              <a:solidFill>
                <a:srgbClr val="95D600"/>
              </a:solidFill>
            </a:endParaRPr>
          </a:p>
        </p:txBody>
      </p:sp>
      <p:cxnSp>
        <p:nvCxnSpPr>
          <p:cNvPr id="10" name="Connecteur droit 13"/>
          <p:cNvCxnSpPr/>
          <p:nvPr userDrawn="1"/>
        </p:nvCxnSpPr>
        <p:spPr bwMode="gray">
          <a:xfrm flipH="1">
            <a:off x="468313" y="3400425"/>
            <a:ext cx="2447925" cy="0"/>
          </a:xfrm>
          <a:prstGeom prst="line">
            <a:avLst/>
          </a:prstGeom>
          <a:ln w="24130">
            <a:solidFill>
              <a:schemeClr val="accent1"/>
            </a:solidFill>
          </a:ln>
        </p:spPr>
        <p:style>
          <a:lnRef idx="1">
            <a:schemeClr val="accent1"/>
          </a:lnRef>
          <a:fillRef idx="0">
            <a:schemeClr val="accent1"/>
          </a:fillRef>
          <a:effectRef idx="0">
            <a:schemeClr val="accent1"/>
          </a:effectRef>
          <a:fontRef idx="minor">
            <a:schemeClr val="tx1"/>
          </a:fontRef>
        </p:style>
      </p:cxnSp>
      <p:sp>
        <p:nvSpPr>
          <p:cNvPr id="9" name="Espace réservé du texte 8"/>
          <p:cNvSpPr>
            <a:spLocks noGrp="1"/>
          </p:cNvSpPr>
          <p:nvPr>
            <p:ph type="body" sz="quarter" idx="13"/>
          </p:nvPr>
        </p:nvSpPr>
        <p:spPr bwMode="gray">
          <a:xfrm>
            <a:off x="468314" y="1036638"/>
            <a:ext cx="4824412" cy="2242966"/>
          </a:xfrm>
        </p:spPr>
        <p:txBody>
          <a:bodyPr anchor="b"/>
          <a:lstStyle>
            <a:lvl1pPr marL="0" indent="0" algn="l">
              <a:lnSpc>
                <a:spcPct val="90000"/>
              </a:lnSpc>
              <a:buNone/>
              <a:defRPr sz="2800" b="1" cap="none" baseline="0">
                <a:solidFill>
                  <a:schemeClr val="bg1"/>
                </a:solidFill>
              </a:defRPr>
            </a:lvl1pPr>
            <a:lvl2pPr marL="0" algn="ctr">
              <a:lnSpc>
                <a:spcPct val="100000"/>
              </a:lnSpc>
              <a:spcBef>
                <a:spcPts val="6900"/>
              </a:spcBef>
              <a:defRPr sz="2000" b="1">
                <a:solidFill>
                  <a:schemeClr val="bg1"/>
                </a:solidFill>
              </a:defRPr>
            </a:lvl2pPr>
          </a:lstStyle>
          <a:p>
            <a:pPr lvl="0"/>
            <a:r>
              <a:rPr lang="en-US" noProof="0"/>
              <a:t>Click to edit Master text styles</a:t>
            </a:r>
          </a:p>
        </p:txBody>
      </p:sp>
      <p:sp>
        <p:nvSpPr>
          <p:cNvPr id="15" name="Espace réservé du texte 14"/>
          <p:cNvSpPr>
            <a:spLocks noGrp="1"/>
          </p:cNvSpPr>
          <p:nvPr>
            <p:ph type="body" sz="quarter" idx="19"/>
          </p:nvPr>
        </p:nvSpPr>
        <p:spPr bwMode="gray">
          <a:xfrm>
            <a:off x="3635376" y="6021388"/>
            <a:ext cx="5113338" cy="324000"/>
          </a:xfrm>
        </p:spPr>
        <p:txBody>
          <a:bodyPr anchor="b"/>
          <a:lstStyle>
            <a:lvl1pPr algn="r">
              <a:lnSpc>
                <a:spcPct val="100000"/>
              </a:lnSpc>
              <a:defRPr sz="1000" b="1">
                <a:solidFill>
                  <a:schemeClr val="accent3"/>
                </a:solidFill>
              </a:defRPr>
            </a:lvl1pPr>
          </a:lstStyle>
          <a:p>
            <a:pPr lvl="0"/>
            <a:r>
              <a:rPr lang="en-US" noProof="0"/>
              <a:t>Click to edit Master text styles</a:t>
            </a:r>
          </a:p>
        </p:txBody>
      </p:sp>
      <p:sp>
        <p:nvSpPr>
          <p:cNvPr id="13" name="Espace réservé pour une image  17"/>
          <p:cNvSpPr>
            <a:spLocks noGrp="1"/>
          </p:cNvSpPr>
          <p:nvPr>
            <p:ph type="pic" sz="quarter" idx="18"/>
          </p:nvPr>
        </p:nvSpPr>
        <p:spPr bwMode="gray">
          <a:xfrm>
            <a:off x="4192588" y="0"/>
            <a:ext cx="4951412" cy="5162400"/>
          </a:xfrm>
          <a:custGeom>
            <a:avLst/>
            <a:gdLst>
              <a:gd name="connsiteX0" fmla="*/ 0 w 3851275"/>
              <a:gd name="connsiteY0" fmla="*/ 0 h 5157788"/>
              <a:gd name="connsiteX1" fmla="*/ 3851275 w 3851275"/>
              <a:gd name="connsiteY1" fmla="*/ 0 h 5157788"/>
              <a:gd name="connsiteX2" fmla="*/ 3851275 w 3851275"/>
              <a:gd name="connsiteY2" fmla="*/ 5157788 h 5157788"/>
              <a:gd name="connsiteX3" fmla="*/ 0 w 3851275"/>
              <a:gd name="connsiteY3" fmla="*/ 5157788 h 5157788"/>
              <a:gd name="connsiteX4" fmla="*/ 0 w 3851275"/>
              <a:gd name="connsiteY4"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0 w 3851275"/>
              <a:gd name="connsiteY3" fmla="*/ 5157788 h 5157788"/>
              <a:gd name="connsiteX4" fmla="*/ 1692275 w 3851275"/>
              <a:gd name="connsiteY4" fmla="*/ 0 h 5157788"/>
              <a:gd name="connsiteX0" fmla="*/ 0 w 2159000"/>
              <a:gd name="connsiteY0" fmla="*/ 0 h 5157788"/>
              <a:gd name="connsiteX1" fmla="*/ 2159000 w 2159000"/>
              <a:gd name="connsiteY1" fmla="*/ 0 h 5157788"/>
              <a:gd name="connsiteX2" fmla="*/ 2159000 w 2159000"/>
              <a:gd name="connsiteY2" fmla="*/ 5157788 h 5157788"/>
              <a:gd name="connsiteX3" fmla="*/ 0 w 2159000"/>
              <a:gd name="connsiteY3" fmla="*/ 5157788 h 5157788"/>
              <a:gd name="connsiteX4" fmla="*/ 0 w 2159000"/>
              <a:gd name="connsiteY4" fmla="*/ 0 h 5157788"/>
              <a:gd name="connsiteX0" fmla="*/ 2625271 w 4784271"/>
              <a:gd name="connsiteY0" fmla="*/ 0 h 5157788"/>
              <a:gd name="connsiteX1" fmla="*/ 4784271 w 4784271"/>
              <a:gd name="connsiteY1" fmla="*/ 0 h 5157788"/>
              <a:gd name="connsiteX2" fmla="*/ 4784271 w 4784271"/>
              <a:gd name="connsiteY2" fmla="*/ 5157788 h 5157788"/>
              <a:gd name="connsiteX3" fmla="*/ 2625271 w 4784271"/>
              <a:gd name="connsiteY3" fmla="*/ 5157788 h 5157788"/>
              <a:gd name="connsiteX4" fmla="*/ 2625271 w 4784271"/>
              <a:gd name="connsiteY4" fmla="*/ 0 h 5157788"/>
              <a:gd name="connsiteX0" fmla="*/ 2625271 w 4784271"/>
              <a:gd name="connsiteY0" fmla="*/ 0 h 5157788"/>
              <a:gd name="connsiteX1" fmla="*/ 4784271 w 4784271"/>
              <a:gd name="connsiteY1" fmla="*/ 0 h 5157788"/>
              <a:gd name="connsiteX2" fmla="*/ 4784271 w 4784271"/>
              <a:gd name="connsiteY2" fmla="*/ 5157788 h 5157788"/>
              <a:gd name="connsiteX3" fmla="*/ 2625271 w 4784271"/>
              <a:gd name="connsiteY3" fmla="*/ 5157788 h 5157788"/>
              <a:gd name="connsiteX4" fmla="*/ 2625271 w 4784271"/>
              <a:gd name="connsiteY4" fmla="*/ 0 h 5157788"/>
              <a:gd name="connsiteX0" fmla="*/ 3568576 w 5727576"/>
              <a:gd name="connsiteY0" fmla="*/ 0 h 5157788"/>
              <a:gd name="connsiteX1" fmla="*/ 5727576 w 5727576"/>
              <a:gd name="connsiteY1" fmla="*/ 0 h 5157788"/>
              <a:gd name="connsiteX2" fmla="*/ 5727576 w 5727576"/>
              <a:gd name="connsiteY2" fmla="*/ 5157788 h 5157788"/>
              <a:gd name="connsiteX3" fmla="*/ 3568576 w 5727576"/>
              <a:gd name="connsiteY3" fmla="*/ 5157788 h 5157788"/>
              <a:gd name="connsiteX4" fmla="*/ 3568576 w 5727576"/>
              <a:gd name="connsiteY4" fmla="*/ 0 h 5157788"/>
              <a:gd name="connsiteX0" fmla="*/ 3306355 w 5465355"/>
              <a:gd name="connsiteY0" fmla="*/ 0 h 5157788"/>
              <a:gd name="connsiteX1" fmla="*/ 5465355 w 5465355"/>
              <a:gd name="connsiteY1" fmla="*/ 0 h 5157788"/>
              <a:gd name="connsiteX2" fmla="*/ 5465355 w 5465355"/>
              <a:gd name="connsiteY2" fmla="*/ 5157788 h 5157788"/>
              <a:gd name="connsiteX3" fmla="*/ 3306355 w 5465355"/>
              <a:gd name="connsiteY3" fmla="*/ 5157788 h 5157788"/>
              <a:gd name="connsiteX4" fmla="*/ 3306355 w 5465355"/>
              <a:gd name="connsiteY4" fmla="*/ 0 h 5157788"/>
              <a:gd name="connsiteX0" fmla="*/ 1416957 w 3575957"/>
              <a:gd name="connsiteY0" fmla="*/ 0 h 5157788"/>
              <a:gd name="connsiteX1" fmla="*/ 3575957 w 3575957"/>
              <a:gd name="connsiteY1" fmla="*/ 0 h 5157788"/>
              <a:gd name="connsiteX2" fmla="*/ 3575957 w 3575957"/>
              <a:gd name="connsiteY2" fmla="*/ 5157788 h 5157788"/>
              <a:gd name="connsiteX3" fmla="*/ 1416957 w 3575957"/>
              <a:gd name="connsiteY3" fmla="*/ 5157788 h 5157788"/>
              <a:gd name="connsiteX4" fmla="*/ 0 w 3575957"/>
              <a:gd name="connsiteY4" fmla="*/ 3339193 h 5157788"/>
              <a:gd name="connsiteX5" fmla="*/ 1416957 w 3575957"/>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6017419"/>
              <a:gd name="connsiteX1" fmla="*/ 3851275 w 3851275"/>
              <a:gd name="connsiteY1" fmla="*/ 0 h 6017419"/>
              <a:gd name="connsiteX2" fmla="*/ 3851275 w 3851275"/>
              <a:gd name="connsiteY2" fmla="*/ 5157788 h 6017419"/>
              <a:gd name="connsiteX3" fmla="*/ 1692275 w 3851275"/>
              <a:gd name="connsiteY3" fmla="*/ 5157788 h 6017419"/>
              <a:gd name="connsiteX4" fmla="*/ 0 w 3851275"/>
              <a:gd name="connsiteY4" fmla="*/ 3284984 h 6017419"/>
              <a:gd name="connsiteX5" fmla="*/ 1692275 w 3851275"/>
              <a:gd name="connsiteY5" fmla="*/ 0 h 6017419"/>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429000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429000 h 5157788"/>
              <a:gd name="connsiteX5" fmla="*/ 1710871 w 3869871"/>
              <a:gd name="connsiteY5" fmla="*/ 0 h 5157788"/>
              <a:gd name="connsiteX0" fmla="*/ 1704975 w 3863975"/>
              <a:gd name="connsiteY0" fmla="*/ 0 h 5157788"/>
              <a:gd name="connsiteX1" fmla="*/ 3863975 w 3863975"/>
              <a:gd name="connsiteY1" fmla="*/ 0 h 5157788"/>
              <a:gd name="connsiteX2" fmla="*/ 3863975 w 3863975"/>
              <a:gd name="connsiteY2" fmla="*/ 5157788 h 5157788"/>
              <a:gd name="connsiteX3" fmla="*/ 1704975 w 3863975"/>
              <a:gd name="connsiteY3" fmla="*/ 5157788 h 5157788"/>
              <a:gd name="connsiteX4" fmla="*/ 12700 w 3863975"/>
              <a:gd name="connsiteY4" fmla="*/ 3429000 h 5157788"/>
              <a:gd name="connsiteX5" fmla="*/ 1704975 w 3863975"/>
              <a:gd name="connsiteY5" fmla="*/ 0 h 5157788"/>
              <a:gd name="connsiteX0" fmla="*/ 1707243 w 3866243"/>
              <a:gd name="connsiteY0" fmla="*/ 0 h 5157788"/>
              <a:gd name="connsiteX1" fmla="*/ 3866243 w 3866243"/>
              <a:gd name="connsiteY1" fmla="*/ 0 h 5157788"/>
              <a:gd name="connsiteX2" fmla="*/ 3866243 w 3866243"/>
              <a:gd name="connsiteY2" fmla="*/ 5157788 h 5157788"/>
              <a:gd name="connsiteX3" fmla="*/ 1707243 w 3866243"/>
              <a:gd name="connsiteY3" fmla="*/ 5157788 h 5157788"/>
              <a:gd name="connsiteX4" fmla="*/ 14968 w 3866243"/>
              <a:gd name="connsiteY4" fmla="*/ 3429000 h 5157788"/>
              <a:gd name="connsiteX5" fmla="*/ 1707243 w 3866243"/>
              <a:gd name="connsiteY5" fmla="*/ 0 h 5157788"/>
              <a:gd name="connsiteX0" fmla="*/ 1130447 w 3866243"/>
              <a:gd name="connsiteY0" fmla="*/ 0 h 5157788"/>
              <a:gd name="connsiteX1" fmla="*/ 3866243 w 3866243"/>
              <a:gd name="connsiteY1" fmla="*/ 0 h 5157788"/>
              <a:gd name="connsiteX2" fmla="*/ 3866243 w 3866243"/>
              <a:gd name="connsiteY2" fmla="*/ 5157788 h 5157788"/>
              <a:gd name="connsiteX3" fmla="*/ 1707243 w 3866243"/>
              <a:gd name="connsiteY3" fmla="*/ 5157788 h 5157788"/>
              <a:gd name="connsiteX4" fmla="*/ 14968 w 3866243"/>
              <a:gd name="connsiteY4" fmla="*/ 3429000 h 5157788"/>
              <a:gd name="connsiteX5" fmla="*/ 1130447 w 3866243"/>
              <a:gd name="connsiteY5" fmla="*/ 0 h 5157788"/>
              <a:gd name="connsiteX0" fmla="*/ 2746143 w 5481939"/>
              <a:gd name="connsiteY0" fmla="*/ 0 h 5157788"/>
              <a:gd name="connsiteX1" fmla="*/ 5481939 w 5481939"/>
              <a:gd name="connsiteY1" fmla="*/ 0 h 5157788"/>
              <a:gd name="connsiteX2" fmla="*/ 5481939 w 5481939"/>
              <a:gd name="connsiteY2" fmla="*/ 5157788 h 5157788"/>
              <a:gd name="connsiteX3" fmla="*/ 585903 w 5481939"/>
              <a:gd name="connsiteY3" fmla="*/ 5153180 h 5157788"/>
              <a:gd name="connsiteX4" fmla="*/ 1630664 w 5481939"/>
              <a:gd name="connsiteY4" fmla="*/ 3429000 h 5157788"/>
              <a:gd name="connsiteX5" fmla="*/ 2746143 w 5481939"/>
              <a:gd name="connsiteY5" fmla="*/ 0 h 5157788"/>
              <a:gd name="connsiteX0" fmla="*/ 2746143 w 5481939"/>
              <a:gd name="connsiteY0" fmla="*/ 0 h 5157788"/>
              <a:gd name="connsiteX1" fmla="*/ 5481939 w 5481939"/>
              <a:gd name="connsiteY1" fmla="*/ 0 h 5157788"/>
              <a:gd name="connsiteX2" fmla="*/ 5481939 w 5481939"/>
              <a:gd name="connsiteY2" fmla="*/ 5157788 h 5157788"/>
              <a:gd name="connsiteX3" fmla="*/ 585903 w 5481939"/>
              <a:gd name="connsiteY3" fmla="*/ 5153180 h 5157788"/>
              <a:gd name="connsiteX4" fmla="*/ 1630664 w 5481939"/>
              <a:gd name="connsiteY4" fmla="*/ 3429000 h 5157788"/>
              <a:gd name="connsiteX5" fmla="*/ 2746143 w 548193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3574235 w 6310031"/>
              <a:gd name="connsiteY0" fmla="*/ 0 h 5157788"/>
              <a:gd name="connsiteX1" fmla="*/ 6310031 w 6310031"/>
              <a:gd name="connsiteY1" fmla="*/ 0 h 5157788"/>
              <a:gd name="connsiteX2" fmla="*/ 6310031 w 6310031"/>
              <a:gd name="connsiteY2" fmla="*/ 5157788 h 5157788"/>
              <a:gd name="connsiteX3" fmla="*/ 585903 w 6310031"/>
              <a:gd name="connsiteY3" fmla="*/ 5153180 h 5157788"/>
              <a:gd name="connsiteX4" fmla="*/ 1738031 w 6310031"/>
              <a:gd name="connsiteY4" fmla="*/ 3389965 h 5157788"/>
              <a:gd name="connsiteX5" fmla="*/ 3574235 w 6310031"/>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296143 w 5724128"/>
              <a:gd name="connsiteY4" fmla="*/ 3461908 h 5157788"/>
              <a:gd name="connsiteX5" fmla="*/ 2988332 w 5724128"/>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1188132 w 5760132"/>
              <a:gd name="connsiteY4" fmla="*/ 3425937 h 5157788"/>
              <a:gd name="connsiteX5" fmla="*/ 3024336 w 5760132"/>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2736304 w 5760132"/>
              <a:gd name="connsiteY4" fmla="*/ 3461908 h 5157788"/>
              <a:gd name="connsiteX5" fmla="*/ 3024336 w 5760132"/>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2736304 w 5760132"/>
              <a:gd name="connsiteY4" fmla="*/ 3461908 h 5157788"/>
              <a:gd name="connsiteX5" fmla="*/ 3024336 w 5760132"/>
              <a:gd name="connsiteY5" fmla="*/ 0 h 5157788"/>
              <a:gd name="connsiteX0" fmla="*/ 2160240 w 4896036"/>
              <a:gd name="connsiteY0" fmla="*/ 0 h 5157788"/>
              <a:gd name="connsiteX1" fmla="*/ 4896036 w 4896036"/>
              <a:gd name="connsiteY1" fmla="*/ 0 h 5157788"/>
              <a:gd name="connsiteX2" fmla="*/ 4896036 w 4896036"/>
              <a:gd name="connsiteY2" fmla="*/ 5157788 h 5157788"/>
              <a:gd name="connsiteX3" fmla="*/ 0 w 4896036"/>
              <a:gd name="connsiteY3" fmla="*/ 5153180 h 5157788"/>
              <a:gd name="connsiteX4" fmla="*/ 1872208 w 4896036"/>
              <a:gd name="connsiteY4" fmla="*/ 3461908 h 5157788"/>
              <a:gd name="connsiteX5" fmla="*/ 2160240 w 4896036"/>
              <a:gd name="connsiteY5" fmla="*/ 0 h 5157788"/>
              <a:gd name="connsiteX0" fmla="*/ 2232248 w 4968044"/>
              <a:gd name="connsiteY0" fmla="*/ 0 h 5157788"/>
              <a:gd name="connsiteX1" fmla="*/ 4968044 w 4968044"/>
              <a:gd name="connsiteY1" fmla="*/ 0 h 5157788"/>
              <a:gd name="connsiteX2" fmla="*/ 4968044 w 4968044"/>
              <a:gd name="connsiteY2" fmla="*/ 5157788 h 5157788"/>
              <a:gd name="connsiteX3" fmla="*/ 0 w 4968044"/>
              <a:gd name="connsiteY3" fmla="*/ 5153180 h 5157788"/>
              <a:gd name="connsiteX4" fmla="*/ 1944216 w 4968044"/>
              <a:gd name="connsiteY4" fmla="*/ 3461908 h 5157788"/>
              <a:gd name="connsiteX5" fmla="*/ 2232248 w 4968044"/>
              <a:gd name="connsiteY5" fmla="*/ 0 h 5157788"/>
              <a:gd name="connsiteX0" fmla="*/ 2207679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207679 w 4943475"/>
              <a:gd name="connsiteY5" fmla="*/ 0 h 5157788"/>
              <a:gd name="connsiteX0" fmla="*/ 2963763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963763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092200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71575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343583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675731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675731 w 4943475"/>
              <a:gd name="connsiteY5" fmla="*/ 0 h 5157788"/>
              <a:gd name="connsiteX0" fmla="*/ 2675731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675731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9672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19672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51412" h="5157788">
                <a:moveTo>
                  <a:pt x="2706687" y="0"/>
                </a:moveTo>
                <a:lnTo>
                  <a:pt x="4951412" y="0"/>
                </a:lnTo>
                <a:lnTo>
                  <a:pt x="4951412" y="5157788"/>
                </a:lnTo>
                <a:lnTo>
                  <a:pt x="0" y="5153180"/>
                </a:lnTo>
                <a:cubicBezTo>
                  <a:pt x="84411" y="4542509"/>
                  <a:pt x="183041" y="4024723"/>
                  <a:pt x="1243508" y="2562613"/>
                </a:cubicBezTo>
                <a:cubicBezTo>
                  <a:pt x="1867447" y="1704780"/>
                  <a:pt x="2665955" y="709265"/>
                  <a:pt x="2706687" y="0"/>
                </a:cubicBezTo>
                <a:close/>
              </a:path>
            </a:pathLst>
          </a:custGeom>
          <a:solidFill>
            <a:schemeClr val="bg2"/>
          </a:solidFill>
          <a:ln w="3175">
            <a:noFill/>
          </a:ln>
        </p:spPr>
        <p:txBody>
          <a:bodyPr tIns="720000" rtlCol="0" anchor="ctr">
            <a:noAutofit/>
          </a:bodyPr>
          <a:lstStyle>
            <a:lvl1pPr algn="ctr">
              <a:defRPr sz="1500">
                <a:solidFill>
                  <a:schemeClr val="bg1"/>
                </a:solidFill>
              </a:defRPr>
            </a:lvl1pPr>
          </a:lstStyle>
          <a:p>
            <a:pPr lvl="0"/>
            <a:r>
              <a:rPr lang="en-US" noProof="0"/>
              <a:t>Click icon to add picture</a:t>
            </a:r>
          </a:p>
        </p:txBody>
      </p:sp>
      <p:sp>
        <p:nvSpPr>
          <p:cNvPr id="11" name="Espace réservé de la date 9"/>
          <p:cNvSpPr>
            <a:spLocks noGrp="1"/>
          </p:cNvSpPr>
          <p:nvPr>
            <p:ph type="dt" sz="half" idx="20"/>
          </p:nvPr>
        </p:nvSpPr>
        <p:spPr/>
        <p:txBody>
          <a:bodyPr/>
          <a:lstStyle>
            <a:lvl1pPr>
              <a:defRPr/>
            </a:lvl1pPr>
          </a:lstStyle>
          <a:p>
            <a:pPr>
              <a:defRPr/>
            </a:pPr>
            <a:r>
              <a:rPr lang="en-US">
                <a:solidFill>
                  <a:prstClr val="white">
                    <a:alpha val="0"/>
                  </a:prstClr>
                </a:solidFill>
              </a:rPr>
              <a:t>Date</a:t>
            </a:r>
          </a:p>
        </p:txBody>
      </p:sp>
      <p:sp>
        <p:nvSpPr>
          <p:cNvPr id="12" name="Espace réservé du numéro de diapositive 10"/>
          <p:cNvSpPr>
            <a:spLocks noGrp="1"/>
          </p:cNvSpPr>
          <p:nvPr>
            <p:ph type="sldNum" sz="quarter" idx="21"/>
          </p:nvPr>
        </p:nvSpPr>
        <p:spPr/>
        <p:txBody>
          <a:bodyPr/>
          <a:lstStyle>
            <a:lvl1pPr>
              <a:defRPr sz="100">
                <a:solidFill>
                  <a:schemeClr val="bg1">
                    <a:alpha val="0"/>
                  </a:schemeClr>
                </a:solidFill>
              </a:defRPr>
            </a:lvl1pPr>
          </a:lstStyle>
          <a:p>
            <a:pPr>
              <a:defRPr/>
            </a:pPr>
            <a:r>
              <a:rPr lang="en-US">
                <a:solidFill>
                  <a:prstClr val="white">
                    <a:alpha val="0"/>
                  </a:prstClr>
                </a:solidFill>
              </a:rPr>
              <a:t>Page: </a:t>
            </a:r>
            <a:fld id="{4AF4F797-1FBC-44F9-B7CF-6A5F893B852E}" type="slidenum">
              <a:rPr lang="en-US">
                <a:solidFill>
                  <a:prstClr val="white">
                    <a:alpha val="0"/>
                  </a:prstClr>
                </a:solidFill>
              </a:rPr>
              <a:pPr>
                <a:defRPr/>
              </a:pPr>
              <a:t>‹#›</a:t>
            </a:fld>
            <a:endParaRPr lang="en-US">
              <a:solidFill>
                <a:prstClr val="white">
                  <a:alpha val="0"/>
                </a:prstClr>
              </a:solidFill>
            </a:endParaRPr>
          </a:p>
        </p:txBody>
      </p:sp>
      <p:sp>
        <p:nvSpPr>
          <p:cNvPr id="14" name="Espace réservé du pied de page 11"/>
          <p:cNvSpPr>
            <a:spLocks noGrp="1"/>
          </p:cNvSpPr>
          <p:nvPr>
            <p:ph type="ftr" sz="quarter" idx="22"/>
          </p:nvPr>
        </p:nvSpPr>
        <p:spPr>
          <a:xfrm>
            <a:off x="468313" y="523875"/>
            <a:ext cx="4824412" cy="360363"/>
          </a:xfrm>
        </p:spPr>
        <p:txBody>
          <a:bodyPr/>
          <a:lstStyle>
            <a:lvl1pPr algn="l">
              <a:defRPr sz="1800" b="0">
                <a:solidFill>
                  <a:schemeClr val="bg1"/>
                </a:solidFill>
              </a:defRPr>
            </a:lvl1pPr>
          </a:lstStyle>
          <a:p>
            <a:pPr>
              <a:defRPr/>
            </a:pPr>
            <a:r>
              <a:rPr lang="en-US">
                <a:solidFill>
                  <a:prstClr val="white"/>
                </a:solidFill>
              </a:rPr>
              <a:t>#</a:t>
            </a:r>
            <a:r>
              <a:rPr lang="en-US" err="1">
                <a:solidFill>
                  <a:prstClr val="white"/>
                </a:solidFill>
              </a:rPr>
              <a:t>vaccineswork</a:t>
            </a:r>
            <a:endParaRPr lang="en-US">
              <a:solidFill>
                <a:prstClr val="white"/>
              </a:solidFill>
            </a:endParaRPr>
          </a:p>
        </p:txBody>
      </p:sp>
    </p:spTree>
    <p:extLst>
      <p:ext uri="{BB962C8B-B14F-4D97-AF65-F5344CB8AC3E}">
        <p14:creationId xmlns:p14="http://schemas.microsoft.com/office/powerpoint/2010/main" val="2969361251"/>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hank_you_2">
    <p:spTree>
      <p:nvGrpSpPr>
        <p:cNvPr id="1" name=""/>
        <p:cNvGrpSpPr/>
        <p:nvPr/>
      </p:nvGrpSpPr>
      <p:grpSpPr>
        <a:xfrm>
          <a:off x="0" y="0"/>
          <a:ext cx="0" cy="0"/>
          <a:chOff x="0" y="0"/>
          <a:chExt cx="0" cy="0"/>
        </a:xfrm>
      </p:grpSpPr>
      <p:sp>
        <p:nvSpPr>
          <p:cNvPr id="5" name="Rectangle 4"/>
          <p:cNvSpPr/>
          <p:nvPr userDrawn="1"/>
        </p:nvSpPr>
        <p:spPr bwMode="gray">
          <a:xfrm>
            <a:off x="3635375" y="5265738"/>
            <a:ext cx="5508625" cy="15922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prstClr val="white"/>
              </a:solidFill>
            </a:endParaRPr>
          </a:p>
        </p:txBody>
      </p:sp>
      <p:pic>
        <p:nvPicPr>
          <p:cNvPr id="6" name="Image 20" descr="FD_1_L254.png"/>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gray">
          <a:xfrm>
            <a:off x="0" y="0"/>
            <a:ext cx="9144000" cy="51577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7" name="Image 19" descr="Bas_couv.png"/>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gray">
          <a:xfrm>
            <a:off x="0" y="5172075"/>
            <a:ext cx="3635375" cy="16859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8" name="Rectangle 7"/>
          <p:cNvSpPr/>
          <p:nvPr userDrawn="1"/>
        </p:nvSpPr>
        <p:spPr bwMode="gray">
          <a:xfrm>
            <a:off x="3635375" y="6354763"/>
            <a:ext cx="5113338" cy="2873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p>
            <a:pPr algn="r">
              <a:defRPr/>
            </a:pPr>
            <a:r>
              <a:rPr lang="en-US" sz="1000" err="1">
                <a:solidFill>
                  <a:srgbClr val="95D600"/>
                </a:solidFill>
              </a:rPr>
              <a:t>www.gavi.org</a:t>
            </a:r>
            <a:endParaRPr lang="en-US" sz="1000">
              <a:solidFill>
                <a:srgbClr val="95D600"/>
              </a:solidFill>
            </a:endParaRPr>
          </a:p>
        </p:txBody>
      </p:sp>
      <p:cxnSp>
        <p:nvCxnSpPr>
          <p:cNvPr id="10" name="Connecteur droit 13"/>
          <p:cNvCxnSpPr/>
          <p:nvPr userDrawn="1"/>
        </p:nvCxnSpPr>
        <p:spPr bwMode="gray">
          <a:xfrm flipH="1">
            <a:off x="468313" y="3402013"/>
            <a:ext cx="2447925" cy="0"/>
          </a:xfrm>
          <a:prstGeom prst="line">
            <a:avLst/>
          </a:prstGeom>
          <a:ln w="24130">
            <a:solidFill>
              <a:schemeClr val="accent1"/>
            </a:solidFill>
          </a:ln>
        </p:spPr>
        <p:style>
          <a:lnRef idx="1">
            <a:schemeClr val="accent1"/>
          </a:lnRef>
          <a:fillRef idx="0">
            <a:schemeClr val="accent1"/>
          </a:fillRef>
          <a:effectRef idx="0">
            <a:schemeClr val="accent1"/>
          </a:effectRef>
          <a:fontRef idx="minor">
            <a:schemeClr val="tx1"/>
          </a:fontRef>
        </p:style>
      </p:cxnSp>
      <p:sp>
        <p:nvSpPr>
          <p:cNvPr id="9" name="Espace réservé du texte 8"/>
          <p:cNvSpPr>
            <a:spLocks noGrp="1"/>
          </p:cNvSpPr>
          <p:nvPr>
            <p:ph type="body" sz="quarter" idx="13"/>
          </p:nvPr>
        </p:nvSpPr>
        <p:spPr bwMode="gray">
          <a:xfrm>
            <a:off x="468314" y="1036800"/>
            <a:ext cx="4824000" cy="2242800"/>
          </a:xfrm>
        </p:spPr>
        <p:txBody>
          <a:bodyPr anchor="b"/>
          <a:lstStyle>
            <a:lvl1pPr marL="0" indent="0" algn="l">
              <a:lnSpc>
                <a:spcPct val="90000"/>
              </a:lnSpc>
              <a:buNone/>
              <a:defRPr sz="2800" b="1" cap="none" baseline="0">
                <a:solidFill>
                  <a:schemeClr val="bg1"/>
                </a:solidFill>
              </a:defRPr>
            </a:lvl1pPr>
            <a:lvl2pPr marL="0" algn="ctr">
              <a:lnSpc>
                <a:spcPct val="100000"/>
              </a:lnSpc>
              <a:spcBef>
                <a:spcPts val="6900"/>
              </a:spcBef>
              <a:defRPr sz="2000" b="1">
                <a:solidFill>
                  <a:schemeClr val="bg1"/>
                </a:solidFill>
              </a:defRPr>
            </a:lvl2pPr>
          </a:lstStyle>
          <a:p>
            <a:pPr lvl="0"/>
            <a:r>
              <a:rPr lang="en-US" noProof="0"/>
              <a:t>Click to edit Master text styles</a:t>
            </a:r>
          </a:p>
        </p:txBody>
      </p:sp>
      <p:sp>
        <p:nvSpPr>
          <p:cNvPr id="15" name="Espace réservé du texte 14"/>
          <p:cNvSpPr>
            <a:spLocks noGrp="1"/>
          </p:cNvSpPr>
          <p:nvPr>
            <p:ph type="body" sz="quarter" idx="19"/>
          </p:nvPr>
        </p:nvSpPr>
        <p:spPr bwMode="gray">
          <a:xfrm>
            <a:off x="3635376" y="6021388"/>
            <a:ext cx="5113338" cy="324000"/>
          </a:xfrm>
        </p:spPr>
        <p:txBody>
          <a:bodyPr anchor="b"/>
          <a:lstStyle>
            <a:lvl1pPr algn="r">
              <a:lnSpc>
                <a:spcPct val="100000"/>
              </a:lnSpc>
              <a:defRPr sz="1000" b="1">
                <a:solidFill>
                  <a:schemeClr val="accent3"/>
                </a:solidFill>
              </a:defRPr>
            </a:lvl1pPr>
          </a:lstStyle>
          <a:p>
            <a:pPr lvl="0"/>
            <a:r>
              <a:rPr lang="en-US" noProof="0"/>
              <a:t>Click to edit Master text styles</a:t>
            </a:r>
          </a:p>
        </p:txBody>
      </p:sp>
      <p:sp>
        <p:nvSpPr>
          <p:cNvPr id="13" name="Espace réservé pour une image  17"/>
          <p:cNvSpPr>
            <a:spLocks noGrp="1"/>
          </p:cNvSpPr>
          <p:nvPr>
            <p:ph type="pic" sz="quarter" idx="18"/>
          </p:nvPr>
        </p:nvSpPr>
        <p:spPr bwMode="gray">
          <a:xfrm>
            <a:off x="4192588" y="0"/>
            <a:ext cx="4951412" cy="5162400"/>
          </a:xfrm>
          <a:custGeom>
            <a:avLst/>
            <a:gdLst>
              <a:gd name="connsiteX0" fmla="*/ 0 w 3851275"/>
              <a:gd name="connsiteY0" fmla="*/ 0 h 5157788"/>
              <a:gd name="connsiteX1" fmla="*/ 3851275 w 3851275"/>
              <a:gd name="connsiteY1" fmla="*/ 0 h 5157788"/>
              <a:gd name="connsiteX2" fmla="*/ 3851275 w 3851275"/>
              <a:gd name="connsiteY2" fmla="*/ 5157788 h 5157788"/>
              <a:gd name="connsiteX3" fmla="*/ 0 w 3851275"/>
              <a:gd name="connsiteY3" fmla="*/ 5157788 h 5157788"/>
              <a:gd name="connsiteX4" fmla="*/ 0 w 3851275"/>
              <a:gd name="connsiteY4"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0 w 3851275"/>
              <a:gd name="connsiteY3" fmla="*/ 5157788 h 5157788"/>
              <a:gd name="connsiteX4" fmla="*/ 1692275 w 3851275"/>
              <a:gd name="connsiteY4" fmla="*/ 0 h 5157788"/>
              <a:gd name="connsiteX0" fmla="*/ 0 w 2159000"/>
              <a:gd name="connsiteY0" fmla="*/ 0 h 5157788"/>
              <a:gd name="connsiteX1" fmla="*/ 2159000 w 2159000"/>
              <a:gd name="connsiteY1" fmla="*/ 0 h 5157788"/>
              <a:gd name="connsiteX2" fmla="*/ 2159000 w 2159000"/>
              <a:gd name="connsiteY2" fmla="*/ 5157788 h 5157788"/>
              <a:gd name="connsiteX3" fmla="*/ 0 w 2159000"/>
              <a:gd name="connsiteY3" fmla="*/ 5157788 h 5157788"/>
              <a:gd name="connsiteX4" fmla="*/ 0 w 2159000"/>
              <a:gd name="connsiteY4" fmla="*/ 0 h 5157788"/>
              <a:gd name="connsiteX0" fmla="*/ 2625271 w 4784271"/>
              <a:gd name="connsiteY0" fmla="*/ 0 h 5157788"/>
              <a:gd name="connsiteX1" fmla="*/ 4784271 w 4784271"/>
              <a:gd name="connsiteY1" fmla="*/ 0 h 5157788"/>
              <a:gd name="connsiteX2" fmla="*/ 4784271 w 4784271"/>
              <a:gd name="connsiteY2" fmla="*/ 5157788 h 5157788"/>
              <a:gd name="connsiteX3" fmla="*/ 2625271 w 4784271"/>
              <a:gd name="connsiteY3" fmla="*/ 5157788 h 5157788"/>
              <a:gd name="connsiteX4" fmla="*/ 2625271 w 4784271"/>
              <a:gd name="connsiteY4" fmla="*/ 0 h 5157788"/>
              <a:gd name="connsiteX0" fmla="*/ 2625271 w 4784271"/>
              <a:gd name="connsiteY0" fmla="*/ 0 h 5157788"/>
              <a:gd name="connsiteX1" fmla="*/ 4784271 w 4784271"/>
              <a:gd name="connsiteY1" fmla="*/ 0 h 5157788"/>
              <a:gd name="connsiteX2" fmla="*/ 4784271 w 4784271"/>
              <a:gd name="connsiteY2" fmla="*/ 5157788 h 5157788"/>
              <a:gd name="connsiteX3" fmla="*/ 2625271 w 4784271"/>
              <a:gd name="connsiteY3" fmla="*/ 5157788 h 5157788"/>
              <a:gd name="connsiteX4" fmla="*/ 2625271 w 4784271"/>
              <a:gd name="connsiteY4" fmla="*/ 0 h 5157788"/>
              <a:gd name="connsiteX0" fmla="*/ 3568576 w 5727576"/>
              <a:gd name="connsiteY0" fmla="*/ 0 h 5157788"/>
              <a:gd name="connsiteX1" fmla="*/ 5727576 w 5727576"/>
              <a:gd name="connsiteY1" fmla="*/ 0 h 5157788"/>
              <a:gd name="connsiteX2" fmla="*/ 5727576 w 5727576"/>
              <a:gd name="connsiteY2" fmla="*/ 5157788 h 5157788"/>
              <a:gd name="connsiteX3" fmla="*/ 3568576 w 5727576"/>
              <a:gd name="connsiteY3" fmla="*/ 5157788 h 5157788"/>
              <a:gd name="connsiteX4" fmla="*/ 3568576 w 5727576"/>
              <a:gd name="connsiteY4" fmla="*/ 0 h 5157788"/>
              <a:gd name="connsiteX0" fmla="*/ 3306355 w 5465355"/>
              <a:gd name="connsiteY0" fmla="*/ 0 h 5157788"/>
              <a:gd name="connsiteX1" fmla="*/ 5465355 w 5465355"/>
              <a:gd name="connsiteY1" fmla="*/ 0 h 5157788"/>
              <a:gd name="connsiteX2" fmla="*/ 5465355 w 5465355"/>
              <a:gd name="connsiteY2" fmla="*/ 5157788 h 5157788"/>
              <a:gd name="connsiteX3" fmla="*/ 3306355 w 5465355"/>
              <a:gd name="connsiteY3" fmla="*/ 5157788 h 5157788"/>
              <a:gd name="connsiteX4" fmla="*/ 3306355 w 5465355"/>
              <a:gd name="connsiteY4" fmla="*/ 0 h 5157788"/>
              <a:gd name="connsiteX0" fmla="*/ 1416957 w 3575957"/>
              <a:gd name="connsiteY0" fmla="*/ 0 h 5157788"/>
              <a:gd name="connsiteX1" fmla="*/ 3575957 w 3575957"/>
              <a:gd name="connsiteY1" fmla="*/ 0 h 5157788"/>
              <a:gd name="connsiteX2" fmla="*/ 3575957 w 3575957"/>
              <a:gd name="connsiteY2" fmla="*/ 5157788 h 5157788"/>
              <a:gd name="connsiteX3" fmla="*/ 1416957 w 3575957"/>
              <a:gd name="connsiteY3" fmla="*/ 5157788 h 5157788"/>
              <a:gd name="connsiteX4" fmla="*/ 0 w 3575957"/>
              <a:gd name="connsiteY4" fmla="*/ 3339193 h 5157788"/>
              <a:gd name="connsiteX5" fmla="*/ 1416957 w 3575957"/>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6017419"/>
              <a:gd name="connsiteX1" fmla="*/ 3851275 w 3851275"/>
              <a:gd name="connsiteY1" fmla="*/ 0 h 6017419"/>
              <a:gd name="connsiteX2" fmla="*/ 3851275 w 3851275"/>
              <a:gd name="connsiteY2" fmla="*/ 5157788 h 6017419"/>
              <a:gd name="connsiteX3" fmla="*/ 1692275 w 3851275"/>
              <a:gd name="connsiteY3" fmla="*/ 5157788 h 6017419"/>
              <a:gd name="connsiteX4" fmla="*/ 0 w 3851275"/>
              <a:gd name="connsiteY4" fmla="*/ 3284984 h 6017419"/>
              <a:gd name="connsiteX5" fmla="*/ 1692275 w 3851275"/>
              <a:gd name="connsiteY5" fmla="*/ 0 h 6017419"/>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429000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429000 h 5157788"/>
              <a:gd name="connsiteX5" fmla="*/ 1710871 w 3869871"/>
              <a:gd name="connsiteY5" fmla="*/ 0 h 5157788"/>
              <a:gd name="connsiteX0" fmla="*/ 1704975 w 3863975"/>
              <a:gd name="connsiteY0" fmla="*/ 0 h 5157788"/>
              <a:gd name="connsiteX1" fmla="*/ 3863975 w 3863975"/>
              <a:gd name="connsiteY1" fmla="*/ 0 h 5157788"/>
              <a:gd name="connsiteX2" fmla="*/ 3863975 w 3863975"/>
              <a:gd name="connsiteY2" fmla="*/ 5157788 h 5157788"/>
              <a:gd name="connsiteX3" fmla="*/ 1704975 w 3863975"/>
              <a:gd name="connsiteY3" fmla="*/ 5157788 h 5157788"/>
              <a:gd name="connsiteX4" fmla="*/ 12700 w 3863975"/>
              <a:gd name="connsiteY4" fmla="*/ 3429000 h 5157788"/>
              <a:gd name="connsiteX5" fmla="*/ 1704975 w 3863975"/>
              <a:gd name="connsiteY5" fmla="*/ 0 h 5157788"/>
              <a:gd name="connsiteX0" fmla="*/ 1707243 w 3866243"/>
              <a:gd name="connsiteY0" fmla="*/ 0 h 5157788"/>
              <a:gd name="connsiteX1" fmla="*/ 3866243 w 3866243"/>
              <a:gd name="connsiteY1" fmla="*/ 0 h 5157788"/>
              <a:gd name="connsiteX2" fmla="*/ 3866243 w 3866243"/>
              <a:gd name="connsiteY2" fmla="*/ 5157788 h 5157788"/>
              <a:gd name="connsiteX3" fmla="*/ 1707243 w 3866243"/>
              <a:gd name="connsiteY3" fmla="*/ 5157788 h 5157788"/>
              <a:gd name="connsiteX4" fmla="*/ 14968 w 3866243"/>
              <a:gd name="connsiteY4" fmla="*/ 3429000 h 5157788"/>
              <a:gd name="connsiteX5" fmla="*/ 1707243 w 3866243"/>
              <a:gd name="connsiteY5" fmla="*/ 0 h 5157788"/>
              <a:gd name="connsiteX0" fmla="*/ 1130447 w 3866243"/>
              <a:gd name="connsiteY0" fmla="*/ 0 h 5157788"/>
              <a:gd name="connsiteX1" fmla="*/ 3866243 w 3866243"/>
              <a:gd name="connsiteY1" fmla="*/ 0 h 5157788"/>
              <a:gd name="connsiteX2" fmla="*/ 3866243 w 3866243"/>
              <a:gd name="connsiteY2" fmla="*/ 5157788 h 5157788"/>
              <a:gd name="connsiteX3" fmla="*/ 1707243 w 3866243"/>
              <a:gd name="connsiteY3" fmla="*/ 5157788 h 5157788"/>
              <a:gd name="connsiteX4" fmla="*/ 14968 w 3866243"/>
              <a:gd name="connsiteY4" fmla="*/ 3429000 h 5157788"/>
              <a:gd name="connsiteX5" fmla="*/ 1130447 w 3866243"/>
              <a:gd name="connsiteY5" fmla="*/ 0 h 5157788"/>
              <a:gd name="connsiteX0" fmla="*/ 2746143 w 5481939"/>
              <a:gd name="connsiteY0" fmla="*/ 0 h 5157788"/>
              <a:gd name="connsiteX1" fmla="*/ 5481939 w 5481939"/>
              <a:gd name="connsiteY1" fmla="*/ 0 h 5157788"/>
              <a:gd name="connsiteX2" fmla="*/ 5481939 w 5481939"/>
              <a:gd name="connsiteY2" fmla="*/ 5157788 h 5157788"/>
              <a:gd name="connsiteX3" fmla="*/ 585903 w 5481939"/>
              <a:gd name="connsiteY3" fmla="*/ 5153180 h 5157788"/>
              <a:gd name="connsiteX4" fmla="*/ 1630664 w 5481939"/>
              <a:gd name="connsiteY4" fmla="*/ 3429000 h 5157788"/>
              <a:gd name="connsiteX5" fmla="*/ 2746143 w 5481939"/>
              <a:gd name="connsiteY5" fmla="*/ 0 h 5157788"/>
              <a:gd name="connsiteX0" fmla="*/ 2746143 w 5481939"/>
              <a:gd name="connsiteY0" fmla="*/ 0 h 5157788"/>
              <a:gd name="connsiteX1" fmla="*/ 5481939 w 5481939"/>
              <a:gd name="connsiteY1" fmla="*/ 0 h 5157788"/>
              <a:gd name="connsiteX2" fmla="*/ 5481939 w 5481939"/>
              <a:gd name="connsiteY2" fmla="*/ 5157788 h 5157788"/>
              <a:gd name="connsiteX3" fmla="*/ 585903 w 5481939"/>
              <a:gd name="connsiteY3" fmla="*/ 5153180 h 5157788"/>
              <a:gd name="connsiteX4" fmla="*/ 1630664 w 5481939"/>
              <a:gd name="connsiteY4" fmla="*/ 3429000 h 5157788"/>
              <a:gd name="connsiteX5" fmla="*/ 2746143 w 548193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3574235 w 6310031"/>
              <a:gd name="connsiteY0" fmla="*/ 0 h 5157788"/>
              <a:gd name="connsiteX1" fmla="*/ 6310031 w 6310031"/>
              <a:gd name="connsiteY1" fmla="*/ 0 h 5157788"/>
              <a:gd name="connsiteX2" fmla="*/ 6310031 w 6310031"/>
              <a:gd name="connsiteY2" fmla="*/ 5157788 h 5157788"/>
              <a:gd name="connsiteX3" fmla="*/ 585903 w 6310031"/>
              <a:gd name="connsiteY3" fmla="*/ 5153180 h 5157788"/>
              <a:gd name="connsiteX4" fmla="*/ 1738031 w 6310031"/>
              <a:gd name="connsiteY4" fmla="*/ 3389965 h 5157788"/>
              <a:gd name="connsiteX5" fmla="*/ 3574235 w 6310031"/>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296143 w 5724128"/>
              <a:gd name="connsiteY4" fmla="*/ 3461908 h 5157788"/>
              <a:gd name="connsiteX5" fmla="*/ 2988332 w 5724128"/>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1188132 w 5760132"/>
              <a:gd name="connsiteY4" fmla="*/ 3425937 h 5157788"/>
              <a:gd name="connsiteX5" fmla="*/ 3024336 w 5760132"/>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2736304 w 5760132"/>
              <a:gd name="connsiteY4" fmla="*/ 3461908 h 5157788"/>
              <a:gd name="connsiteX5" fmla="*/ 3024336 w 5760132"/>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2736304 w 5760132"/>
              <a:gd name="connsiteY4" fmla="*/ 3461908 h 5157788"/>
              <a:gd name="connsiteX5" fmla="*/ 3024336 w 5760132"/>
              <a:gd name="connsiteY5" fmla="*/ 0 h 5157788"/>
              <a:gd name="connsiteX0" fmla="*/ 2160240 w 4896036"/>
              <a:gd name="connsiteY0" fmla="*/ 0 h 5157788"/>
              <a:gd name="connsiteX1" fmla="*/ 4896036 w 4896036"/>
              <a:gd name="connsiteY1" fmla="*/ 0 h 5157788"/>
              <a:gd name="connsiteX2" fmla="*/ 4896036 w 4896036"/>
              <a:gd name="connsiteY2" fmla="*/ 5157788 h 5157788"/>
              <a:gd name="connsiteX3" fmla="*/ 0 w 4896036"/>
              <a:gd name="connsiteY3" fmla="*/ 5153180 h 5157788"/>
              <a:gd name="connsiteX4" fmla="*/ 1872208 w 4896036"/>
              <a:gd name="connsiteY4" fmla="*/ 3461908 h 5157788"/>
              <a:gd name="connsiteX5" fmla="*/ 2160240 w 4896036"/>
              <a:gd name="connsiteY5" fmla="*/ 0 h 5157788"/>
              <a:gd name="connsiteX0" fmla="*/ 2232248 w 4968044"/>
              <a:gd name="connsiteY0" fmla="*/ 0 h 5157788"/>
              <a:gd name="connsiteX1" fmla="*/ 4968044 w 4968044"/>
              <a:gd name="connsiteY1" fmla="*/ 0 h 5157788"/>
              <a:gd name="connsiteX2" fmla="*/ 4968044 w 4968044"/>
              <a:gd name="connsiteY2" fmla="*/ 5157788 h 5157788"/>
              <a:gd name="connsiteX3" fmla="*/ 0 w 4968044"/>
              <a:gd name="connsiteY3" fmla="*/ 5153180 h 5157788"/>
              <a:gd name="connsiteX4" fmla="*/ 1944216 w 4968044"/>
              <a:gd name="connsiteY4" fmla="*/ 3461908 h 5157788"/>
              <a:gd name="connsiteX5" fmla="*/ 2232248 w 4968044"/>
              <a:gd name="connsiteY5" fmla="*/ 0 h 5157788"/>
              <a:gd name="connsiteX0" fmla="*/ 2207679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207679 w 4943475"/>
              <a:gd name="connsiteY5" fmla="*/ 0 h 5157788"/>
              <a:gd name="connsiteX0" fmla="*/ 2963763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963763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092200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71575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343583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675731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675731 w 4943475"/>
              <a:gd name="connsiteY5" fmla="*/ 0 h 5157788"/>
              <a:gd name="connsiteX0" fmla="*/ 2675731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675731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9672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19672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51412" h="5157788">
                <a:moveTo>
                  <a:pt x="2706687" y="0"/>
                </a:moveTo>
                <a:lnTo>
                  <a:pt x="4951412" y="0"/>
                </a:lnTo>
                <a:lnTo>
                  <a:pt x="4951412" y="5157788"/>
                </a:lnTo>
                <a:lnTo>
                  <a:pt x="0" y="5153180"/>
                </a:lnTo>
                <a:cubicBezTo>
                  <a:pt x="84411" y="4542509"/>
                  <a:pt x="183041" y="4024723"/>
                  <a:pt x="1243508" y="2562613"/>
                </a:cubicBezTo>
                <a:cubicBezTo>
                  <a:pt x="1867447" y="1704780"/>
                  <a:pt x="2665955" y="709265"/>
                  <a:pt x="2706687" y="0"/>
                </a:cubicBezTo>
                <a:close/>
              </a:path>
            </a:pathLst>
          </a:custGeom>
          <a:solidFill>
            <a:schemeClr val="bg2"/>
          </a:solidFill>
          <a:ln w="3175">
            <a:noFill/>
          </a:ln>
        </p:spPr>
        <p:txBody>
          <a:bodyPr tIns="720000" rtlCol="0" anchor="ctr">
            <a:noAutofit/>
          </a:bodyPr>
          <a:lstStyle>
            <a:lvl1pPr algn="ctr">
              <a:defRPr sz="1500">
                <a:solidFill>
                  <a:schemeClr val="bg1"/>
                </a:solidFill>
              </a:defRPr>
            </a:lvl1pPr>
          </a:lstStyle>
          <a:p>
            <a:pPr lvl="0"/>
            <a:r>
              <a:rPr lang="en-US" noProof="0"/>
              <a:t>Click icon to add picture</a:t>
            </a:r>
          </a:p>
        </p:txBody>
      </p:sp>
      <p:sp>
        <p:nvSpPr>
          <p:cNvPr id="11" name="Espace réservé de la date 9"/>
          <p:cNvSpPr>
            <a:spLocks noGrp="1"/>
          </p:cNvSpPr>
          <p:nvPr>
            <p:ph type="dt" sz="half" idx="20"/>
          </p:nvPr>
        </p:nvSpPr>
        <p:spPr/>
        <p:txBody>
          <a:bodyPr/>
          <a:lstStyle>
            <a:lvl1pPr>
              <a:defRPr/>
            </a:lvl1pPr>
          </a:lstStyle>
          <a:p>
            <a:pPr>
              <a:defRPr/>
            </a:pPr>
            <a:r>
              <a:rPr lang="en-US">
                <a:solidFill>
                  <a:prstClr val="white">
                    <a:alpha val="0"/>
                  </a:prstClr>
                </a:solidFill>
              </a:rPr>
              <a:t>Date</a:t>
            </a:r>
          </a:p>
        </p:txBody>
      </p:sp>
      <p:sp>
        <p:nvSpPr>
          <p:cNvPr id="12" name="Espace réservé du numéro de diapositive 10"/>
          <p:cNvSpPr>
            <a:spLocks noGrp="1"/>
          </p:cNvSpPr>
          <p:nvPr>
            <p:ph type="sldNum" sz="quarter" idx="21"/>
          </p:nvPr>
        </p:nvSpPr>
        <p:spPr/>
        <p:txBody>
          <a:bodyPr/>
          <a:lstStyle>
            <a:lvl1pPr>
              <a:defRPr sz="100">
                <a:solidFill>
                  <a:schemeClr val="bg1">
                    <a:alpha val="0"/>
                  </a:schemeClr>
                </a:solidFill>
              </a:defRPr>
            </a:lvl1pPr>
          </a:lstStyle>
          <a:p>
            <a:pPr>
              <a:defRPr/>
            </a:pPr>
            <a:r>
              <a:rPr lang="en-US">
                <a:solidFill>
                  <a:prstClr val="white">
                    <a:alpha val="0"/>
                  </a:prstClr>
                </a:solidFill>
              </a:rPr>
              <a:t>Page: </a:t>
            </a:r>
            <a:fld id="{168EB3F5-198F-4211-80D0-E690EB6CEA77}" type="slidenum">
              <a:rPr lang="en-US">
                <a:solidFill>
                  <a:prstClr val="white">
                    <a:alpha val="0"/>
                  </a:prstClr>
                </a:solidFill>
              </a:rPr>
              <a:pPr>
                <a:defRPr/>
              </a:pPr>
              <a:t>‹#›</a:t>
            </a:fld>
            <a:endParaRPr lang="en-US">
              <a:solidFill>
                <a:prstClr val="white">
                  <a:alpha val="0"/>
                </a:prstClr>
              </a:solidFill>
            </a:endParaRPr>
          </a:p>
        </p:txBody>
      </p:sp>
      <p:sp>
        <p:nvSpPr>
          <p:cNvPr id="14" name="Espace réservé du pied de page 11"/>
          <p:cNvSpPr>
            <a:spLocks noGrp="1"/>
          </p:cNvSpPr>
          <p:nvPr>
            <p:ph type="ftr" sz="quarter" idx="22"/>
          </p:nvPr>
        </p:nvSpPr>
        <p:spPr>
          <a:xfrm>
            <a:off x="468313" y="523875"/>
            <a:ext cx="4824412" cy="360363"/>
          </a:xfrm>
        </p:spPr>
        <p:txBody>
          <a:bodyPr/>
          <a:lstStyle>
            <a:lvl1pPr algn="l">
              <a:defRPr sz="1800" b="0">
                <a:solidFill>
                  <a:schemeClr val="bg1"/>
                </a:solidFill>
              </a:defRPr>
            </a:lvl1pPr>
          </a:lstStyle>
          <a:p>
            <a:pPr>
              <a:defRPr/>
            </a:pPr>
            <a:r>
              <a:rPr lang="en-US">
                <a:solidFill>
                  <a:prstClr val="white"/>
                </a:solidFill>
              </a:rPr>
              <a:t>#</a:t>
            </a:r>
            <a:r>
              <a:rPr lang="en-US" err="1">
                <a:solidFill>
                  <a:prstClr val="white"/>
                </a:solidFill>
              </a:rPr>
              <a:t>vaccineswork</a:t>
            </a:r>
            <a:endParaRPr lang="en-US">
              <a:solidFill>
                <a:prstClr val="white"/>
              </a:solidFill>
            </a:endParaRPr>
          </a:p>
        </p:txBody>
      </p:sp>
    </p:spTree>
    <p:extLst>
      <p:ext uri="{BB962C8B-B14F-4D97-AF65-F5344CB8AC3E}">
        <p14:creationId xmlns:p14="http://schemas.microsoft.com/office/powerpoint/2010/main" val="3078835065"/>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userDrawn="1">
  <p:cSld name="Text and Visual">
    <p:spTree>
      <p:nvGrpSpPr>
        <p:cNvPr id="1" name=""/>
        <p:cNvGrpSpPr/>
        <p:nvPr/>
      </p:nvGrpSpPr>
      <p:grpSpPr>
        <a:xfrm>
          <a:off x="0" y="0"/>
          <a:ext cx="0" cy="0"/>
          <a:chOff x="0" y="0"/>
          <a:chExt cx="0" cy="0"/>
        </a:xfrm>
      </p:grpSpPr>
      <p:sp>
        <p:nvSpPr>
          <p:cNvPr id="2" name="Title 1"/>
          <p:cNvSpPr>
            <a:spLocks noGrp="1"/>
          </p:cNvSpPr>
          <p:nvPr>
            <p:ph type="title"/>
          </p:nvPr>
        </p:nvSpPr>
        <p:spPr>
          <a:xfrm>
            <a:off x="973138" y="225211"/>
            <a:ext cx="7207249" cy="697999"/>
          </a:xfrm>
        </p:spPr>
        <p:txBody>
          <a:bodyPr/>
          <a:lstStyle/>
          <a:p>
            <a:r>
              <a:rPr lang="en-US"/>
              <a:t>Click to edit Master title style</a:t>
            </a:r>
          </a:p>
        </p:txBody>
      </p:sp>
      <p:sp>
        <p:nvSpPr>
          <p:cNvPr id="4" name="Content Placeholder 3"/>
          <p:cNvSpPr>
            <a:spLocks noGrp="1"/>
          </p:cNvSpPr>
          <p:nvPr>
            <p:ph sz="half" idx="2"/>
          </p:nvPr>
        </p:nvSpPr>
        <p:spPr>
          <a:xfrm>
            <a:off x="3425825" y="2302159"/>
            <a:ext cx="4754564" cy="2541673"/>
          </a:xfrm>
        </p:spPr>
        <p:txBody>
          <a:bodyPr/>
          <a:lstStyle>
            <a:lvl1pPr>
              <a:defRPr sz="1600"/>
            </a:lvl1pPr>
            <a:lvl2pPr marL="457200" indent="0">
              <a:buNone/>
              <a:defRPr sz="1600"/>
            </a:lvl2pPr>
            <a:lvl3pPr marL="914400" indent="0">
              <a:buNone/>
              <a:defRPr sz="1600"/>
            </a:lvl3pPr>
            <a:lvl4pPr marL="1371600" indent="0">
              <a:buNone/>
              <a:defRPr sz="1600"/>
            </a:lvl4pPr>
            <a:lvl5pPr marL="1828800" indent="0">
              <a:buNone/>
              <a:defRPr sz="16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p:cNvSpPr>
            <a:spLocks noGrp="1"/>
          </p:cNvSpPr>
          <p:nvPr>
            <p:ph type="pic" sz="quarter" idx="13"/>
          </p:nvPr>
        </p:nvSpPr>
        <p:spPr>
          <a:xfrm>
            <a:off x="973138" y="1247776"/>
            <a:ext cx="2300287" cy="3450384"/>
          </a:xfrm>
        </p:spPr>
        <p:txBody>
          <a:bodyPr rtlCol="0">
            <a:noAutofit/>
          </a:bodyPr>
          <a:lstStyle/>
          <a:p>
            <a:pPr lvl="0"/>
            <a:endParaRPr lang="en-US" noProof="0"/>
          </a:p>
        </p:txBody>
      </p:sp>
      <p:sp>
        <p:nvSpPr>
          <p:cNvPr id="10" name="Content Placeholder 3"/>
          <p:cNvSpPr>
            <a:spLocks noGrp="1"/>
          </p:cNvSpPr>
          <p:nvPr>
            <p:ph sz="half" idx="14"/>
          </p:nvPr>
        </p:nvSpPr>
        <p:spPr>
          <a:xfrm>
            <a:off x="3425825" y="1241426"/>
            <a:ext cx="4754564" cy="879316"/>
          </a:xfrm>
        </p:spPr>
        <p:txBody>
          <a:bodyPr/>
          <a:lstStyle>
            <a:lvl1pPr marL="0" indent="0">
              <a:buNone/>
              <a:defRPr sz="1600">
                <a:solidFill>
                  <a:srgbClr val="005CB9"/>
                </a:solidFill>
              </a:defRPr>
            </a:lvl1pPr>
            <a:lvl2pPr marL="457200" indent="0">
              <a:buNone/>
              <a:defRPr sz="1400">
                <a:solidFill>
                  <a:srgbClr val="005CB9"/>
                </a:solidFill>
              </a:defRPr>
            </a:lvl2pPr>
            <a:lvl3pPr marL="914400" indent="0">
              <a:buNone/>
              <a:defRPr sz="1400">
                <a:solidFill>
                  <a:srgbClr val="005CB9"/>
                </a:solidFill>
              </a:defRPr>
            </a:lvl3pPr>
            <a:lvl4pPr marL="1371600" indent="0">
              <a:buNone/>
              <a:defRPr sz="1400">
                <a:solidFill>
                  <a:srgbClr val="005CB9"/>
                </a:solidFill>
              </a:defRPr>
            </a:lvl4pPr>
            <a:lvl5pPr marL="1828800" indent="0">
              <a:buNone/>
              <a:defRPr sz="1400">
                <a:solidFill>
                  <a:srgbClr val="005CB9"/>
                </a:solidFill>
              </a:defRPr>
            </a:lvl5pPr>
            <a:lvl6pPr>
              <a:defRPr sz="1800"/>
            </a:lvl6pPr>
            <a:lvl7pPr>
              <a:defRPr sz="1800"/>
            </a:lvl7pPr>
            <a:lvl8pPr>
              <a:defRPr sz="1800"/>
            </a:lvl8pPr>
            <a:lvl9pPr>
              <a:defRPr sz="1800"/>
            </a:lvl9pPr>
          </a:lstStyle>
          <a:p>
            <a:pPr lvl="0"/>
            <a:r>
              <a:rPr lang="en-US"/>
              <a:t>Click to edit Master text styles</a:t>
            </a:r>
          </a:p>
        </p:txBody>
      </p:sp>
      <p:sp>
        <p:nvSpPr>
          <p:cNvPr id="6" name="Footer Placeholder 5"/>
          <p:cNvSpPr>
            <a:spLocks noGrp="1"/>
          </p:cNvSpPr>
          <p:nvPr>
            <p:ph type="ftr" sz="quarter" idx="15"/>
          </p:nvPr>
        </p:nvSpPr>
        <p:spPr/>
        <p:txBody>
          <a:bodyPr/>
          <a:lstStyle>
            <a:lvl1pPr>
              <a:defRPr/>
            </a:lvl1pPr>
          </a:lstStyle>
          <a:p>
            <a:pPr>
              <a:defRPr/>
            </a:pPr>
            <a:r>
              <a:rPr lang="en-US">
                <a:solidFill>
                  <a:srgbClr val="005CB9"/>
                </a:solidFill>
              </a:rPr>
              <a:t>Basic facts about </a:t>
            </a:r>
            <a:r>
              <a:rPr lang="en-US" err="1">
                <a:solidFill>
                  <a:srgbClr val="005CB9"/>
                </a:solidFill>
              </a:rPr>
              <a:t>Gavi</a:t>
            </a:r>
            <a:r>
              <a:rPr lang="en-US">
                <a:solidFill>
                  <a:srgbClr val="005CB9"/>
                </a:solidFill>
              </a:rPr>
              <a:t> the Vaccine Alliance</a:t>
            </a:r>
          </a:p>
        </p:txBody>
      </p:sp>
      <p:sp>
        <p:nvSpPr>
          <p:cNvPr id="7" name="Slide Number Placeholder 6"/>
          <p:cNvSpPr>
            <a:spLocks noGrp="1"/>
          </p:cNvSpPr>
          <p:nvPr>
            <p:ph type="sldNum" sz="quarter" idx="16"/>
          </p:nvPr>
        </p:nvSpPr>
        <p:spPr/>
        <p:txBody>
          <a:bodyPr/>
          <a:lstStyle>
            <a:lvl1pPr algn="ctr">
              <a:defRPr/>
            </a:lvl1pPr>
          </a:lstStyle>
          <a:p>
            <a:pPr>
              <a:defRPr/>
            </a:pPr>
            <a:fld id="{FFE8DD00-E6C1-42A5-A44D-4115350A5429}" type="slidenum">
              <a:rPr lang="en-US">
                <a:solidFill>
                  <a:srgbClr val="343434"/>
                </a:solidFill>
              </a:rPr>
              <a:pPr>
                <a:defRPr/>
              </a:pPr>
              <a:t>‹#›</a:t>
            </a:fld>
            <a:endParaRPr lang="en-US">
              <a:solidFill>
                <a:srgbClr val="343434"/>
              </a:solidFill>
            </a:endParaRPr>
          </a:p>
        </p:txBody>
      </p:sp>
    </p:spTree>
    <p:extLst>
      <p:ext uri="{BB962C8B-B14F-4D97-AF65-F5344CB8AC3E}">
        <p14:creationId xmlns:p14="http://schemas.microsoft.com/office/powerpoint/2010/main" val="1086595561"/>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userDrawn="1">
  <p:cSld name="Text&amp;4_Blocks_Layout">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p:txBody>
          <a:bodyPr/>
          <a:lstStyle/>
          <a:p>
            <a:r>
              <a:rPr lang="en-GB" noProof="0"/>
              <a:t>TITLE</a:t>
            </a:r>
          </a:p>
        </p:txBody>
      </p:sp>
      <p:sp>
        <p:nvSpPr>
          <p:cNvPr id="10" name="Espace réservé du texte 9"/>
          <p:cNvSpPr>
            <a:spLocks noGrp="1"/>
          </p:cNvSpPr>
          <p:nvPr>
            <p:ph type="body" sz="quarter" idx="13" hasCustomPrompt="1"/>
          </p:nvPr>
        </p:nvSpPr>
        <p:spPr bwMode="gray">
          <a:xfrm>
            <a:off x="935038" y="1304924"/>
            <a:ext cx="7345362" cy="936626"/>
          </a:xfrm>
        </p:spPr>
        <p:txBody>
          <a:body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8" name="Espace réservé de la date 7"/>
          <p:cNvSpPr>
            <a:spLocks noGrp="1"/>
          </p:cNvSpPr>
          <p:nvPr>
            <p:ph type="dt" sz="half" idx="14"/>
          </p:nvPr>
        </p:nvSpPr>
        <p:spPr bwMode="gray"/>
        <p:txBody>
          <a:bodyPr/>
          <a:lstStyle/>
          <a:p>
            <a:r>
              <a:rPr lang="en-US">
                <a:solidFill>
                  <a:prstClr val="white">
                    <a:alpha val="0"/>
                  </a:prstClr>
                </a:solidFill>
              </a:rPr>
              <a:t>Date</a:t>
            </a:r>
            <a:endParaRPr lang="en-GB">
              <a:solidFill>
                <a:prstClr val="white">
                  <a:alpha val="0"/>
                </a:prstClr>
              </a:solidFill>
            </a:endParaRPr>
          </a:p>
        </p:txBody>
      </p:sp>
      <p:sp>
        <p:nvSpPr>
          <p:cNvPr id="9" name="Espace réservé du numéro de diapositive 8"/>
          <p:cNvSpPr>
            <a:spLocks noGrp="1"/>
          </p:cNvSpPr>
          <p:nvPr>
            <p:ph type="sldNum" sz="quarter" idx="15"/>
          </p:nvPr>
        </p:nvSpPr>
        <p:spPr bwMode="gray"/>
        <p:txBody>
          <a:bodyPr/>
          <a:lstStyle/>
          <a:p>
            <a:fld id="{733122C9-A0B9-462F-8757-0847AD287B63}" type="slidenum">
              <a:rPr lang="en-GB" smtClean="0">
                <a:solidFill>
                  <a:srgbClr val="343434"/>
                </a:solidFill>
              </a:rPr>
              <a:pPr/>
              <a:t>‹#›</a:t>
            </a:fld>
            <a:endParaRPr lang="en-GB">
              <a:solidFill>
                <a:srgbClr val="343434"/>
              </a:solidFill>
            </a:endParaRPr>
          </a:p>
        </p:txBody>
      </p:sp>
      <p:sp>
        <p:nvSpPr>
          <p:cNvPr id="11" name="Espace réservé du pied de page 10"/>
          <p:cNvSpPr>
            <a:spLocks noGrp="1"/>
          </p:cNvSpPr>
          <p:nvPr>
            <p:ph type="ftr" sz="quarter" idx="16"/>
          </p:nvPr>
        </p:nvSpPr>
        <p:spPr bwMode="gray"/>
        <p:txBody>
          <a:bodyPr/>
          <a:lstStyle/>
          <a:p>
            <a:r>
              <a:rPr lang="en-GB">
                <a:solidFill>
                  <a:srgbClr val="005CB9"/>
                </a:solidFill>
              </a:rPr>
              <a:t>#vaccineswork</a:t>
            </a:r>
          </a:p>
        </p:txBody>
      </p:sp>
      <p:sp>
        <p:nvSpPr>
          <p:cNvPr id="21" name="Espace réservé du texte 9"/>
          <p:cNvSpPr>
            <a:spLocks noGrp="1"/>
          </p:cNvSpPr>
          <p:nvPr>
            <p:ph type="body" sz="quarter" idx="19" hasCustomPrompt="1"/>
          </p:nvPr>
        </p:nvSpPr>
        <p:spPr bwMode="gray">
          <a:xfrm>
            <a:off x="935038" y="2241550"/>
            <a:ext cx="3564000" cy="324000"/>
          </a:xfrm>
          <a:solidFill>
            <a:schemeClr val="accent1"/>
          </a:solidFill>
          <a:ln w="9525">
            <a:solidFill>
              <a:schemeClr val="accent1"/>
            </a:solidFill>
          </a:ln>
        </p:spPr>
        <p:txBody>
          <a:bodyPr anchor="ctr" anchorCtr="0"/>
          <a:lstStyle>
            <a:lvl1pPr algn="ctr">
              <a:lnSpc>
                <a:spcPct val="100000"/>
              </a:lnSpc>
              <a:defRPr>
                <a:solidFill>
                  <a:schemeClr val="bg1"/>
                </a:solidFill>
              </a:defRPr>
            </a:lvl1pPr>
          </a:lstStyle>
          <a:p>
            <a:pPr lvl="0"/>
            <a:r>
              <a:rPr lang="en-GB" noProof="0"/>
              <a:t>Text level 1</a:t>
            </a:r>
          </a:p>
        </p:txBody>
      </p:sp>
      <p:sp>
        <p:nvSpPr>
          <p:cNvPr id="22" name="Espace réservé du texte 9"/>
          <p:cNvSpPr>
            <a:spLocks noGrp="1"/>
          </p:cNvSpPr>
          <p:nvPr>
            <p:ph type="body" sz="quarter" idx="20" hasCustomPrompt="1"/>
          </p:nvPr>
        </p:nvSpPr>
        <p:spPr bwMode="gray">
          <a:xfrm>
            <a:off x="935038" y="2565550"/>
            <a:ext cx="3564000" cy="1350000"/>
          </a:xfrm>
          <a:ln w="9525">
            <a:solidFill>
              <a:schemeClr val="accent1"/>
            </a:solidFill>
          </a:ln>
        </p:spPr>
        <p:txBody>
          <a:bodyPr tIns="72000"/>
          <a:lstStyle>
            <a:lvl1pPr marL="324000" indent="-180000">
              <a:lnSpc>
                <a:spcPct val="100000"/>
              </a:lnSpc>
              <a:spcBef>
                <a:spcPts val="300"/>
              </a:spcBef>
              <a:buClr>
                <a:schemeClr val="accent3"/>
              </a:buClr>
              <a:buFont typeface="Arial" pitchFamily="34" charset="0"/>
              <a:buChar char="•"/>
              <a:defRPr sz="1800">
                <a:solidFill>
                  <a:schemeClr val="tx1"/>
                </a:solidFill>
              </a:defRPr>
            </a:lvl1pPr>
            <a:lvl2pPr marL="504000">
              <a:buClr>
                <a:schemeClr val="tx1"/>
              </a:buClr>
              <a:defRPr sz="1600" b="0"/>
            </a:lvl2pPr>
            <a:lvl3pPr indent="0">
              <a:buNone/>
              <a:defRPr/>
            </a:lvl3pPr>
            <a:lvl4pPr marL="684000" indent="-180000">
              <a:buClr>
                <a:schemeClr val="tx1"/>
              </a:buClr>
              <a:buFont typeface="Arial" pitchFamily="34" charset="0"/>
              <a:buChar char="•"/>
              <a:defRPr sz="1400"/>
            </a:lvl4pPr>
          </a:lstStyle>
          <a:p>
            <a:pPr lvl="0"/>
            <a:r>
              <a:rPr lang="en-GB" noProof="0"/>
              <a:t>Text level 2</a:t>
            </a:r>
          </a:p>
          <a:p>
            <a:pPr lvl="1"/>
            <a:r>
              <a:rPr lang="en-GB" noProof="0"/>
              <a:t>Text level 3</a:t>
            </a:r>
          </a:p>
          <a:p>
            <a:pPr lvl="2"/>
            <a:r>
              <a:rPr lang="en-GB" noProof="0"/>
              <a:t>Text level 4</a:t>
            </a:r>
          </a:p>
          <a:p>
            <a:pPr lvl="3"/>
            <a:r>
              <a:rPr lang="en-GB" noProof="0"/>
              <a:t>Text level 5</a:t>
            </a:r>
          </a:p>
        </p:txBody>
      </p:sp>
      <p:sp>
        <p:nvSpPr>
          <p:cNvPr id="23" name="Espace réservé du texte 9"/>
          <p:cNvSpPr>
            <a:spLocks noGrp="1"/>
          </p:cNvSpPr>
          <p:nvPr>
            <p:ph type="body" sz="quarter" idx="21" hasCustomPrompt="1"/>
          </p:nvPr>
        </p:nvSpPr>
        <p:spPr bwMode="gray">
          <a:xfrm>
            <a:off x="4716400" y="2241550"/>
            <a:ext cx="3564000" cy="324000"/>
          </a:xfrm>
          <a:solidFill>
            <a:schemeClr val="accent2"/>
          </a:solidFill>
          <a:ln w="9525">
            <a:solidFill>
              <a:schemeClr val="accent2"/>
            </a:solidFill>
          </a:ln>
        </p:spPr>
        <p:txBody>
          <a:bodyPr anchor="ctr" anchorCtr="0"/>
          <a:lstStyle>
            <a:lvl1pPr algn="ctr">
              <a:lnSpc>
                <a:spcPct val="100000"/>
              </a:lnSpc>
              <a:defRPr>
                <a:solidFill>
                  <a:schemeClr val="bg1"/>
                </a:solidFill>
              </a:defRPr>
            </a:lvl1pPr>
          </a:lstStyle>
          <a:p>
            <a:pPr lvl="0"/>
            <a:r>
              <a:rPr lang="en-GB" noProof="0"/>
              <a:t>Text level 1</a:t>
            </a:r>
          </a:p>
        </p:txBody>
      </p:sp>
      <p:sp>
        <p:nvSpPr>
          <p:cNvPr id="24" name="Espace réservé du texte 9"/>
          <p:cNvSpPr>
            <a:spLocks noGrp="1"/>
          </p:cNvSpPr>
          <p:nvPr>
            <p:ph type="body" sz="quarter" idx="22" hasCustomPrompt="1"/>
          </p:nvPr>
        </p:nvSpPr>
        <p:spPr bwMode="gray">
          <a:xfrm>
            <a:off x="4716400" y="2565550"/>
            <a:ext cx="3564000" cy="1350000"/>
          </a:xfrm>
          <a:ln w="9525">
            <a:solidFill>
              <a:schemeClr val="accent2"/>
            </a:solidFill>
          </a:ln>
        </p:spPr>
        <p:txBody>
          <a:bodyPr tIns="72000"/>
          <a:lstStyle>
            <a:lvl1pPr marL="324000" indent="-180000">
              <a:lnSpc>
                <a:spcPct val="100000"/>
              </a:lnSpc>
              <a:spcBef>
                <a:spcPts val="300"/>
              </a:spcBef>
              <a:buClr>
                <a:schemeClr val="accent3"/>
              </a:buClr>
              <a:buFont typeface="Arial" pitchFamily="34" charset="0"/>
              <a:buChar char="•"/>
              <a:defRPr sz="1800">
                <a:solidFill>
                  <a:schemeClr val="tx1"/>
                </a:solidFill>
              </a:defRPr>
            </a:lvl1pPr>
            <a:lvl2pPr marL="504000">
              <a:buClr>
                <a:schemeClr val="tx1"/>
              </a:buClr>
              <a:defRPr sz="1600" b="0"/>
            </a:lvl2pPr>
            <a:lvl3pPr indent="0">
              <a:buNone/>
              <a:defRPr/>
            </a:lvl3pPr>
            <a:lvl4pPr marL="684000" indent="-180000">
              <a:buClr>
                <a:schemeClr val="tx1"/>
              </a:buClr>
              <a:buFont typeface="Arial" pitchFamily="34" charset="0"/>
              <a:buChar char="•"/>
              <a:defRPr sz="1400"/>
            </a:lvl4pPr>
          </a:lstStyle>
          <a:p>
            <a:pPr lvl="0"/>
            <a:r>
              <a:rPr lang="en-GB" noProof="0"/>
              <a:t>Text level 2</a:t>
            </a:r>
          </a:p>
          <a:p>
            <a:pPr lvl="1"/>
            <a:r>
              <a:rPr lang="en-GB" noProof="0"/>
              <a:t>Text level 3</a:t>
            </a:r>
          </a:p>
          <a:p>
            <a:pPr lvl="2"/>
            <a:r>
              <a:rPr lang="en-GB" noProof="0"/>
              <a:t>Text level 4</a:t>
            </a:r>
          </a:p>
          <a:p>
            <a:pPr lvl="3"/>
            <a:r>
              <a:rPr lang="en-GB" noProof="0"/>
              <a:t>Text level 5</a:t>
            </a:r>
          </a:p>
        </p:txBody>
      </p:sp>
      <p:sp>
        <p:nvSpPr>
          <p:cNvPr id="25" name="Espace réservé du texte 9"/>
          <p:cNvSpPr>
            <a:spLocks noGrp="1"/>
          </p:cNvSpPr>
          <p:nvPr>
            <p:ph type="body" sz="quarter" idx="23" hasCustomPrompt="1"/>
          </p:nvPr>
        </p:nvSpPr>
        <p:spPr bwMode="gray">
          <a:xfrm>
            <a:off x="935038" y="4131488"/>
            <a:ext cx="3564000" cy="324000"/>
          </a:xfrm>
          <a:solidFill>
            <a:schemeClr val="accent3"/>
          </a:solidFill>
          <a:ln w="9525">
            <a:solidFill>
              <a:schemeClr val="accent3"/>
            </a:solidFill>
          </a:ln>
        </p:spPr>
        <p:txBody>
          <a:bodyPr anchor="ctr" anchorCtr="0"/>
          <a:lstStyle>
            <a:lvl1pPr algn="ctr">
              <a:lnSpc>
                <a:spcPct val="100000"/>
              </a:lnSpc>
              <a:defRPr>
                <a:solidFill>
                  <a:schemeClr val="bg1"/>
                </a:solidFill>
              </a:defRPr>
            </a:lvl1pPr>
          </a:lstStyle>
          <a:p>
            <a:pPr lvl="0"/>
            <a:r>
              <a:rPr lang="en-GB" noProof="0"/>
              <a:t>Text level 1</a:t>
            </a:r>
          </a:p>
        </p:txBody>
      </p:sp>
      <p:sp>
        <p:nvSpPr>
          <p:cNvPr id="26" name="Espace réservé du texte 9"/>
          <p:cNvSpPr>
            <a:spLocks noGrp="1"/>
          </p:cNvSpPr>
          <p:nvPr>
            <p:ph type="body" sz="quarter" idx="24" hasCustomPrompt="1"/>
          </p:nvPr>
        </p:nvSpPr>
        <p:spPr bwMode="gray">
          <a:xfrm>
            <a:off x="935038" y="4455488"/>
            <a:ext cx="3564000" cy="1350000"/>
          </a:xfrm>
          <a:ln w="9525">
            <a:solidFill>
              <a:schemeClr val="accent3"/>
            </a:solidFill>
          </a:ln>
        </p:spPr>
        <p:txBody>
          <a:bodyPr tIns="72000"/>
          <a:lstStyle>
            <a:lvl1pPr marL="324000" indent="-180000">
              <a:lnSpc>
                <a:spcPct val="100000"/>
              </a:lnSpc>
              <a:spcBef>
                <a:spcPts val="300"/>
              </a:spcBef>
              <a:buClr>
                <a:schemeClr val="accent3"/>
              </a:buClr>
              <a:buFont typeface="Arial" pitchFamily="34" charset="0"/>
              <a:buChar char="•"/>
              <a:defRPr sz="1800">
                <a:solidFill>
                  <a:schemeClr val="tx1"/>
                </a:solidFill>
              </a:defRPr>
            </a:lvl1pPr>
            <a:lvl2pPr marL="504000">
              <a:buClr>
                <a:schemeClr val="tx1"/>
              </a:buClr>
              <a:defRPr sz="1600" b="0"/>
            </a:lvl2pPr>
            <a:lvl3pPr indent="0">
              <a:buNone/>
              <a:defRPr/>
            </a:lvl3pPr>
            <a:lvl4pPr marL="684000" indent="-180000">
              <a:buClr>
                <a:schemeClr val="tx1"/>
              </a:buClr>
              <a:buFont typeface="Arial" pitchFamily="34" charset="0"/>
              <a:buChar char="•"/>
              <a:defRPr sz="1400"/>
            </a:lvl4pPr>
          </a:lstStyle>
          <a:p>
            <a:pPr lvl="0"/>
            <a:r>
              <a:rPr lang="en-GB" noProof="0"/>
              <a:t>Text level 2</a:t>
            </a:r>
          </a:p>
          <a:p>
            <a:pPr lvl="1"/>
            <a:r>
              <a:rPr lang="en-GB" noProof="0"/>
              <a:t>Text level 3</a:t>
            </a:r>
          </a:p>
          <a:p>
            <a:pPr lvl="2"/>
            <a:r>
              <a:rPr lang="en-GB" noProof="0"/>
              <a:t>Text level 4</a:t>
            </a:r>
          </a:p>
          <a:p>
            <a:pPr lvl="3"/>
            <a:r>
              <a:rPr lang="en-GB" noProof="0"/>
              <a:t>Text level 5</a:t>
            </a:r>
          </a:p>
        </p:txBody>
      </p:sp>
      <p:sp>
        <p:nvSpPr>
          <p:cNvPr id="27" name="Espace réservé du texte 9"/>
          <p:cNvSpPr>
            <a:spLocks noGrp="1"/>
          </p:cNvSpPr>
          <p:nvPr>
            <p:ph type="body" sz="quarter" idx="25" hasCustomPrompt="1"/>
          </p:nvPr>
        </p:nvSpPr>
        <p:spPr bwMode="gray">
          <a:xfrm>
            <a:off x="4716400" y="4131488"/>
            <a:ext cx="3564000" cy="324000"/>
          </a:xfrm>
          <a:solidFill>
            <a:schemeClr val="bg2"/>
          </a:solidFill>
          <a:ln w="9525">
            <a:solidFill>
              <a:schemeClr val="bg2"/>
            </a:solidFill>
          </a:ln>
        </p:spPr>
        <p:txBody>
          <a:bodyPr anchor="ctr" anchorCtr="0"/>
          <a:lstStyle>
            <a:lvl1pPr algn="ctr">
              <a:lnSpc>
                <a:spcPct val="100000"/>
              </a:lnSpc>
              <a:defRPr>
                <a:solidFill>
                  <a:schemeClr val="bg1"/>
                </a:solidFill>
              </a:defRPr>
            </a:lvl1pPr>
          </a:lstStyle>
          <a:p>
            <a:pPr lvl="0"/>
            <a:r>
              <a:rPr lang="en-GB" noProof="0"/>
              <a:t>Text level 1</a:t>
            </a:r>
          </a:p>
        </p:txBody>
      </p:sp>
      <p:sp>
        <p:nvSpPr>
          <p:cNvPr id="28" name="Espace réservé du texte 9"/>
          <p:cNvSpPr>
            <a:spLocks noGrp="1"/>
          </p:cNvSpPr>
          <p:nvPr>
            <p:ph type="body" sz="quarter" idx="26" hasCustomPrompt="1"/>
          </p:nvPr>
        </p:nvSpPr>
        <p:spPr bwMode="gray">
          <a:xfrm>
            <a:off x="4716400" y="4455488"/>
            <a:ext cx="3564000" cy="1350000"/>
          </a:xfrm>
          <a:ln w="9525">
            <a:solidFill>
              <a:schemeClr val="bg2"/>
            </a:solidFill>
          </a:ln>
        </p:spPr>
        <p:txBody>
          <a:bodyPr tIns="72000"/>
          <a:lstStyle>
            <a:lvl1pPr marL="324000" indent="-180000">
              <a:lnSpc>
                <a:spcPct val="100000"/>
              </a:lnSpc>
              <a:spcBef>
                <a:spcPts val="300"/>
              </a:spcBef>
              <a:buClr>
                <a:schemeClr val="accent3"/>
              </a:buClr>
              <a:buFont typeface="Arial" pitchFamily="34" charset="0"/>
              <a:buChar char="•"/>
              <a:defRPr sz="1800">
                <a:solidFill>
                  <a:schemeClr val="tx1"/>
                </a:solidFill>
              </a:defRPr>
            </a:lvl1pPr>
            <a:lvl2pPr marL="504000">
              <a:buClr>
                <a:schemeClr val="tx1"/>
              </a:buClr>
              <a:defRPr sz="1600" b="0"/>
            </a:lvl2pPr>
            <a:lvl3pPr indent="0">
              <a:buNone/>
              <a:defRPr/>
            </a:lvl3pPr>
            <a:lvl4pPr marL="684000" indent="-180000">
              <a:buClr>
                <a:schemeClr val="tx1"/>
              </a:buClr>
              <a:buFont typeface="Arial" pitchFamily="34" charset="0"/>
              <a:buChar char="•"/>
              <a:defRPr sz="1400"/>
            </a:lvl4pPr>
          </a:lstStyle>
          <a:p>
            <a:pPr lvl="0"/>
            <a:r>
              <a:rPr lang="en-GB" noProof="0"/>
              <a:t>Text level 2</a:t>
            </a:r>
          </a:p>
          <a:p>
            <a:pPr lvl="1"/>
            <a:r>
              <a:rPr lang="en-GB" noProof="0"/>
              <a:t>Text level 3</a:t>
            </a:r>
          </a:p>
          <a:p>
            <a:pPr lvl="2"/>
            <a:r>
              <a:rPr lang="en-GB" noProof="0"/>
              <a:t>Text level 4</a:t>
            </a:r>
          </a:p>
          <a:p>
            <a:pPr lvl="3"/>
            <a:r>
              <a:rPr lang="en-GB" noProof="0"/>
              <a:t>Text level 5</a:t>
            </a:r>
          </a:p>
        </p:txBody>
      </p:sp>
    </p:spTree>
    <p:extLst>
      <p:ext uri="{BB962C8B-B14F-4D97-AF65-F5344CB8AC3E}">
        <p14:creationId xmlns:p14="http://schemas.microsoft.com/office/powerpoint/2010/main" val="1704818069"/>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pic>
        <p:nvPicPr>
          <p:cNvPr id="6" name="Image 18" descr="FD_02.pn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gray">
          <a:xfrm>
            <a:off x="0" y="0"/>
            <a:ext cx="9144000" cy="51577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7" name="Rectangle 6"/>
          <p:cNvSpPr/>
          <p:nvPr userDrawn="1"/>
        </p:nvSpPr>
        <p:spPr bwMode="gray">
          <a:xfrm>
            <a:off x="3635375" y="5265738"/>
            <a:ext cx="5508625" cy="15922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prstClr val="white"/>
              </a:solidFill>
            </a:endParaRPr>
          </a:p>
        </p:txBody>
      </p:sp>
      <p:pic>
        <p:nvPicPr>
          <p:cNvPr id="10" name="Image 19" descr="Bas_couv.png"/>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gray">
          <a:xfrm>
            <a:off x="0" y="5172075"/>
            <a:ext cx="3635375" cy="16859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1" name="Rectangle 10"/>
          <p:cNvSpPr/>
          <p:nvPr userDrawn="1"/>
        </p:nvSpPr>
        <p:spPr bwMode="gray">
          <a:xfrm>
            <a:off x="3635375" y="6354763"/>
            <a:ext cx="5113338" cy="2873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p>
            <a:pPr algn="r">
              <a:defRPr/>
            </a:pPr>
            <a:r>
              <a:rPr lang="en-US" sz="1000" err="1">
                <a:solidFill>
                  <a:srgbClr val="95D600"/>
                </a:solidFill>
              </a:rPr>
              <a:t>www.gavi.org</a:t>
            </a:r>
            <a:endParaRPr lang="en-US" sz="1000">
              <a:solidFill>
                <a:srgbClr val="95D600"/>
              </a:solidFill>
            </a:endParaRPr>
          </a:p>
        </p:txBody>
      </p:sp>
      <p:cxnSp>
        <p:nvCxnSpPr>
          <p:cNvPr id="12" name="Connecteur droit 22"/>
          <p:cNvCxnSpPr/>
          <p:nvPr userDrawn="1"/>
        </p:nvCxnSpPr>
        <p:spPr bwMode="gray">
          <a:xfrm flipH="1">
            <a:off x="468313" y="3402013"/>
            <a:ext cx="2447925" cy="0"/>
          </a:xfrm>
          <a:prstGeom prst="line">
            <a:avLst/>
          </a:prstGeom>
          <a:ln w="24130">
            <a:solidFill>
              <a:schemeClr val="accent1"/>
            </a:solidFill>
          </a:ln>
        </p:spPr>
        <p:style>
          <a:lnRef idx="1">
            <a:schemeClr val="accent1"/>
          </a:lnRef>
          <a:fillRef idx="0">
            <a:schemeClr val="accent1"/>
          </a:fillRef>
          <a:effectRef idx="0">
            <a:schemeClr val="accent1"/>
          </a:effectRef>
          <a:fontRef idx="minor">
            <a:schemeClr val="tx1"/>
          </a:fontRef>
        </p:style>
      </p:cxnSp>
      <p:sp>
        <p:nvSpPr>
          <p:cNvPr id="9" name="Espace réservé du texte 8"/>
          <p:cNvSpPr>
            <a:spLocks noGrp="1"/>
          </p:cNvSpPr>
          <p:nvPr>
            <p:ph type="body" sz="quarter" idx="13"/>
          </p:nvPr>
        </p:nvSpPr>
        <p:spPr bwMode="gray">
          <a:xfrm>
            <a:off x="468314" y="1036800"/>
            <a:ext cx="4824412" cy="2232000"/>
          </a:xfrm>
        </p:spPr>
        <p:txBody>
          <a:bodyPr anchor="b"/>
          <a:lstStyle>
            <a:lvl1pPr marL="0" indent="0" algn="l">
              <a:lnSpc>
                <a:spcPct val="90000"/>
              </a:lnSpc>
              <a:buNone/>
              <a:defRPr sz="2800" b="1" cap="none" baseline="0">
                <a:solidFill>
                  <a:schemeClr val="bg1"/>
                </a:solidFill>
              </a:defRPr>
            </a:lvl1pPr>
            <a:lvl2pPr marL="0" algn="ctr">
              <a:lnSpc>
                <a:spcPct val="100000"/>
              </a:lnSpc>
              <a:spcBef>
                <a:spcPts val="6900"/>
              </a:spcBef>
              <a:defRPr sz="2000" b="1">
                <a:solidFill>
                  <a:schemeClr val="bg1"/>
                </a:solidFill>
              </a:defRPr>
            </a:lvl2pPr>
          </a:lstStyle>
          <a:p>
            <a:pPr lvl="0"/>
            <a:r>
              <a:rPr lang="en-US" noProof="0"/>
              <a:t>Click to edit Master text styles</a:t>
            </a:r>
          </a:p>
        </p:txBody>
      </p:sp>
      <p:sp>
        <p:nvSpPr>
          <p:cNvPr id="8" name="Espace réservé du texte 8"/>
          <p:cNvSpPr>
            <a:spLocks noGrp="1"/>
          </p:cNvSpPr>
          <p:nvPr>
            <p:ph type="body" sz="quarter" idx="14"/>
          </p:nvPr>
        </p:nvSpPr>
        <p:spPr bwMode="gray">
          <a:xfrm>
            <a:off x="468314" y="3585600"/>
            <a:ext cx="4824411" cy="1479600"/>
          </a:xfrm>
        </p:spPr>
        <p:txBody>
          <a:bodyPr/>
          <a:lstStyle>
            <a:lvl1pPr marL="0" indent="0" algn="l">
              <a:lnSpc>
                <a:spcPct val="90000"/>
              </a:lnSpc>
              <a:buNone/>
              <a:defRPr sz="2000" b="0" baseline="0">
                <a:solidFill>
                  <a:schemeClr val="bg1"/>
                </a:solidFill>
              </a:defRPr>
            </a:lvl1pPr>
            <a:lvl2pPr marL="0" algn="ctr">
              <a:lnSpc>
                <a:spcPct val="100000"/>
              </a:lnSpc>
              <a:spcBef>
                <a:spcPts val="6900"/>
              </a:spcBef>
              <a:defRPr sz="2000" b="1">
                <a:solidFill>
                  <a:schemeClr val="bg1"/>
                </a:solidFill>
              </a:defRPr>
            </a:lvl2pPr>
          </a:lstStyle>
          <a:p>
            <a:pPr lvl="0"/>
            <a:r>
              <a:rPr lang="en-US" noProof="0"/>
              <a:t>Click to edit Master text styles</a:t>
            </a:r>
          </a:p>
        </p:txBody>
      </p:sp>
      <p:sp>
        <p:nvSpPr>
          <p:cNvPr id="15" name="Espace réservé du texte 14"/>
          <p:cNvSpPr>
            <a:spLocks noGrp="1"/>
          </p:cNvSpPr>
          <p:nvPr>
            <p:ph type="body" sz="quarter" idx="19"/>
          </p:nvPr>
        </p:nvSpPr>
        <p:spPr bwMode="gray">
          <a:xfrm>
            <a:off x="3635376" y="6021388"/>
            <a:ext cx="5113338" cy="324000"/>
          </a:xfrm>
        </p:spPr>
        <p:txBody>
          <a:bodyPr anchor="b"/>
          <a:lstStyle>
            <a:lvl1pPr algn="r">
              <a:lnSpc>
                <a:spcPct val="100000"/>
              </a:lnSpc>
              <a:defRPr sz="1000" b="1">
                <a:solidFill>
                  <a:schemeClr val="accent3"/>
                </a:solidFill>
              </a:defRPr>
            </a:lvl1pPr>
          </a:lstStyle>
          <a:p>
            <a:pPr lvl="0"/>
            <a:r>
              <a:rPr lang="en-US" noProof="0"/>
              <a:t>Click to edit Master text styles</a:t>
            </a:r>
          </a:p>
        </p:txBody>
      </p:sp>
      <p:sp>
        <p:nvSpPr>
          <p:cNvPr id="17" name="Espace réservé du texte 16"/>
          <p:cNvSpPr>
            <a:spLocks noGrp="1"/>
          </p:cNvSpPr>
          <p:nvPr>
            <p:ph type="body" sz="quarter" idx="20"/>
          </p:nvPr>
        </p:nvSpPr>
        <p:spPr bwMode="gray">
          <a:xfrm>
            <a:off x="0" y="5157788"/>
            <a:ext cx="9144000" cy="287337"/>
          </a:xfrm>
          <a:solidFill>
            <a:schemeClr val="bg1"/>
          </a:solidFill>
        </p:spPr>
        <p:txBody>
          <a:bodyPr/>
          <a:lstStyle>
            <a:lvl1pPr>
              <a:defRPr sz="100" b="0">
                <a:solidFill>
                  <a:schemeClr val="bg1">
                    <a:alpha val="0"/>
                  </a:schemeClr>
                </a:solidFill>
              </a:defRPr>
            </a:lvl1pPr>
          </a:lstStyle>
          <a:p>
            <a:pPr lvl="0"/>
            <a:r>
              <a:rPr lang="en-US" noProof="0"/>
              <a:t>Click to edit Master text styles</a:t>
            </a:r>
          </a:p>
        </p:txBody>
      </p:sp>
      <p:sp>
        <p:nvSpPr>
          <p:cNvPr id="13" name="Espace réservé de la date 9"/>
          <p:cNvSpPr>
            <a:spLocks noGrp="1"/>
          </p:cNvSpPr>
          <p:nvPr>
            <p:ph type="dt" sz="half" idx="21"/>
          </p:nvPr>
        </p:nvSpPr>
        <p:spPr/>
        <p:txBody>
          <a:bodyPr/>
          <a:lstStyle>
            <a:lvl1pPr>
              <a:defRPr/>
            </a:lvl1pPr>
          </a:lstStyle>
          <a:p>
            <a:pPr>
              <a:defRPr/>
            </a:pPr>
            <a:r>
              <a:rPr lang="en-US">
                <a:solidFill>
                  <a:prstClr val="white">
                    <a:alpha val="0"/>
                  </a:prstClr>
                </a:solidFill>
              </a:rPr>
              <a:t>Date</a:t>
            </a:r>
          </a:p>
        </p:txBody>
      </p:sp>
      <p:sp>
        <p:nvSpPr>
          <p:cNvPr id="14" name="Espace réservé du numéro de diapositive 10"/>
          <p:cNvSpPr>
            <a:spLocks noGrp="1"/>
          </p:cNvSpPr>
          <p:nvPr>
            <p:ph type="sldNum" sz="quarter" idx="22"/>
          </p:nvPr>
        </p:nvSpPr>
        <p:spPr/>
        <p:txBody>
          <a:bodyPr/>
          <a:lstStyle>
            <a:lvl1pPr>
              <a:defRPr sz="100">
                <a:solidFill>
                  <a:schemeClr val="bg1">
                    <a:alpha val="0"/>
                  </a:schemeClr>
                </a:solidFill>
              </a:defRPr>
            </a:lvl1pPr>
          </a:lstStyle>
          <a:p>
            <a:pPr>
              <a:defRPr/>
            </a:pPr>
            <a:r>
              <a:rPr lang="en-US">
                <a:solidFill>
                  <a:prstClr val="white">
                    <a:alpha val="0"/>
                  </a:prstClr>
                </a:solidFill>
              </a:rPr>
              <a:t>Page: </a:t>
            </a:r>
            <a:fld id="{541ADD26-9626-44B7-849C-716E619042DF}" type="slidenum">
              <a:rPr lang="en-US">
                <a:solidFill>
                  <a:prstClr val="white">
                    <a:alpha val="0"/>
                  </a:prstClr>
                </a:solidFill>
              </a:rPr>
              <a:pPr>
                <a:defRPr/>
              </a:pPr>
              <a:t>‹#›</a:t>
            </a:fld>
            <a:endParaRPr lang="en-US">
              <a:solidFill>
                <a:prstClr val="white">
                  <a:alpha val="0"/>
                </a:prstClr>
              </a:solidFill>
            </a:endParaRPr>
          </a:p>
        </p:txBody>
      </p:sp>
      <p:sp>
        <p:nvSpPr>
          <p:cNvPr id="16" name="Espace réservé du pied de page 11"/>
          <p:cNvSpPr>
            <a:spLocks noGrp="1"/>
          </p:cNvSpPr>
          <p:nvPr>
            <p:ph type="ftr" sz="quarter" idx="23"/>
          </p:nvPr>
        </p:nvSpPr>
        <p:spPr>
          <a:xfrm>
            <a:off x="468313" y="523875"/>
            <a:ext cx="4824412" cy="360363"/>
          </a:xfrm>
        </p:spPr>
        <p:txBody>
          <a:bodyPr/>
          <a:lstStyle>
            <a:lvl1pPr algn="l">
              <a:defRPr sz="1800" b="0">
                <a:solidFill>
                  <a:schemeClr val="bg1"/>
                </a:solidFill>
              </a:defRPr>
            </a:lvl1pPr>
          </a:lstStyle>
          <a:p>
            <a:pPr>
              <a:defRPr/>
            </a:pPr>
            <a:r>
              <a:rPr lang="en-US">
                <a:solidFill>
                  <a:prstClr val="white"/>
                </a:solidFill>
              </a:rPr>
              <a:t>#vaccelerate</a:t>
            </a:r>
          </a:p>
        </p:txBody>
      </p:sp>
    </p:spTree>
    <p:extLst>
      <p:ext uri="{BB962C8B-B14F-4D97-AF65-F5344CB8AC3E}">
        <p14:creationId xmlns:p14="http://schemas.microsoft.com/office/powerpoint/2010/main" val="269894885"/>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Cover_Picture_1">
    <p:spTree>
      <p:nvGrpSpPr>
        <p:cNvPr id="1" name=""/>
        <p:cNvGrpSpPr/>
        <p:nvPr/>
      </p:nvGrpSpPr>
      <p:grpSpPr>
        <a:xfrm>
          <a:off x="0" y="0"/>
          <a:ext cx="0" cy="0"/>
          <a:chOff x="0" y="0"/>
          <a:chExt cx="0" cy="0"/>
        </a:xfrm>
      </p:grpSpPr>
      <p:pic>
        <p:nvPicPr>
          <p:cNvPr id="7" name="Image 20" descr="FD_1_L254.png"/>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gray">
          <a:xfrm>
            <a:off x="0" y="0"/>
            <a:ext cx="9144000" cy="51577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0" name="Rectangle 9"/>
          <p:cNvSpPr/>
          <p:nvPr userDrawn="1"/>
        </p:nvSpPr>
        <p:spPr bwMode="gray">
          <a:xfrm>
            <a:off x="3635375" y="5265738"/>
            <a:ext cx="5508625" cy="15922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prstClr val="white"/>
              </a:solidFill>
            </a:endParaRPr>
          </a:p>
        </p:txBody>
      </p:sp>
      <p:pic>
        <p:nvPicPr>
          <p:cNvPr id="11" name="Image 19" descr="Bas_couv.png"/>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gray">
          <a:xfrm>
            <a:off x="0" y="5172075"/>
            <a:ext cx="3635375" cy="16859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2" name="Rectangle 11"/>
          <p:cNvSpPr/>
          <p:nvPr userDrawn="1"/>
        </p:nvSpPr>
        <p:spPr bwMode="gray">
          <a:xfrm>
            <a:off x="3635375" y="6354763"/>
            <a:ext cx="5113338" cy="2873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p>
            <a:pPr algn="r">
              <a:defRPr/>
            </a:pPr>
            <a:r>
              <a:rPr lang="en-US" sz="1000" err="1">
                <a:solidFill>
                  <a:srgbClr val="95D600"/>
                </a:solidFill>
              </a:rPr>
              <a:t>www.gavi.org</a:t>
            </a:r>
            <a:endParaRPr lang="en-US" sz="1000">
              <a:solidFill>
                <a:srgbClr val="95D600"/>
              </a:solidFill>
            </a:endParaRPr>
          </a:p>
        </p:txBody>
      </p:sp>
      <p:cxnSp>
        <p:nvCxnSpPr>
          <p:cNvPr id="13" name="Connecteur droit 22"/>
          <p:cNvCxnSpPr/>
          <p:nvPr userDrawn="1"/>
        </p:nvCxnSpPr>
        <p:spPr bwMode="gray">
          <a:xfrm flipH="1">
            <a:off x="468313" y="3402013"/>
            <a:ext cx="2447925" cy="0"/>
          </a:xfrm>
          <a:prstGeom prst="line">
            <a:avLst/>
          </a:prstGeom>
          <a:ln w="24130">
            <a:solidFill>
              <a:schemeClr val="accent1"/>
            </a:solidFill>
          </a:ln>
        </p:spPr>
        <p:style>
          <a:lnRef idx="1">
            <a:schemeClr val="accent1"/>
          </a:lnRef>
          <a:fillRef idx="0">
            <a:schemeClr val="accent1"/>
          </a:fillRef>
          <a:effectRef idx="0">
            <a:schemeClr val="accent1"/>
          </a:effectRef>
          <a:fontRef idx="minor">
            <a:schemeClr val="tx1"/>
          </a:fontRef>
        </p:style>
      </p:cxnSp>
      <p:sp>
        <p:nvSpPr>
          <p:cNvPr id="9" name="Espace réservé du texte 8"/>
          <p:cNvSpPr>
            <a:spLocks noGrp="1"/>
          </p:cNvSpPr>
          <p:nvPr>
            <p:ph type="body" sz="quarter" idx="13"/>
          </p:nvPr>
        </p:nvSpPr>
        <p:spPr bwMode="gray">
          <a:xfrm>
            <a:off x="468314" y="1036638"/>
            <a:ext cx="4824412" cy="2231392"/>
          </a:xfrm>
        </p:spPr>
        <p:txBody>
          <a:bodyPr anchor="b"/>
          <a:lstStyle>
            <a:lvl1pPr marL="0" indent="0" algn="l">
              <a:lnSpc>
                <a:spcPct val="90000"/>
              </a:lnSpc>
              <a:buNone/>
              <a:defRPr sz="2800" b="1" cap="none" baseline="0">
                <a:solidFill>
                  <a:schemeClr val="bg1"/>
                </a:solidFill>
              </a:defRPr>
            </a:lvl1pPr>
            <a:lvl2pPr marL="0" algn="ctr">
              <a:lnSpc>
                <a:spcPct val="100000"/>
              </a:lnSpc>
              <a:spcBef>
                <a:spcPts val="6900"/>
              </a:spcBef>
              <a:defRPr sz="2000" b="1">
                <a:solidFill>
                  <a:schemeClr val="bg1"/>
                </a:solidFill>
              </a:defRPr>
            </a:lvl2pPr>
          </a:lstStyle>
          <a:p>
            <a:pPr lvl="0"/>
            <a:r>
              <a:rPr lang="en-US" noProof="0"/>
              <a:t>Click to edit Master text styles</a:t>
            </a:r>
          </a:p>
        </p:txBody>
      </p:sp>
      <p:sp>
        <p:nvSpPr>
          <p:cNvPr id="8" name="Espace réservé du texte 8"/>
          <p:cNvSpPr>
            <a:spLocks noGrp="1"/>
          </p:cNvSpPr>
          <p:nvPr>
            <p:ph type="body" sz="quarter" idx="14"/>
          </p:nvPr>
        </p:nvSpPr>
        <p:spPr bwMode="gray">
          <a:xfrm>
            <a:off x="468314" y="3584637"/>
            <a:ext cx="3592800" cy="1477788"/>
          </a:xfrm>
        </p:spPr>
        <p:txBody>
          <a:bodyPr/>
          <a:lstStyle>
            <a:lvl1pPr marL="0" indent="0" algn="l">
              <a:lnSpc>
                <a:spcPct val="90000"/>
              </a:lnSpc>
              <a:buNone/>
              <a:defRPr sz="2000" b="0" baseline="0">
                <a:solidFill>
                  <a:schemeClr val="bg1"/>
                </a:solidFill>
              </a:defRPr>
            </a:lvl1pPr>
            <a:lvl2pPr marL="0" algn="ctr">
              <a:lnSpc>
                <a:spcPct val="100000"/>
              </a:lnSpc>
              <a:spcBef>
                <a:spcPts val="6900"/>
              </a:spcBef>
              <a:defRPr sz="2000" b="1">
                <a:solidFill>
                  <a:schemeClr val="bg1"/>
                </a:solidFill>
              </a:defRPr>
            </a:lvl2pPr>
          </a:lstStyle>
          <a:p>
            <a:pPr lvl="0"/>
            <a:r>
              <a:rPr lang="en-US" noProof="0"/>
              <a:t>Click to edit Master text styles</a:t>
            </a:r>
          </a:p>
        </p:txBody>
      </p:sp>
      <p:sp>
        <p:nvSpPr>
          <p:cNvPr id="15" name="Espace réservé du texte 14"/>
          <p:cNvSpPr>
            <a:spLocks noGrp="1"/>
          </p:cNvSpPr>
          <p:nvPr>
            <p:ph type="body" sz="quarter" idx="19"/>
          </p:nvPr>
        </p:nvSpPr>
        <p:spPr bwMode="gray">
          <a:xfrm>
            <a:off x="3635376" y="6021388"/>
            <a:ext cx="5113338" cy="324000"/>
          </a:xfrm>
        </p:spPr>
        <p:txBody>
          <a:bodyPr anchor="b"/>
          <a:lstStyle>
            <a:lvl1pPr algn="r">
              <a:lnSpc>
                <a:spcPct val="100000"/>
              </a:lnSpc>
              <a:defRPr sz="1000" b="1">
                <a:solidFill>
                  <a:schemeClr val="accent3"/>
                </a:solidFill>
              </a:defRPr>
            </a:lvl1pPr>
          </a:lstStyle>
          <a:p>
            <a:pPr lvl="0"/>
            <a:r>
              <a:rPr lang="en-US" noProof="0"/>
              <a:t>Click to edit Master text styles</a:t>
            </a:r>
          </a:p>
        </p:txBody>
      </p:sp>
      <p:sp>
        <p:nvSpPr>
          <p:cNvPr id="17" name="Espace réservé du texte 16"/>
          <p:cNvSpPr>
            <a:spLocks noGrp="1"/>
          </p:cNvSpPr>
          <p:nvPr>
            <p:ph type="body" sz="quarter" idx="20"/>
          </p:nvPr>
        </p:nvSpPr>
        <p:spPr bwMode="gray">
          <a:xfrm>
            <a:off x="0" y="5157788"/>
            <a:ext cx="9144000" cy="287337"/>
          </a:xfrm>
          <a:solidFill>
            <a:schemeClr val="bg1"/>
          </a:solidFill>
        </p:spPr>
        <p:txBody>
          <a:bodyPr/>
          <a:lstStyle>
            <a:lvl1pPr>
              <a:defRPr sz="100" b="0">
                <a:solidFill>
                  <a:schemeClr val="bg1">
                    <a:alpha val="0"/>
                  </a:schemeClr>
                </a:solidFill>
              </a:defRPr>
            </a:lvl1pPr>
          </a:lstStyle>
          <a:p>
            <a:pPr lvl="0"/>
            <a:r>
              <a:rPr lang="en-US" noProof="0"/>
              <a:t>Click to edit Master text styles</a:t>
            </a:r>
          </a:p>
        </p:txBody>
      </p:sp>
      <p:sp>
        <p:nvSpPr>
          <p:cNvPr id="24" name="Espace réservé pour une image  17"/>
          <p:cNvSpPr>
            <a:spLocks noGrp="1"/>
          </p:cNvSpPr>
          <p:nvPr>
            <p:ph type="pic" sz="quarter" idx="18"/>
          </p:nvPr>
        </p:nvSpPr>
        <p:spPr bwMode="gray">
          <a:xfrm>
            <a:off x="4192588" y="0"/>
            <a:ext cx="4951412" cy="5162400"/>
          </a:xfrm>
          <a:custGeom>
            <a:avLst/>
            <a:gdLst>
              <a:gd name="connsiteX0" fmla="*/ 0 w 3851275"/>
              <a:gd name="connsiteY0" fmla="*/ 0 h 5157788"/>
              <a:gd name="connsiteX1" fmla="*/ 3851275 w 3851275"/>
              <a:gd name="connsiteY1" fmla="*/ 0 h 5157788"/>
              <a:gd name="connsiteX2" fmla="*/ 3851275 w 3851275"/>
              <a:gd name="connsiteY2" fmla="*/ 5157788 h 5157788"/>
              <a:gd name="connsiteX3" fmla="*/ 0 w 3851275"/>
              <a:gd name="connsiteY3" fmla="*/ 5157788 h 5157788"/>
              <a:gd name="connsiteX4" fmla="*/ 0 w 3851275"/>
              <a:gd name="connsiteY4"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0 w 3851275"/>
              <a:gd name="connsiteY3" fmla="*/ 5157788 h 5157788"/>
              <a:gd name="connsiteX4" fmla="*/ 1692275 w 3851275"/>
              <a:gd name="connsiteY4" fmla="*/ 0 h 5157788"/>
              <a:gd name="connsiteX0" fmla="*/ 0 w 2159000"/>
              <a:gd name="connsiteY0" fmla="*/ 0 h 5157788"/>
              <a:gd name="connsiteX1" fmla="*/ 2159000 w 2159000"/>
              <a:gd name="connsiteY1" fmla="*/ 0 h 5157788"/>
              <a:gd name="connsiteX2" fmla="*/ 2159000 w 2159000"/>
              <a:gd name="connsiteY2" fmla="*/ 5157788 h 5157788"/>
              <a:gd name="connsiteX3" fmla="*/ 0 w 2159000"/>
              <a:gd name="connsiteY3" fmla="*/ 5157788 h 5157788"/>
              <a:gd name="connsiteX4" fmla="*/ 0 w 2159000"/>
              <a:gd name="connsiteY4" fmla="*/ 0 h 5157788"/>
              <a:gd name="connsiteX0" fmla="*/ 2625271 w 4784271"/>
              <a:gd name="connsiteY0" fmla="*/ 0 h 5157788"/>
              <a:gd name="connsiteX1" fmla="*/ 4784271 w 4784271"/>
              <a:gd name="connsiteY1" fmla="*/ 0 h 5157788"/>
              <a:gd name="connsiteX2" fmla="*/ 4784271 w 4784271"/>
              <a:gd name="connsiteY2" fmla="*/ 5157788 h 5157788"/>
              <a:gd name="connsiteX3" fmla="*/ 2625271 w 4784271"/>
              <a:gd name="connsiteY3" fmla="*/ 5157788 h 5157788"/>
              <a:gd name="connsiteX4" fmla="*/ 2625271 w 4784271"/>
              <a:gd name="connsiteY4" fmla="*/ 0 h 5157788"/>
              <a:gd name="connsiteX0" fmla="*/ 2625271 w 4784271"/>
              <a:gd name="connsiteY0" fmla="*/ 0 h 5157788"/>
              <a:gd name="connsiteX1" fmla="*/ 4784271 w 4784271"/>
              <a:gd name="connsiteY1" fmla="*/ 0 h 5157788"/>
              <a:gd name="connsiteX2" fmla="*/ 4784271 w 4784271"/>
              <a:gd name="connsiteY2" fmla="*/ 5157788 h 5157788"/>
              <a:gd name="connsiteX3" fmla="*/ 2625271 w 4784271"/>
              <a:gd name="connsiteY3" fmla="*/ 5157788 h 5157788"/>
              <a:gd name="connsiteX4" fmla="*/ 2625271 w 4784271"/>
              <a:gd name="connsiteY4" fmla="*/ 0 h 5157788"/>
              <a:gd name="connsiteX0" fmla="*/ 3568576 w 5727576"/>
              <a:gd name="connsiteY0" fmla="*/ 0 h 5157788"/>
              <a:gd name="connsiteX1" fmla="*/ 5727576 w 5727576"/>
              <a:gd name="connsiteY1" fmla="*/ 0 h 5157788"/>
              <a:gd name="connsiteX2" fmla="*/ 5727576 w 5727576"/>
              <a:gd name="connsiteY2" fmla="*/ 5157788 h 5157788"/>
              <a:gd name="connsiteX3" fmla="*/ 3568576 w 5727576"/>
              <a:gd name="connsiteY3" fmla="*/ 5157788 h 5157788"/>
              <a:gd name="connsiteX4" fmla="*/ 3568576 w 5727576"/>
              <a:gd name="connsiteY4" fmla="*/ 0 h 5157788"/>
              <a:gd name="connsiteX0" fmla="*/ 3306355 w 5465355"/>
              <a:gd name="connsiteY0" fmla="*/ 0 h 5157788"/>
              <a:gd name="connsiteX1" fmla="*/ 5465355 w 5465355"/>
              <a:gd name="connsiteY1" fmla="*/ 0 h 5157788"/>
              <a:gd name="connsiteX2" fmla="*/ 5465355 w 5465355"/>
              <a:gd name="connsiteY2" fmla="*/ 5157788 h 5157788"/>
              <a:gd name="connsiteX3" fmla="*/ 3306355 w 5465355"/>
              <a:gd name="connsiteY3" fmla="*/ 5157788 h 5157788"/>
              <a:gd name="connsiteX4" fmla="*/ 3306355 w 5465355"/>
              <a:gd name="connsiteY4" fmla="*/ 0 h 5157788"/>
              <a:gd name="connsiteX0" fmla="*/ 1416957 w 3575957"/>
              <a:gd name="connsiteY0" fmla="*/ 0 h 5157788"/>
              <a:gd name="connsiteX1" fmla="*/ 3575957 w 3575957"/>
              <a:gd name="connsiteY1" fmla="*/ 0 h 5157788"/>
              <a:gd name="connsiteX2" fmla="*/ 3575957 w 3575957"/>
              <a:gd name="connsiteY2" fmla="*/ 5157788 h 5157788"/>
              <a:gd name="connsiteX3" fmla="*/ 1416957 w 3575957"/>
              <a:gd name="connsiteY3" fmla="*/ 5157788 h 5157788"/>
              <a:gd name="connsiteX4" fmla="*/ 0 w 3575957"/>
              <a:gd name="connsiteY4" fmla="*/ 3339193 h 5157788"/>
              <a:gd name="connsiteX5" fmla="*/ 1416957 w 3575957"/>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6017419"/>
              <a:gd name="connsiteX1" fmla="*/ 3851275 w 3851275"/>
              <a:gd name="connsiteY1" fmla="*/ 0 h 6017419"/>
              <a:gd name="connsiteX2" fmla="*/ 3851275 w 3851275"/>
              <a:gd name="connsiteY2" fmla="*/ 5157788 h 6017419"/>
              <a:gd name="connsiteX3" fmla="*/ 1692275 w 3851275"/>
              <a:gd name="connsiteY3" fmla="*/ 5157788 h 6017419"/>
              <a:gd name="connsiteX4" fmla="*/ 0 w 3851275"/>
              <a:gd name="connsiteY4" fmla="*/ 3284984 h 6017419"/>
              <a:gd name="connsiteX5" fmla="*/ 1692275 w 3851275"/>
              <a:gd name="connsiteY5" fmla="*/ 0 h 6017419"/>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429000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429000 h 5157788"/>
              <a:gd name="connsiteX5" fmla="*/ 1710871 w 3869871"/>
              <a:gd name="connsiteY5" fmla="*/ 0 h 5157788"/>
              <a:gd name="connsiteX0" fmla="*/ 1704975 w 3863975"/>
              <a:gd name="connsiteY0" fmla="*/ 0 h 5157788"/>
              <a:gd name="connsiteX1" fmla="*/ 3863975 w 3863975"/>
              <a:gd name="connsiteY1" fmla="*/ 0 h 5157788"/>
              <a:gd name="connsiteX2" fmla="*/ 3863975 w 3863975"/>
              <a:gd name="connsiteY2" fmla="*/ 5157788 h 5157788"/>
              <a:gd name="connsiteX3" fmla="*/ 1704975 w 3863975"/>
              <a:gd name="connsiteY3" fmla="*/ 5157788 h 5157788"/>
              <a:gd name="connsiteX4" fmla="*/ 12700 w 3863975"/>
              <a:gd name="connsiteY4" fmla="*/ 3429000 h 5157788"/>
              <a:gd name="connsiteX5" fmla="*/ 1704975 w 3863975"/>
              <a:gd name="connsiteY5" fmla="*/ 0 h 5157788"/>
              <a:gd name="connsiteX0" fmla="*/ 1707243 w 3866243"/>
              <a:gd name="connsiteY0" fmla="*/ 0 h 5157788"/>
              <a:gd name="connsiteX1" fmla="*/ 3866243 w 3866243"/>
              <a:gd name="connsiteY1" fmla="*/ 0 h 5157788"/>
              <a:gd name="connsiteX2" fmla="*/ 3866243 w 3866243"/>
              <a:gd name="connsiteY2" fmla="*/ 5157788 h 5157788"/>
              <a:gd name="connsiteX3" fmla="*/ 1707243 w 3866243"/>
              <a:gd name="connsiteY3" fmla="*/ 5157788 h 5157788"/>
              <a:gd name="connsiteX4" fmla="*/ 14968 w 3866243"/>
              <a:gd name="connsiteY4" fmla="*/ 3429000 h 5157788"/>
              <a:gd name="connsiteX5" fmla="*/ 1707243 w 3866243"/>
              <a:gd name="connsiteY5" fmla="*/ 0 h 5157788"/>
              <a:gd name="connsiteX0" fmla="*/ 1130447 w 3866243"/>
              <a:gd name="connsiteY0" fmla="*/ 0 h 5157788"/>
              <a:gd name="connsiteX1" fmla="*/ 3866243 w 3866243"/>
              <a:gd name="connsiteY1" fmla="*/ 0 h 5157788"/>
              <a:gd name="connsiteX2" fmla="*/ 3866243 w 3866243"/>
              <a:gd name="connsiteY2" fmla="*/ 5157788 h 5157788"/>
              <a:gd name="connsiteX3" fmla="*/ 1707243 w 3866243"/>
              <a:gd name="connsiteY3" fmla="*/ 5157788 h 5157788"/>
              <a:gd name="connsiteX4" fmla="*/ 14968 w 3866243"/>
              <a:gd name="connsiteY4" fmla="*/ 3429000 h 5157788"/>
              <a:gd name="connsiteX5" fmla="*/ 1130447 w 3866243"/>
              <a:gd name="connsiteY5" fmla="*/ 0 h 5157788"/>
              <a:gd name="connsiteX0" fmla="*/ 2746143 w 5481939"/>
              <a:gd name="connsiteY0" fmla="*/ 0 h 5157788"/>
              <a:gd name="connsiteX1" fmla="*/ 5481939 w 5481939"/>
              <a:gd name="connsiteY1" fmla="*/ 0 h 5157788"/>
              <a:gd name="connsiteX2" fmla="*/ 5481939 w 5481939"/>
              <a:gd name="connsiteY2" fmla="*/ 5157788 h 5157788"/>
              <a:gd name="connsiteX3" fmla="*/ 585903 w 5481939"/>
              <a:gd name="connsiteY3" fmla="*/ 5153180 h 5157788"/>
              <a:gd name="connsiteX4" fmla="*/ 1630664 w 5481939"/>
              <a:gd name="connsiteY4" fmla="*/ 3429000 h 5157788"/>
              <a:gd name="connsiteX5" fmla="*/ 2746143 w 5481939"/>
              <a:gd name="connsiteY5" fmla="*/ 0 h 5157788"/>
              <a:gd name="connsiteX0" fmla="*/ 2746143 w 5481939"/>
              <a:gd name="connsiteY0" fmla="*/ 0 h 5157788"/>
              <a:gd name="connsiteX1" fmla="*/ 5481939 w 5481939"/>
              <a:gd name="connsiteY1" fmla="*/ 0 h 5157788"/>
              <a:gd name="connsiteX2" fmla="*/ 5481939 w 5481939"/>
              <a:gd name="connsiteY2" fmla="*/ 5157788 h 5157788"/>
              <a:gd name="connsiteX3" fmla="*/ 585903 w 5481939"/>
              <a:gd name="connsiteY3" fmla="*/ 5153180 h 5157788"/>
              <a:gd name="connsiteX4" fmla="*/ 1630664 w 5481939"/>
              <a:gd name="connsiteY4" fmla="*/ 3429000 h 5157788"/>
              <a:gd name="connsiteX5" fmla="*/ 2746143 w 548193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3574235 w 6310031"/>
              <a:gd name="connsiteY0" fmla="*/ 0 h 5157788"/>
              <a:gd name="connsiteX1" fmla="*/ 6310031 w 6310031"/>
              <a:gd name="connsiteY1" fmla="*/ 0 h 5157788"/>
              <a:gd name="connsiteX2" fmla="*/ 6310031 w 6310031"/>
              <a:gd name="connsiteY2" fmla="*/ 5157788 h 5157788"/>
              <a:gd name="connsiteX3" fmla="*/ 585903 w 6310031"/>
              <a:gd name="connsiteY3" fmla="*/ 5153180 h 5157788"/>
              <a:gd name="connsiteX4" fmla="*/ 1738031 w 6310031"/>
              <a:gd name="connsiteY4" fmla="*/ 3389965 h 5157788"/>
              <a:gd name="connsiteX5" fmla="*/ 3574235 w 6310031"/>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296143 w 5724128"/>
              <a:gd name="connsiteY4" fmla="*/ 3461908 h 5157788"/>
              <a:gd name="connsiteX5" fmla="*/ 2988332 w 5724128"/>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1188132 w 5760132"/>
              <a:gd name="connsiteY4" fmla="*/ 3425937 h 5157788"/>
              <a:gd name="connsiteX5" fmla="*/ 3024336 w 5760132"/>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2736304 w 5760132"/>
              <a:gd name="connsiteY4" fmla="*/ 3461908 h 5157788"/>
              <a:gd name="connsiteX5" fmla="*/ 3024336 w 5760132"/>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2736304 w 5760132"/>
              <a:gd name="connsiteY4" fmla="*/ 3461908 h 5157788"/>
              <a:gd name="connsiteX5" fmla="*/ 3024336 w 5760132"/>
              <a:gd name="connsiteY5" fmla="*/ 0 h 5157788"/>
              <a:gd name="connsiteX0" fmla="*/ 2160240 w 4896036"/>
              <a:gd name="connsiteY0" fmla="*/ 0 h 5157788"/>
              <a:gd name="connsiteX1" fmla="*/ 4896036 w 4896036"/>
              <a:gd name="connsiteY1" fmla="*/ 0 h 5157788"/>
              <a:gd name="connsiteX2" fmla="*/ 4896036 w 4896036"/>
              <a:gd name="connsiteY2" fmla="*/ 5157788 h 5157788"/>
              <a:gd name="connsiteX3" fmla="*/ 0 w 4896036"/>
              <a:gd name="connsiteY3" fmla="*/ 5153180 h 5157788"/>
              <a:gd name="connsiteX4" fmla="*/ 1872208 w 4896036"/>
              <a:gd name="connsiteY4" fmla="*/ 3461908 h 5157788"/>
              <a:gd name="connsiteX5" fmla="*/ 2160240 w 4896036"/>
              <a:gd name="connsiteY5" fmla="*/ 0 h 5157788"/>
              <a:gd name="connsiteX0" fmla="*/ 2232248 w 4968044"/>
              <a:gd name="connsiteY0" fmla="*/ 0 h 5157788"/>
              <a:gd name="connsiteX1" fmla="*/ 4968044 w 4968044"/>
              <a:gd name="connsiteY1" fmla="*/ 0 h 5157788"/>
              <a:gd name="connsiteX2" fmla="*/ 4968044 w 4968044"/>
              <a:gd name="connsiteY2" fmla="*/ 5157788 h 5157788"/>
              <a:gd name="connsiteX3" fmla="*/ 0 w 4968044"/>
              <a:gd name="connsiteY3" fmla="*/ 5153180 h 5157788"/>
              <a:gd name="connsiteX4" fmla="*/ 1944216 w 4968044"/>
              <a:gd name="connsiteY4" fmla="*/ 3461908 h 5157788"/>
              <a:gd name="connsiteX5" fmla="*/ 2232248 w 4968044"/>
              <a:gd name="connsiteY5" fmla="*/ 0 h 5157788"/>
              <a:gd name="connsiteX0" fmla="*/ 2207679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207679 w 4943475"/>
              <a:gd name="connsiteY5" fmla="*/ 0 h 5157788"/>
              <a:gd name="connsiteX0" fmla="*/ 2963763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963763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092200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71575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343583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675731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675731 w 4943475"/>
              <a:gd name="connsiteY5" fmla="*/ 0 h 5157788"/>
              <a:gd name="connsiteX0" fmla="*/ 2675731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675731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9672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19672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51412" h="5157788">
                <a:moveTo>
                  <a:pt x="2706687" y="0"/>
                </a:moveTo>
                <a:lnTo>
                  <a:pt x="4951412" y="0"/>
                </a:lnTo>
                <a:lnTo>
                  <a:pt x="4951412" y="5157788"/>
                </a:lnTo>
                <a:lnTo>
                  <a:pt x="0" y="5153180"/>
                </a:lnTo>
                <a:cubicBezTo>
                  <a:pt x="84411" y="4542509"/>
                  <a:pt x="183041" y="4024723"/>
                  <a:pt x="1243508" y="2562613"/>
                </a:cubicBezTo>
                <a:cubicBezTo>
                  <a:pt x="1867447" y="1704780"/>
                  <a:pt x="2665955" y="709265"/>
                  <a:pt x="2706687" y="0"/>
                </a:cubicBezTo>
                <a:close/>
              </a:path>
            </a:pathLst>
          </a:custGeom>
          <a:solidFill>
            <a:schemeClr val="bg2"/>
          </a:solidFill>
          <a:ln w="3175">
            <a:noFill/>
          </a:ln>
        </p:spPr>
        <p:txBody>
          <a:bodyPr tIns="720000" rtlCol="0" anchor="ctr">
            <a:noAutofit/>
          </a:bodyPr>
          <a:lstStyle>
            <a:lvl1pPr algn="ctr">
              <a:defRPr sz="1500">
                <a:solidFill>
                  <a:schemeClr val="bg1"/>
                </a:solidFill>
              </a:defRPr>
            </a:lvl1pPr>
          </a:lstStyle>
          <a:p>
            <a:pPr lvl="0"/>
            <a:r>
              <a:rPr lang="en-US" noProof="0"/>
              <a:t>Click icon to add picture</a:t>
            </a:r>
          </a:p>
        </p:txBody>
      </p:sp>
      <p:sp>
        <p:nvSpPr>
          <p:cNvPr id="14" name="Espace réservé de la date 9"/>
          <p:cNvSpPr>
            <a:spLocks noGrp="1"/>
          </p:cNvSpPr>
          <p:nvPr>
            <p:ph type="dt" sz="half" idx="21"/>
          </p:nvPr>
        </p:nvSpPr>
        <p:spPr/>
        <p:txBody>
          <a:bodyPr/>
          <a:lstStyle>
            <a:lvl1pPr>
              <a:defRPr/>
            </a:lvl1pPr>
          </a:lstStyle>
          <a:p>
            <a:pPr>
              <a:defRPr/>
            </a:pPr>
            <a:r>
              <a:rPr lang="en-US">
                <a:solidFill>
                  <a:prstClr val="white">
                    <a:alpha val="0"/>
                  </a:prstClr>
                </a:solidFill>
              </a:rPr>
              <a:t>Date</a:t>
            </a:r>
          </a:p>
        </p:txBody>
      </p:sp>
      <p:sp>
        <p:nvSpPr>
          <p:cNvPr id="16" name="Espace réservé du numéro de diapositive 10"/>
          <p:cNvSpPr>
            <a:spLocks noGrp="1"/>
          </p:cNvSpPr>
          <p:nvPr>
            <p:ph type="sldNum" sz="quarter" idx="22"/>
          </p:nvPr>
        </p:nvSpPr>
        <p:spPr/>
        <p:txBody>
          <a:bodyPr/>
          <a:lstStyle>
            <a:lvl1pPr>
              <a:defRPr sz="100">
                <a:solidFill>
                  <a:schemeClr val="bg1">
                    <a:alpha val="0"/>
                  </a:schemeClr>
                </a:solidFill>
              </a:defRPr>
            </a:lvl1pPr>
          </a:lstStyle>
          <a:p>
            <a:pPr>
              <a:defRPr/>
            </a:pPr>
            <a:r>
              <a:rPr lang="en-US">
                <a:solidFill>
                  <a:prstClr val="white">
                    <a:alpha val="0"/>
                  </a:prstClr>
                </a:solidFill>
              </a:rPr>
              <a:t>Page: </a:t>
            </a:r>
            <a:fld id="{FBC781E1-DB0D-44EA-942B-52789A2EA6EC}" type="slidenum">
              <a:rPr lang="en-US">
                <a:solidFill>
                  <a:prstClr val="white">
                    <a:alpha val="0"/>
                  </a:prstClr>
                </a:solidFill>
              </a:rPr>
              <a:pPr>
                <a:defRPr/>
              </a:pPr>
              <a:t>‹#›</a:t>
            </a:fld>
            <a:endParaRPr lang="en-US">
              <a:solidFill>
                <a:prstClr val="white">
                  <a:alpha val="0"/>
                </a:prstClr>
              </a:solidFill>
            </a:endParaRPr>
          </a:p>
        </p:txBody>
      </p:sp>
      <p:sp>
        <p:nvSpPr>
          <p:cNvPr id="18" name="Espace réservé du pied de page 11"/>
          <p:cNvSpPr>
            <a:spLocks noGrp="1"/>
          </p:cNvSpPr>
          <p:nvPr>
            <p:ph type="ftr" sz="quarter" idx="23"/>
          </p:nvPr>
        </p:nvSpPr>
        <p:spPr>
          <a:xfrm>
            <a:off x="468313" y="523875"/>
            <a:ext cx="4824412" cy="360363"/>
          </a:xfrm>
        </p:spPr>
        <p:txBody>
          <a:bodyPr/>
          <a:lstStyle>
            <a:lvl1pPr algn="l">
              <a:defRPr sz="1800" b="0">
                <a:solidFill>
                  <a:schemeClr val="bg1"/>
                </a:solidFill>
              </a:defRPr>
            </a:lvl1pPr>
          </a:lstStyle>
          <a:p>
            <a:pPr>
              <a:defRPr/>
            </a:pPr>
            <a:r>
              <a:rPr lang="en-US">
                <a:solidFill>
                  <a:prstClr val="white"/>
                </a:solidFill>
              </a:rPr>
              <a:t>#</a:t>
            </a:r>
            <a:r>
              <a:rPr lang="en-US" err="1">
                <a:solidFill>
                  <a:prstClr val="white"/>
                </a:solidFill>
              </a:rPr>
              <a:t>vaccineswork</a:t>
            </a:r>
            <a:endParaRPr lang="en-US">
              <a:solidFill>
                <a:prstClr val="white"/>
              </a:solidFill>
            </a:endParaRPr>
          </a:p>
          <a:p>
            <a:pPr>
              <a:defRPr/>
            </a:pPr>
            <a:endParaRPr lang="en-US">
              <a:solidFill>
                <a:prstClr val="white"/>
              </a:solidFill>
            </a:endParaRPr>
          </a:p>
        </p:txBody>
      </p:sp>
    </p:spTree>
    <p:extLst>
      <p:ext uri="{BB962C8B-B14F-4D97-AF65-F5344CB8AC3E}">
        <p14:creationId xmlns:p14="http://schemas.microsoft.com/office/powerpoint/2010/main" val="307404806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ext&amp;3_Contents_Layout">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p:txBody>
          <a:bodyPr/>
          <a:lstStyle/>
          <a:p>
            <a:r>
              <a:rPr lang="en-US" noProof="0"/>
              <a:t>TITLE</a:t>
            </a:r>
          </a:p>
        </p:txBody>
      </p:sp>
      <p:sp>
        <p:nvSpPr>
          <p:cNvPr id="3" name="Espace réservé du contenu 2"/>
          <p:cNvSpPr>
            <a:spLocks noGrp="1"/>
          </p:cNvSpPr>
          <p:nvPr>
            <p:ph idx="1" hasCustomPrompt="1"/>
          </p:nvPr>
        </p:nvSpPr>
        <p:spPr bwMode="gray">
          <a:xfrm>
            <a:off x="935038" y="2781388"/>
            <a:ext cx="2304000" cy="3240000"/>
          </a:xfrm>
        </p:spPr>
        <p:txBody>
          <a:bodyPr/>
          <a:lstStyle>
            <a:lvl2pPr>
              <a:defRPr/>
            </a:lvl2pPr>
            <a:lvl3pPr>
              <a:defRPr/>
            </a:lvl3pPr>
            <a:lvl4pPr>
              <a:defRPr baseline="0"/>
            </a:lvl4pPr>
            <a:lvl5pPr>
              <a:defRPr/>
            </a:lvl5pPr>
          </a:lstStyle>
          <a:p>
            <a:pPr lvl="0"/>
            <a:r>
              <a:rPr lang="en-US" noProof="0"/>
              <a:t>Text level 1</a:t>
            </a:r>
          </a:p>
          <a:p>
            <a:pPr lvl="1"/>
            <a:r>
              <a:rPr lang="en-US" noProof="0"/>
              <a:t>Text level 2</a:t>
            </a:r>
          </a:p>
          <a:p>
            <a:pPr lvl="2"/>
            <a:r>
              <a:rPr lang="en-US" noProof="0"/>
              <a:t>Text level 3</a:t>
            </a:r>
          </a:p>
          <a:p>
            <a:pPr lvl="3"/>
            <a:r>
              <a:rPr lang="en-US" noProof="0"/>
              <a:t>Text level 4</a:t>
            </a:r>
          </a:p>
          <a:p>
            <a:pPr lvl="4"/>
            <a:r>
              <a:rPr lang="en-US" noProof="0"/>
              <a:t>Text level 5</a:t>
            </a:r>
          </a:p>
        </p:txBody>
      </p:sp>
      <p:sp>
        <p:nvSpPr>
          <p:cNvPr id="10" name="Espace réservé du texte 9"/>
          <p:cNvSpPr>
            <a:spLocks noGrp="1"/>
          </p:cNvSpPr>
          <p:nvPr>
            <p:ph type="body" sz="quarter" idx="13" hasCustomPrompt="1"/>
          </p:nvPr>
        </p:nvSpPr>
        <p:spPr bwMode="gray">
          <a:xfrm>
            <a:off x="935038" y="1304924"/>
            <a:ext cx="7345362" cy="1260000"/>
          </a:xfrm>
        </p:spPr>
        <p:txBody>
          <a:bodyPr/>
          <a:lstStyle/>
          <a:p>
            <a:pPr lvl="0"/>
            <a:r>
              <a:rPr lang="en-US" noProof="0"/>
              <a:t>Text level 1</a:t>
            </a:r>
          </a:p>
          <a:p>
            <a:pPr lvl="1"/>
            <a:r>
              <a:rPr lang="en-US" noProof="0"/>
              <a:t>Text level 2</a:t>
            </a:r>
          </a:p>
          <a:p>
            <a:pPr lvl="2"/>
            <a:r>
              <a:rPr lang="en-US" noProof="0"/>
              <a:t>Text level 3</a:t>
            </a:r>
          </a:p>
          <a:p>
            <a:pPr lvl="3"/>
            <a:r>
              <a:rPr lang="en-US" noProof="0"/>
              <a:t>Text level 4</a:t>
            </a:r>
          </a:p>
          <a:p>
            <a:pPr lvl="4"/>
            <a:r>
              <a:rPr lang="en-US" noProof="0"/>
              <a:t>Text level 5</a:t>
            </a:r>
          </a:p>
        </p:txBody>
      </p:sp>
      <p:sp>
        <p:nvSpPr>
          <p:cNvPr id="8" name="Espace réservé de la date 7"/>
          <p:cNvSpPr>
            <a:spLocks noGrp="1"/>
          </p:cNvSpPr>
          <p:nvPr>
            <p:ph type="dt" sz="half" idx="14"/>
          </p:nvPr>
        </p:nvSpPr>
        <p:spPr bwMode="gray"/>
        <p:txBody>
          <a:bodyPr/>
          <a:lstStyle/>
          <a:p>
            <a:r>
              <a:rPr lang="en-US" noProof="0"/>
              <a:t>Date</a:t>
            </a:r>
          </a:p>
        </p:txBody>
      </p:sp>
      <p:sp>
        <p:nvSpPr>
          <p:cNvPr id="9" name="Espace réservé du numéro de diapositive 8"/>
          <p:cNvSpPr>
            <a:spLocks noGrp="1"/>
          </p:cNvSpPr>
          <p:nvPr>
            <p:ph type="sldNum" sz="quarter" idx="15"/>
          </p:nvPr>
        </p:nvSpPr>
        <p:spPr bwMode="gray"/>
        <p:txBody>
          <a:bodyPr/>
          <a:lstStyle/>
          <a:p>
            <a:pPr algn="l"/>
            <a:fld id="{733122C9-A0B9-462F-8757-0847AD287B63}" type="slidenum">
              <a:rPr lang="en-US" noProof="0" smtClean="0"/>
              <a:pPr algn="l"/>
              <a:t>‹#›</a:t>
            </a:fld>
            <a:endParaRPr lang="en-US" noProof="0"/>
          </a:p>
        </p:txBody>
      </p:sp>
      <p:sp>
        <p:nvSpPr>
          <p:cNvPr id="11" name="Espace réservé du pied de page 10"/>
          <p:cNvSpPr>
            <a:spLocks noGrp="1"/>
          </p:cNvSpPr>
          <p:nvPr>
            <p:ph type="ftr" sz="quarter" idx="16"/>
          </p:nvPr>
        </p:nvSpPr>
        <p:spPr bwMode="gray"/>
        <p:txBody>
          <a:bodyPr/>
          <a:lstStyle/>
          <a:p>
            <a:r>
              <a:rPr lang="en-US" noProof="0"/>
              <a:t>#add your hashtag</a:t>
            </a:r>
          </a:p>
        </p:txBody>
      </p:sp>
      <p:sp>
        <p:nvSpPr>
          <p:cNvPr id="13" name="Espace réservé du contenu 2"/>
          <p:cNvSpPr>
            <a:spLocks noGrp="1"/>
          </p:cNvSpPr>
          <p:nvPr>
            <p:ph idx="17" hasCustomPrompt="1"/>
          </p:nvPr>
        </p:nvSpPr>
        <p:spPr bwMode="gray">
          <a:xfrm>
            <a:off x="3455719" y="2781388"/>
            <a:ext cx="2304000" cy="3240000"/>
          </a:xfrm>
        </p:spPr>
        <p:txBody>
          <a:bodyPr/>
          <a:lstStyle>
            <a:lvl2pPr>
              <a:defRPr/>
            </a:lvl2pPr>
            <a:lvl3pPr>
              <a:defRPr/>
            </a:lvl3pPr>
            <a:lvl4pPr>
              <a:defRPr baseline="0"/>
            </a:lvl4pPr>
            <a:lvl5pPr>
              <a:defRPr/>
            </a:lvl5pPr>
          </a:lstStyle>
          <a:p>
            <a:pPr lvl="0"/>
            <a:r>
              <a:rPr lang="en-US" noProof="0"/>
              <a:t>Text level 1</a:t>
            </a:r>
          </a:p>
          <a:p>
            <a:pPr lvl="1"/>
            <a:r>
              <a:rPr lang="en-US" noProof="0"/>
              <a:t>Text level 2</a:t>
            </a:r>
          </a:p>
          <a:p>
            <a:pPr lvl="2"/>
            <a:r>
              <a:rPr lang="en-US" noProof="0"/>
              <a:t>Text level 3</a:t>
            </a:r>
          </a:p>
          <a:p>
            <a:pPr lvl="3"/>
            <a:r>
              <a:rPr lang="en-US" noProof="0"/>
              <a:t>Text level 4</a:t>
            </a:r>
          </a:p>
          <a:p>
            <a:pPr lvl="4"/>
            <a:r>
              <a:rPr lang="en-US" noProof="0"/>
              <a:t>Text level 5</a:t>
            </a:r>
          </a:p>
        </p:txBody>
      </p:sp>
      <p:sp>
        <p:nvSpPr>
          <p:cNvPr id="14" name="Espace réservé du contenu 2"/>
          <p:cNvSpPr>
            <a:spLocks noGrp="1"/>
          </p:cNvSpPr>
          <p:nvPr>
            <p:ph idx="18" hasCustomPrompt="1"/>
          </p:nvPr>
        </p:nvSpPr>
        <p:spPr bwMode="gray">
          <a:xfrm>
            <a:off x="5976400" y="2781388"/>
            <a:ext cx="2304000" cy="3240000"/>
          </a:xfrm>
        </p:spPr>
        <p:txBody>
          <a:bodyPr/>
          <a:lstStyle>
            <a:lvl2pPr>
              <a:defRPr/>
            </a:lvl2pPr>
            <a:lvl3pPr>
              <a:defRPr/>
            </a:lvl3pPr>
            <a:lvl4pPr>
              <a:defRPr baseline="0"/>
            </a:lvl4pPr>
            <a:lvl5pPr>
              <a:defRPr/>
            </a:lvl5pPr>
          </a:lstStyle>
          <a:p>
            <a:pPr lvl="0"/>
            <a:r>
              <a:rPr lang="en-US" noProof="0"/>
              <a:t>Text level 1</a:t>
            </a:r>
          </a:p>
          <a:p>
            <a:pPr lvl="1"/>
            <a:r>
              <a:rPr lang="en-US" noProof="0"/>
              <a:t>Text level 2</a:t>
            </a:r>
          </a:p>
          <a:p>
            <a:pPr lvl="2"/>
            <a:r>
              <a:rPr lang="en-US" noProof="0"/>
              <a:t>Text level 3</a:t>
            </a:r>
          </a:p>
          <a:p>
            <a:pPr lvl="3"/>
            <a:r>
              <a:rPr lang="en-US" noProof="0"/>
              <a:t>Text level 4</a:t>
            </a:r>
          </a:p>
          <a:p>
            <a:pPr lvl="4"/>
            <a:r>
              <a:rPr lang="en-US" noProof="0"/>
              <a:t>Text level 5</a:t>
            </a:r>
          </a:p>
        </p:txBody>
      </p:sp>
    </p:spTree>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Cover_Picture_2">
    <p:spTree>
      <p:nvGrpSpPr>
        <p:cNvPr id="1" name=""/>
        <p:cNvGrpSpPr/>
        <p:nvPr/>
      </p:nvGrpSpPr>
      <p:grpSpPr>
        <a:xfrm>
          <a:off x="0" y="0"/>
          <a:ext cx="0" cy="0"/>
          <a:chOff x="0" y="0"/>
          <a:chExt cx="0" cy="0"/>
        </a:xfrm>
      </p:grpSpPr>
      <p:pic>
        <p:nvPicPr>
          <p:cNvPr id="7" name="Image 20" descr="FD_1_L254.png"/>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gray">
          <a:xfrm>
            <a:off x="0" y="0"/>
            <a:ext cx="9144000" cy="51577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0" name="Rectangle 9"/>
          <p:cNvSpPr/>
          <p:nvPr userDrawn="1"/>
        </p:nvSpPr>
        <p:spPr bwMode="gray">
          <a:xfrm>
            <a:off x="3635375" y="5265738"/>
            <a:ext cx="5508625" cy="15922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prstClr val="white"/>
              </a:solidFill>
            </a:endParaRPr>
          </a:p>
        </p:txBody>
      </p:sp>
      <p:pic>
        <p:nvPicPr>
          <p:cNvPr id="11" name="Image 19" descr="Bas_couv.png"/>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gray">
          <a:xfrm>
            <a:off x="0" y="5172075"/>
            <a:ext cx="3635375" cy="16859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2" name="Rectangle 11"/>
          <p:cNvSpPr/>
          <p:nvPr userDrawn="1"/>
        </p:nvSpPr>
        <p:spPr bwMode="gray">
          <a:xfrm>
            <a:off x="3635375" y="6354763"/>
            <a:ext cx="5113338" cy="2873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p>
            <a:pPr algn="r">
              <a:defRPr/>
            </a:pPr>
            <a:r>
              <a:rPr lang="en-US" sz="1000" err="1">
                <a:solidFill>
                  <a:srgbClr val="95D600"/>
                </a:solidFill>
              </a:rPr>
              <a:t>www.gavi.org</a:t>
            </a:r>
            <a:endParaRPr lang="en-US" sz="1000">
              <a:solidFill>
                <a:srgbClr val="95D600"/>
              </a:solidFill>
            </a:endParaRPr>
          </a:p>
        </p:txBody>
      </p:sp>
      <p:cxnSp>
        <p:nvCxnSpPr>
          <p:cNvPr id="13" name="Connecteur droit 13"/>
          <p:cNvCxnSpPr/>
          <p:nvPr userDrawn="1"/>
        </p:nvCxnSpPr>
        <p:spPr bwMode="gray">
          <a:xfrm flipH="1">
            <a:off x="468313" y="3402013"/>
            <a:ext cx="2447925" cy="0"/>
          </a:xfrm>
          <a:prstGeom prst="line">
            <a:avLst/>
          </a:prstGeom>
          <a:ln w="24130">
            <a:solidFill>
              <a:schemeClr val="accent1"/>
            </a:solidFill>
          </a:ln>
        </p:spPr>
        <p:style>
          <a:lnRef idx="1">
            <a:schemeClr val="accent1"/>
          </a:lnRef>
          <a:fillRef idx="0">
            <a:schemeClr val="accent1"/>
          </a:fillRef>
          <a:effectRef idx="0">
            <a:schemeClr val="accent1"/>
          </a:effectRef>
          <a:fontRef idx="minor">
            <a:schemeClr val="tx1"/>
          </a:fontRef>
        </p:style>
      </p:cxnSp>
      <p:sp>
        <p:nvSpPr>
          <p:cNvPr id="9" name="Espace réservé du texte 8"/>
          <p:cNvSpPr>
            <a:spLocks noGrp="1"/>
          </p:cNvSpPr>
          <p:nvPr>
            <p:ph type="body" sz="quarter" idx="13"/>
          </p:nvPr>
        </p:nvSpPr>
        <p:spPr bwMode="gray">
          <a:xfrm>
            <a:off x="468000" y="1036800"/>
            <a:ext cx="4824412" cy="2232000"/>
          </a:xfrm>
        </p:spPr>
        <p:txBody>
          <a:bodyPr anchor="b"/>
          <a:lstStyle>
            <a:lvl1pPr marL="0" indent="0" algn="l">
              <a:lnSpc>
                <a:spcPct val="90000"/>
              </a:lnSpc>
              <a:buNone/>
              <a:defRPr sz="2800" b="1" cap="none" baseline="0">
                <a:solidFill>
                  <a:schemeClr val="bg1"/>
                </a:solidFill>
              </a:defRPr>
            </a:lvl1pPr>
            <a:lvl2pPr marL="0" algn="ctr">
              <a:lnSpc>
                <a:spcPct val="100000"/>
              </a:lnSpc>
              <a:spcBef>
                <a:spcPts val="6900"/>
              </a:spcBef>
              <a:defRPr sz="2000" b="1">
                <a:solidFill>
                  <a:schemeClr val="bg1"/>
                </a:solidFill>
              </a:defRPr>
            </a:lvl2pPr>
          </a:lstStyle>
          <a:p>
            <a:pPr lvl="0"/>
            <a:r>
              <a:rPr lang="en-US" noProof="0"/>
              <a:t>Click to edit Master text styles</a:t>
            </a:r>
          </a:p>
        </p:txBody>
      </p:sp>
      <p:sp>
        <p:nvSpPr>
          <p:cNvPr id="8" name="Espace réservé du texte 8"/>
          <p:cNvSpPr>
            <a:spLocks noGrp="1"/>
          </p:cNvSpPr>
          <p:nvPr>
            <p:ph type="body" sz="quarter" idx="14"/>
          </p:nvPr>
        </p:nvSpPr>
        <p:spPr bwMode="gray">
          <a:xfrm>
            <a:off x="468314" y="3585600"/>
            <a:ext cx="3592800" cy="1479600"/>
          </a:xfrm>
        </p:spPr>
        <p:txBody>
          <a:bodyPr/>
          <a:lstStyle>
            <a:lvl1pPr marL="0" indent="0" algn="l">
              <a:lnSpc>
                <a:spcPct val="90000"/>
              </a:lnSpc>
              <a:buNone/>
              <a:defRPr sz="2000" b="0" baseline="0">
                <a:solidFill>
                  <a:schemeClr val="bg1"/>
                </a:solidFill>
              </a:defRPr>
            </a:lvl1pPr>
            <a:lvl2pPr marL="0" algn="ctr">
              <a:lnSpc>
                <a:spcPct val="100000"/>
              </a:lnSpc>
              <a:spcBef>
                <a:spcPts val="6900"/>
              </a:spcBef>
              <a:defRPr sz="2000" b="1">
                <a:solidFill>
                  <a:schemeClr val="bg1"/>
                </a:solidFill>
              </a:defRPr>
            </a:lvl2pPr>
          </a:lstStyle>
          <a:p>
            <a:pPr lvl="0"/>
            <a:r>
              <a:rPr lang="en-US" noProof="0"/>
              <a:t>Click to edit Master text styles</a:t>
            </a:r>
          </a:p>
        </p:txBody>
      </p:sp>
      <p:sp>
        <p:nvSpPr>
          <p:cNvPr id="15" name="Espace réservé du texte 14"/>
          <p:cNvSpPr>
            <a:spLocks noGrp="1"/>
          </p:cNvSpPr>
          <p:nvPr>
            <p:ph type="body" sz="quarter" idx="19"/>
          </p:nvPr>
        </p:nvSpPr>
        <p:spPr bwMode="gray">
          <a:xfrm>
            <a:off x="3635376" y="6021388"/>
            <a:ext cx="5113338" cy="324000"/>
          </a:xfrm>
        </p:spPr>
        <p:txBody>
          <a:bodyPr anchor="b"/>
          <a:lstStyle>
            <a:lvl1pPr algn="r">
              <a:lnSpc>
                <a:spcPct val="100000"/>
              </a:lnSpc>
              <a:defRPr sz="1000" b="1">
                <a:solidFill>
                  <a:schemeClr val="accent3"/>
                </a:solidFill>
              </a:defRPr>
            </a:lvl1pPr>
          </a:lstStyle>
          <a:p>
            <a:pPr lvl="0"/>
            <a:r>
              <a:rPr lang="en-US" noProof="0"/>
              <a:t>Click to edit Master text styles</a:t>
            </a:r>
          </a:p>
        </p:txBody>
      </p:sp>
      <p:sp>
        <p:nvSpPr>
          <p:cNvPr id="17" name="Espace réservé du texte 16"/>
          <p:cNvSpPr>
            <a:spLocks noGrp="1"/>
          </p:cNvSpPr>
          <p:nvPr>
            <p:ph type="body" sz="quarter" idx="20"/>
          </p:nvPr>
        </p:nvSpPr>
        <p:spPr bwMode="gray">
          <a:xfrm>
            <a:off x="0" y="5157788"/>
            <a:ext cx="9144000" cy="287337"/>
          </a:xfrm>
          <a:solidFill>
            <a:schemeClr val="bg1"/>
          </a:solidFill>
        </p:spPr>
        <p:txBody>
          <a:bodyPr/>
          <a:lstStyle>
            <a:lvl1pPr>
              <a:defRPr sz="100" b="0">
                <a:solidFill>
                  <a:schemeClr val="bg1">
                    <a:alpha val="0"/>
                  </a:schemeClr>
                </a:solidFill>
              </a:defRPr>
            </a:lvl1pPr>
          </a:lstStyle>
          <a:p>
            <a:pPr lvl="0"/>
            <a:r>
              <a:rPr lang="en-US" noProof="0"/>
              <a:t>Click to edit Master text styles</a:t>
            </a:r>
          </a:p>
        </p:txBody>
      </p:sp>
      <p:sp>
        <p:nvSpPr>
          <p:cNvPr id="18" name="Espace réservé pour une image  17"/>
          <p:cNvSpPr>
            <a:spLocks noGrp="1"/>
          </p:cNvSpPr>
          <p:nvPr>
            <p:ph type="pic" sz="quarter" idx="18"/>
          </p:nvPr>
        </p:nvSpPr>
        <p:spPr bwMode="gray">
          <a:xfrm>
            <a:off x="4192588" y="0"/>
            <a:ext cx="4951412" cy="5162400"/>
          </a:xfrm>
          <a:custGeom>
            <a:avLst/>
            <a:gdLst>
              <a:gd name="connsiteX0" fmla="*/ 0 w 3851275"/>
              <a:gd name="connsiteY0" fmla="*/ 0 h 5157788"/>
              <a:gd name="connsiteX1" fmla="*/ 3851275 w 3851275"/>
              <a:gd name="connsiteY1" fmla="*/ 0 h 5157788"/>
              <a:gd name="connsiteX2" fmla="*/ 3851275 w 3851275"/>
              <a:gd name="connsiteY2" fmla="*/ 5157788 h 5157788"/>
              <a:gd name="connsiteX3" fmla="*/ 0 w 3851275"/>
              <a:gd name="connsiteY3" fmla="*/ 5157788 h 5157788"/>
              <a:gd name="connsiteX4" fmla="*/ 0 w 3851275"/>
              <a:gd name="connsiteY4"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0 w 3851275"/>
              <a:gd name="connsiteY3" fmla="*/ 5157788 h 5157788"/>
              <a:gd name="connsiteX4" fmla="*/ 1692275 w 3851275"/>
              <a:gd name="connsiteY4" fmla="*/ 0 h 5157788"/>
              <a:gd name="connsiteX0" fmla="*/ 0 w 2159000"/>
              <a:gd name="connsiteY0" fmla="*/ 0 h 5157788"/>
              <a:gd name="connsiteX1" fmla="*/ 2159000 w 2159000"/>
              <a:gd name="connsiteY1" fmla="*/ 0 h 5157788"/>
              <a:gd name="connsiteX2" fmla="*/ 2159000 w 2159000"/>
              <a:gd name="connsiteY2" fmla="*/ 5157788 h 5157788"/>
              <a:gd name="connsiteX3" fmla="*/ 0 w 2159000"/>
              <a:gd name="connsiteY3" fmla="*/ 5157788 h 5157788"/>
              <a:gd name="connsiteX4" fmla="*/ 0 w 2159000"/>
              <a:gd name="connsiteY4" fmla="*/ 0 h 5157788"/>
              <a:gd name="connsiteX0" fmla="*/ 2625271 w 4784271"/>
              <a:gd name="connsiteY0" fmla="*/ 0 h 5157788"/>
              <a:gd name="connsiteX1" fmla="*/ 4784271 w 4784271"/>
              <a:gd name="connsiteY1" fmla="*/ 0 h 5157788"/>
              <a:gd name="connsiteX2" fmla="*/ 4784271 w 4784271"/>
              <a:gd name="connsiteY2" fmla="*/ 5157788 h 5157788"/>
              <a:gd name="connsiteX3" fmla="*/ 2625271 w 4784271"/>
              <a:gd name="connsiteY3" fmla="*/ 5157788 h 5157788"/>
              <a:gd name="connsiteX4" fmla="*/ 2625271 w 4784271"/>
              <a:gd name="connsiteY4" fmla="*/ 0 h 5157788"/>
              <a:gd name="connsiteX0" fmla="*/ 2625271 w 4784271"/>
              <a:gd name="connsiteY0" fmla="*/ 0 h 5157788"/>
              <a:gd name="connsiteX1" fmla="*/ 4784271 w 4784271"/>
              <a:gd name="connsiteY1" fmla="*/ 0 h 5157788"/>
              <a:gd name="connsiteX2" fmla="*/ 4784271 w 4784271"/>
              <a:gd name="connsiteY2" fmla="*/ 5157788 h 5157788"/>
              <a:gd name="connsiteX3" fmla="*/ 2625271 w 4784271"/>
              <a:gd name="connsiteY3" fmla="*/ 5157788 h 5157788"/>
              <a:gd name="connsiteX4" fmla="*/ 2625271 w 4784271"/>
              <a:gd name="connsiteY4" fmla="*/ 0 h 5157788"/>
              <a:gd name="connsiteX0" fmla="*/ 3568576 w 5727576"/>
              <a:gd name="connsiteY0" fmla="*/ 0 h 5157788"/>
              <a:gd name="connsiteX1" fmla="*/ 5727576 w 5727576"/>
              <a:gd name="connsiteY1" fmla="*/ 0 h 5157788"/>
              <a:gd name="connsiteX2" fmla="*/ 5727576 w 5727576"/>
              <a:gd name="connsiteY2" fmla="*/ 5157788 h 5157788"/>
              <a:gd name="connsiteX3" fmla="*/ 3568576 w 5727576"/>
              <a:gd name="connsiteY3" fmla="*/ 5157788 h 5157788"/>
              <a:gd name="connsiteX4" fmla="*/ 3568576 w 5727576"/>
              <a:gd name="connsiteY4" fmla="*/ 0 h 5157788"/>
              <a:gd name="connsiteX0" fmla="*/ 3306355 w 5465355"/>
              <a:gd name="connsiteY0" fmla="*/ 0 h 5157788"/>
              <a:gd name="connsiteX1" fmla="*/ 5465355 w 5465355"/>
              <a:gd name="connsiteY1" fmla="*/ 0 h 5157788"/>
              <a:gd name="connsiteX2" fmla="*/ 5465355 w 5465355"/>
              <a:gd name="connsiteY2" fmla="*/ 5157788 h 5157788"/>
              <a:gd name="connsiteX3" fmla="*/ 3306355 w 5465355"/>
              <a:gd name="connsiteY3" fmla="*/ 5157788 h 5157788"/>
              <a:gd name="connsiteX4" fmla="*/ 3306355 w 5465355"/>
              <a:gd name="connsiteY4" fmla="*/ 0 h 5157788"/>
              <a:gd name="connsiteX0" fmla="*/ 1416957 w 3575957"/>
              <a:gd name="connsiteY0" fmla="*/ 0 h 5157788"/>
              <a:gd name="connsiteX1" fmla="*/ 3575957 w 3575957"/>
              <a:gd name="connsiteY1" fmla="*/ 0 h 5157788"/>
              <a:gd name="connsiteX2" fmla="*/ 3575957 w 3575957"/>
              <a:gd name="connsiteY2" fmla="*/ 5157788 h 5157788"/>
              <a:gd name="connsiteX3" fmla="*/ 1416957 w 3575957"/>
              <a:gd name="connsiteY3" fmla="*/ 5157788 h 5157788"/>
              <a:gd name="connsiteX4" fmla="*/ 0 w 3575957"/>
              <a:gd name="connsiteY4" fmla="*/ 3339193 h 5157788"/>
              <a:gd name="connsiteX5" fmla="*/ 1416957 w 3575957"/>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6017419"/>
              <a:gd name="connsiteX1" fmla="*/ 3851275 w 3851275"/>
              <a:gd name="connsiteY1" fmla="*/ 0 h 6017419"/>
              <a:gd name="connsiteX2" fmla="*/ 3851275 w 3851275"/>
              <a:gd name="connsiteY2" fmla="*/ 5157788 h 6017419"/>
              <a:gd name="connsiteX3" fmla="*/ 1692275 w 3851275"/>
              <a:gd name="connsiteY3" fmla="*/ 5157788 h 6017419"/>
              <a:gd name="connsiteX4" fmla="*/ 0 w 3851275"/>
              <a:gd name="connsiteY4" fmla="*/ 3284984 h 6017419"/>
              <a:gd name="connsiteX5" fmla="*/ 1692275 w 3851275"/>
              <a:gd name="connsiteY5" fmla="*/ 0 h 6017419"/>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429000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429000 h 5157788"/>
              <a:gd name="connsiteX5" fmla="*/ 1710871 w 3869871"/>
              <a:gd name="connsiteY5" fmla="*/ 0 h 5157788"/>
              <a:gd name="connsiteX0" fmla="*/ 1704975 w 3863975"/>
              <a:gd name="connsiteY0" fmla="*/ 0 h 5157788"/>
              <a:gd name="connsiteX1" fmla="*/ 3863975 w 3863975"/>
              <a:gd name="connsiteY1" fmla="*/ 0 h 5157788"/>
              <a:gd name="connsiteX2" fmla="*/ 3863975 w 3863975"/>
              <a:gd name="connsiteY2" fmla="*/ 5157788 h 5157788"/>
              <a:gd name="connsiteX3" fmla="*/ 1704975 w 3863975"/>
              <a:gd name="connsiteY3" fmla="*/ 5157788 h 5157788"/>
              <a:gd name="connsiteX4" fmla="*/ 12700 w 3863975"/>
              <a:gd name="connsiteY4" fmla="*/ 3429000 h 5157788"/>
              <a:gd name="connsiteX5" fmla="*/ 1704975 w 3863975"/>
              <a:gd name="connsiteY5" fmla="*/ 0 h 5157788"/>
              <a:gd name="connsiteX0" fmla="*/ 1707243 w 3866243"/>
              <a:gd name="connsiteY0" fmla="*/ 0 h 5157788"/>
              <a:gd name="connsiteX1" fmla="*/ 3866243 w 3866243"/>
              <a:gd name="connsiteY1" fmla="*/ 0 h 5157788"/>
              <a:gd name="connsiteX2" fmla="*/ 3866243 w 3866243"/>
              <a:gd name="connsiteY2" fmla="*/ 5157788 h 5157788"/>
              <a:gd name="connsiteX3" fmla="*/ 1707243 w 3866243"/>
              <a:gd name="connsiteY3" fmla="*/ 5157788 h 5157788"/>
              <a:gd name="connsiteX4" fmla="*/ 14968 w 3866243"/>
              <a:gd name="connsiteY4" fmla="*/ 3429000 h 5157788"/>
              <a:gd name="connsiteX5" fmla="*/ 1707243 w 3866243"/>
              <a:gd name="connsiteY5" fmla="*/ 0 h 5157788"/>
              <a:gd name="connsiteX0" fmla="*/ 1130447 w 3866243"/>
              <a:gd name="connsiteY0" fmla="*/ 0 h 5157788"/>
              <a:gd name="connsiteX1" fmla="*/ 3866243 w 3866243"/>
              <a:gd name="connsiteY1" fmla="*/ 0 h 5157788"/>
              <a:gd name="connsiteX2" fmla="*/ 3866243 w 3866243"/>
              <a:gd name="connsiteY2" fmla="*/ 5157788 h 5157788"/>
              <a:gd name="connsiteX3" fmla="*/ 1707243 w 3866243"/>
              <a:gd name="connsiteY3" fmla="*/ 5157788 h 5157788"/>
              <a:gd name="connsiteX4" fmla="*/ 14968 w 3866243"/>
              <a:gd name="connsiteY4" fmla="*/ 3429000 h 5157788"/>
              <a:gd name="connsiteX5" fmla="*/ 1130447 w 3866243"/>
              <a:gd name="connsiteY5" fmla="*/ 0 h 5157788"/>
              <a:gd name="connsiteX0" fmla="*/ 2746143 w 5481939"/>
              <a:gd name="connsiteY0" fmla="*/ 0 h 5157788"/>
              <a:gd name="connsiteX1" fmla="*/ 5481939 w 5481939"/>
              <a:gd name="connsiteY1" fmla="*/ 0 h 5157788"/>
              <a:gd name="connsiteX2" fmla="*/ 5481939 w 5481939"/>
              <a:gd name="connsiteY2" fmla="*/ 5157788 h 5157788"/>
              <a:gd name="connsiteX3" fmla="*/ 585903 w 5481939"/>
              <a:gd name="connsiteY3" fmla="*/ 5153180 h 5157788"/>
              <a:gd name="connsiteX4" fmla="*/ 1630664 w 5481939"/>
              <a:gd name="connsiteY4" fmla="*/ 3429000 h 5157788"/>
              <a:gd name="connsiteX5" fmla="*/ 2746143 w 5481939"/>
              <a:gd name="connsiteY5" fmla="*/ 0 h 5157788"/>
              <a:gd name="connsiteX0" fmla="*/ 2746143 w 5481939"/>
              <a:gd name="connsiteY0" fmla="*/ 0 h 5157788"/>
              <a:gd name="connsiteX1" fmla="*/ 5481939 w 5481939"/>
              <a:gd name="connsiteY1" fmla="*/ 0 h 5157788"/>
              <a:gd name="connsiteX2" fmla="*/ 5481939 w 5481939"/>
              <a:gd name="connsiteY2" fmla="*/ 5157788 h 5157788"/>
              <a:gd name="connsiteX3" fmla="*/ 585903 w 5481939"/>
              <a:gd name="connsiteY3" fmla="*/ 5153180 h 5157788"/>
              <a:gd name="connsiteX4" fmla="*/ 1630664 w 5481939"/>
              <a:gd name="connsiteY4" fmla="*/ 3429000 h 5157788"/>
              <a:gd name="connsiteX5" fmla="*/ 2746143 w 548193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3574235 w 6310031"/>
              <a:gd name="connsiteY0" fmla="*/ 0 h 5157788"/>
              <a:gd name="connsiteX1" fmla="*/ 6310031 w 6310031"/>
              <a:gd name="connsiteY1" fmla="*/ 0 h 5157788"/>
              <a:gd name="connsiteX2" fmla="*/ 6310031 w 6310031"/>
              <a:gd name="connsiteY2" fmla="*/ 5157788 h 5157788"/>
              <a:gd name="connsiteX3" fmla="*/ 585903 w 6310031"/>
              <a:gd name="connsiteY3" fmla="*/ 5153180 h 5157788"/>
              <a:gd name="connsiteX4" fmla="*/ 1738031 w 6310031"/>
              <a:gd name="connsiteY4" fmla="*/ 3389965 h 5157788"/>
              <a:gd name="connsiteX5" fmla="*/ 3574235 w 6310031"/>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296143 w 5724128"/>
              <a:gd name="connsiteY4" fmla="*/ 3461908 h 5157788"/>
              <a:gd name="connsiteX5" fmla="*/ 2988332 w 5724128"/>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1188132 w 5760132"/>
              <a:gd name="connsiteY4" fmla="*/ 3425937 h 5157788"/>
              <a:gd name="connsiteX5" fmla="*/ 3024336 w 5760132"/>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2736304 w 5760132"/>
              <a:gd name="connsiteY4" fmla="*/ 3461908 h 5157788"/>
              <a:gd name="connsiteX5" fmla="*/ 3024336 w 5760132"/>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2736304 w 5760132"/>
              <a:gd name="connsiteY4" fmla="*/ 3461908 h 5157788"/>
              <a:gd name="connsiteX5" fmla="*/ 3024336 w 5760132"/>
              <a:gd name="connsiteY5" fmla="*/ 0 h 5157788"/>
              <a:gd name="connsiteX0" fmla="*/ 2160240 w 4896036"/>
              <a:gd name="connsiteY0" fmla="*/ 0 h 5157788"/>
              <a:gd name="connsiteX1" fmla="*/ 4896036 w 4896036"/>
              <a:gd name="connsiteY1" fmla="*/ 0 h 5157788"/>
              <a:gd name="connsiteX2" fmla="*/ 4896036 w 4896036"/>
              <a:gd name="connsiteY2" fmla="*/ 5157788 h 5157788"/>
              <a:gd name="connsiteX3" fmla="*/ 0 w 4896036"/>
              <a:gd name="connsiteY3" fmla="*/ 5153180 h 5157788"/>
              <a:gd name="connsiteX4" fmla="*/ 1872208 w 4896036"/>
              <a:gd name="connsiteY4" fmla="*/ 3461908 h 5157788"/>
              <a:gd name="connsiteX5" fmla="*/ 2160240 w 4896036"/>
              <a:gd name="connsiteY5" fmla="*/ 0 h 5157788"/>
              <a:gd name="connsiteX0" fmla="*/ 2232248 w 4968044"/>
              <a:gd name="connsiteY0" fmla="*/ 0 h 5157788"/>
              <a:gd name="connsiteX1" fmla="*/ 4968044 w 4968044"/>
              <a:gd name="connsiteY1" fmla="*/ 0 h 5157788"/>
              <a:gd name="connsiteX2" fmla="*/ 4968044 w 4968044"/>
              <a:gd name="connsiteY2" fmla="*/ 5157788 h 5157788"/>
              <a:gd name="connsiteX3" fmla="*/ 0 w 4968044"/>
              <a:gd name="connsiteY3" fmla="*/ 5153180 h 5157788"/>
              <a:gd name="connsiteX4" fmla="*/ 1944216 w 4968044"/>
              <a:gd name="connsiteY4" fmla="*/ 3461908 h 5157788"/>
              <a:gd name="connsiteX5" fmla="*/ 2232248 w 4968044"/>
              <a:gd name="connsiteY5" fmla="*/ 0 h 5157788"/>
              <a:gd name="connsiteX0" fmla="*/ 2207679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207679 w 4943475"/>
              <a:gd name="connsiteY5" fmla="*/ 0 h 5157788"/>
              <a:gd name="connsiteX0" fmla="*/ 2963763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963763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092200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71575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343583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675731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675731 w 4943475"/>
              <a:gd name="connsiteY5" fmla="*/ 0 h 5157788"/>
              <a:gd name="connsiteX0" fmla="*/ 2675731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675731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9672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19672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51412" h="5157788">
                <a:moveTo>
                  <a:pt x="2706687" y="0"/>
                </a:moveTo>
                <a:lnTo>
                  <a:pt x="4951412" y="0"/>
                </a:lnTo>
                <a:lnTo>
                  <a:pt x="4951412" y="5157788"/>
                </a:lnTo>
                <a:lnTo>
                  <a:pt x="0" y="5153180"/>
                </a:lnTo>
                <a:cubicBezTo>
                  <a:pt x="84411" y="4542509"/>
                  <a:pt x="183041" y="4024723"/>
                  <a:pt x="1243508" y="2562613"/>
                </a:cubicBezTo>
                <a:cubicBezTo>
                  <a:pt x="1867447" y="1704780"/>
                  <a:pt x="2665955" y="709265"/>
                  <a:pt x="2706687" y="0"/>
                </a:cubicBezTo>
                <a:close/>
              </a:path>
            </a:pathLst>
          </a:custGeom>
          <a:solidFill>
            <a:schemeClr val="bg2"/>
          </a:solidFill>
          <a:ln w="3175">
            <a:noFill/>
          </a:ln>
        </p:spPr>
        <p:txBody>
          <a:bodyPr tIns="720000" rtlCol="0" anchor="ctr">
            <a:noAutofit/>
          </a:bodyPr>
          <a:lstStyle>
            <a:lvl1pPr algn="ctr">
              <a:defRPr sz="1500">
                <a:solidFill>
                  <a:schemeClr val="bg1"/>
                </a:solidFill>
              </a:defRPr>
            </a:lvl1pPr>
          </a:lstStyle>
          <a:p>
            <a:pPr lvl="0"/>
            <a:r>
              <a:rPr lang="en-US" noProof="0"/>
              <a:t>Click icon to add picture</a:t>
            </a:r>
          </a:p>
        </p:txBody>
      </p:sp>
      <p:sp>
        <p:nvSpPr>
          <p:cNvPr id="14" name="Espace réservé de la date 9"/>
          <p:cNvSpPr>
            <a:spLocks noGrp="1"/>
          </p:cNvSpPr>
          <p:nvPr>
            <p:ph type="dt" sz="half" idx="21"/>
          </p:nvPr>
        </p:nvSpPr>
        <p:spPr/>
        <p:txBody>
          <a:bodyPr/>
          <a:lstStyle>
            <a:lvl1pPr>
              <a:defRPr/>
            </a:lvl1pPr>
          </a:lstStyle>
          <a:p>
            <a:pPr>
              <a:defRPr/>
            </a:pPr>
            <a:r>
              <a:rPr lang="en-US">
                <a:solidFill>
                  <a:prstClr val="white">
                    <a:alpha val="0"/>
                  </a:prstClr>
                </a:solidFill>
              </a:rPr>
              <a:t>Date</a:t>
            </a:r>
          </a:p>
        </p:txBody>
      </p:sp>
      <p:sp>
        <p:nvSpPr>
          <p:cNvPr id="16" name="Espace réservé du numéro de diapositive 10"/>
          <p:cNvSpPr>
            <a:spLocks noGrp="1"/>
          </p:cNvSpPr>
          <p:nvPr>
            <p:ph type="sldNum" sz="quarter" idx="22"/>
          </p:nvPr>
        </p:nvSpPr>
        <p:spPr/>
        <p:txBody>
          <a:bodyPr/>
          <a:lstStyle>
            <a:lvl1pPr>
              <a:defRPr sz="100">
                <a:solidFill>
                  <a:schemeClr val="bg1">
                    <a:alpha val="0"/>
                  </a:schemeClr>
                </a:solidFill>
              </a:defRPr>
            </a:lvl1pPr>
          </a:lstStyle>
          <a:p>
            <a:pPr>
              <a:defRPr/>
            </a:pPr>
            <a:r>
              <a:rPr lang="en-US">
                <a:solidFill>
                  <a:prstClr val="white">
                    <a:alpha val="0"/>
                  </a:prstClr>
                </a:solidFill>
              </a:rPr>
              <a:t>Page: </a:t>
            </a:r>
            <a:fld id="{A170035D-6B8C-439A-85EA-19B5ADE5A975}" type="slidenum">
              <a:rPr lang="en-US">
                <a:solidFill>
                  <a:prstClr val="white">
                    <a:alpha val="0"/>
                  </a:prstClr>
                </a:solidFill>
              </a:rPr>
              <a:pPr>
                <a:defRPr/>
              </a:pPr>
              <a:t>‹#›</a:t>
            </a:fld>
            <a:endParaRPr lang="en-US">
              <a:solidFill>
                <a:prstClr val="white">
                  <a:alpha val="0"/>
                </a:prstClr>
              </a:solidFill>
            </a:endParaRPr>
          </a:p>
        </p:txBody>
      </p:sp>
      <p:sp>
        <p:nvSpPr>
          <p:cNvPr id="19" name="Espace réservé du pied de page 11"/>
          <p:cNvSpPr>
            <a:spLocks noGrp="1"/>
          </p:cNvSpPr>
          <p:nvPr>
            <p:ph type="ftr" sz="quarter" idx="23"/>
          </p:nvPr>
        </p:nvSpPr>
        <p:spPr>
          <a:xfrm>
            <a:off x="468313" y="523875"/>
            <a:ext cx="4824412" cy="360363"/>
          </a:xfrm>
        </p:spPr>
        <p:txBody>
          <a:bodyPr/>
          <a:lstStyle>
            <a:lvl1pPr algn="l">
              <a:defRPr sz="1800" b="0">
                <a:solidFill>
                  <a:schemeClr val="bg1"/>
                </a:solidFill>
              </a:defRPr>
            </a:lvl1pPr>
          </a:lstStyle>
          <a:p>
            <a:pPr>
              <a:defRPr/>
            </a:pPr>
            <a:r>
              <a:rPr lang="en-US">
                <a:solidFill>
                  <a:prstClr val="white"/>
                </a:solidFill>
              </a:rPr>
              <a:t>#</a:t>
            </a:r>
            <a:r>
              <a:rPr lang="en-US" err="1">
                <a:solidFill>
                  <a:prstClr val="white"/>
                </a:solidFill>
              </a:rPr>
              <a:t>vaccineswork</a:t>
            </a:r>
            <a:endParaRPr lang="en-US">
              <a:solidFill>
                <a:prstClr val="white"/>
              </a:solidFill>
            </a:endParaRPr>
          </a:p>
        </p:txBody>
      </p:sp>
    </p:spTree>
    <p:extLst>
      <p:ext uri="{BB962C8B-B14F-4D97-AF65-F5344CB8AC3E}">
        <p14:creationId xmlns:p14="http://schemas.microsoft.com/office/powerpoint/2010/main" val="551770262"/>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Chapter_Layout">
    <p:spTree>
      <p:nvGrpSpPr>
        <p:cNvPr id="1" name=""/>
        <p:cNvGrpSpPr/>
        <p:nvPr/>
      </p:nvGrpSpPr>
      <p:grpSpPr>
        <a:xfrm>
          <a:off x="0" y="0"/>
          <a:ext cx="0" cy="0"/>
          <a:chOff x="0" y="0"/>
          <a:chExt cx="0" cy="0"/>
        </a:xfrm>
      </p:grpSpPr>
      <p:pic>
        <p:nvPicPr>
          <p:cNvPr id="6" name="Image 17" descr="FD_03_chap_110x190,5.pn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gray">
          <a:xfrm>
            <a:off x="0" y="0"/>
            <a:ext cx="3959225" cy="68580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cxnSp>
        <p:nvCxnSpPr>
          <p:cNvPr id="7" name="Connecteur droit 14"/>
          <p:cNvCxnSpPr/>
          <p:nvPr userDrawn="1"/>
        </p:nvCxnSpPr>
        <p:spPr bwMode="gray">
          <a:xfrm flipH="1">
            <a:off x="3635375" y="2389188"/>
            <a:ext cx="1584325" cy="0"/>
          </a:xfrm>
          <a:prstGeom prst="line">
            <a:avLst/>
          </a:prstGeom>
          <a:ln w="24130">
            <a:solidFill>
              <a:schemeClr val="accent1"/>
            </a:solidFill>
          </a:ln>
        </p:spPr>
        <p:style>
          <a:lnRef idx="1">
            <a:schemeClr val="accent1"/>
          </a:lnRef>
          <a:fillRef idx="0">
            <a:schemeClr val="accent1"/>
          </a:fillRef>
          <a:effectRef idx="0">
            <a:schemeClr val="accent1"/>
          </a:effectRef>
          <a:fontRef idx="minor">
            <a:schemeClr val="tx1"/>
          </a:fontRef>
        </p:style>
      </p:cxnSp>
      <p:sp>
        <p:nvSpPr>
          <p:cNvPr id="2" name="Titre 1"/>
          <p:cNvSpPr>
            <a:spLocks noGrp="1"/>
          </p:cNvSpPr>
          <p:nvPr>
            <p:ph type="title"/>
          </p:nvPr>
        </p:nvSpPr>
        <p:spPr bwMode="gray">
          <a:xfrm>
            <a:off x="3635374" y="1036638"/>
            <a:ext cx="3263901" cy="1268759"/>
          </a:xfrm>
        </p:spPr>
        <p:txBody>
          <a:bodyPr/>
          <a:lstStyle/>
          <a:p>
            <a:r>
              <a:rPr lang="en-US" noProof="0"/>
              <a:t>Click to edit Master title style</a:t>
            </a:r>
          </a:p>
        </p:txBody>
      </p:sp>
      <p:sp>
        <p:nvSpPr>
          <p:cNvPr id="10" name="Espace réservé du texte 9"/>
          <p:cNvSpPr>
            <a:spLocks noGrp="1"/>
          </p:cNvSpPr>
          <p:nvPr>
            <p:ph type="body" sz="quarter" idx="13"/>
          </p:nvPr>
        </p:nvSpPr>
        <p:spPr bwMode="gray">
          <a:xfrm>
            <a:off x="3635376" y="2574000"/>
            <a:ext cx="3263900" cy="3447388"/>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Espace réservé du texte 9"/>
          <p:cNvSpPr>
            <a:spLocks noGrp="1"/>
          </p:cNvSpPr>
          <p:nvPr>
            <p:ph type="body" sz="quarter" idx="14"/>
          </p:nvPr>
        </p:nvSpPr>
        <p:spPr bwMode="gray">
          <a:xfrm>
            <a:off x="0" y="139974"/>
            <a:ext cx="2628000" cy="5017814"/>
          </a:xfrm>
        </p:spPr>
        <p:txBody>
          <a:bodyPr/>
          <a:lstStyle>
            <a:lvl1pPr algn="r">
              <a:defRPr sz="16600" b="1">
                <a:solidFill>
                  <a:schemeClr val="bg1"/>
                </a:solidFill>
              </a:defRPr>
            </a:lvl1pPr>
          </a:lstStyle>
          <a:p>
            <a:pPr lvl="0"/>
            <a:r>
              <a:rPr lang="en-US" noProof="0"/>
              <a:t>Click to edit Master text styles</a:t>
            </a:r>
          </a:p>
        </p:txBody>
      </p:sp>
      <p:sp>
        <p:nvSpPr>
          <p:cNvPr id="19" name="Espace réservé pour une image  17"/>
          <p:cNvSpPr>
            <a:spLocks noGrp="1"/>
          </p:cNvSpPr>
          <p:nvPr>
            <p:ph type="pic" sz="quarter" idx="18"/>
          </p:nvPr>
        </p:nvSpPr>
        <p:spPr bwMode="gray">
          <a:xfrm>
            <a:off x="7254332" y="132082"/>
            <a:ext cx="1899827" cy="5812641"/>
          </a:xfrm>
          <a:custGeom>
            <a:avLst/>
            <a:gdLst>
              <a:gd name="connsiteX0" fmla="*/ 0 w 3851275"/>
              <a:gd name="connsiteY0" fmla="*/ 0 h 5157788"/>
              <a:gd name="connsiteX1" fmla="*/ 3851275 w 3851275"/>
              <a:gd name="connsiteY1" fmla="*/ 0 h 5157788"/>
              <a:gd name="connsiteX2" fmla="*/ 3851275 w 3851275"/>
              <a:gd name="connsiteY2" fmla="*/ 5157788 h 5157788"/>
              <a:gd name="connsiteX3" fmla="*/ 0 w 3851275"/>
              <a:gd name="connsiteY3" fmla="*/ 5157788 h 5157788"/>
              <a:gd name="connsiteX4" fmla="*/ 0 w 3851275"/>
              <a:gd name="connsiteY4"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0 w 3851275"/>
              <a:gd name="connsiteY3" fmla="*/ 5157788 h 5157788"/>
              <a:gd name="connsiteX4" fmla="*/ 1692275 w 3851275"/>
              <a:gd name="connsiteY4" fmla="*/ 0 h 5157788"/>
              <a:gd name="connsiteX0" fmla="*/ 0 w 2159000"/>
              <a:gd name="connsiteY0" fmla="*/ 0 h 5157788"/>
              <a:gd name="connsiteX1" fmla="*/ 2159000 w 2159000"/>
              <a:gd name="connsiteY1" fmla="*/ 0 h 5157788"/>
              <a:gd name="connsiteX2" fmla="*/ 2159000 w 2159000"/>
              <a:gd name="connsiteY2" fmla="*/ 5157788 h 5157788"/>
              <a:gd name="connsiteX3" fmla="*/ 0 w 2159000"/>
              <a:gd name="connsiteY3" fmla="*/ 5157788 h 5157788"/>
              <a:gd name="connsiteX4" fmla="*/ 0 w 2159000"/>
              <a:gd name="connsiteY4" fmla="*/ 0 h 5157788"/>
              <a:gd name="connsiteX0" fmla="*/ 2625271 w 4784271"/>
              <a:gd name="connsiteY0" fmla="*/ 0 h 5157788"/>
              <a:gd name="connsiteX1" fmla="*/ 4784271 w 4784271"/>
              <a:gd name="connsiteY1" fmla="*/ 0 h 5157788"/>
              <a:gd name="connsiteX2" fmla="*/ 4784271 w 4784271"/>
              <a:gd name="connsiteY2" fmla="*/ 5157788 h 5157788"/>
              <a:gd name="connsiteX3" fmla="*/ 2625271 w 4784271"/>
              <a:gd name="connsiteY3" fmla="*/ 5157788 h 5157788"/>
              <a:gd name="connsiteX4" fmla="*/ 2625271 w 4784271"/>
              <a:gd name="connsiteY4" fmla="*/ 0 h 5157788"/>
              <a:gd name="connsiteX0" fmla="*/ 2625271 w 4784271"/>
              <a:gd name="connsiteY0" fmla="*/ 0 h 5157788"/>
              <a:gd name="connsiteX1" fmla="*/ 4784271 w 4784271"/>
              <a:gd name="connsiteY1" fmla="*/ 0 h 5157788"/>
              <a:gd name="connsiteX2" fmla="*/ 4784271 w 4784271"/>
              <a:gd name="connsiteY2" fmla="*/ 5157788 h 5157788"/>
              <a:gd name="connsiteX3" fmla="*/ 2625271 w 4784271"/>
              <a:gd name="connsiteY3" fmla="*/ 5157788 h 5157788"/>
              <a:gd name="connsiteX4" fmla="*/ 2625271 w 4784271"/>
              <a:gd name="connsiteY4" fmla="*/ 0 h 5157788"/>
              <a:gd name="connsiteX0" fmla="*/ 3568576 w 5727576"/>
              <a:gd name="connsiteY0" fmla="*/ 0 h 5157788"/>
              <a:gd name="connsiteX1" fmla="*/ 5727576 w 5727576"/>
              <a:gd name="connsiteY1" fmla="*/ 0 h 5157788"/>
              <a:gd name="connsiteX2" fmla="*/ 5727576 w 5727576"/>
              <a:gd name="connsiteY2" fmla="*/ 5157788 h 5157788"/>
              <a:gd name="connsiteX3" fmla="*/ 3568576 w 5727576"/>
              <a:gd name="connsiteY3" fmla="*/ 5157788 h 5157788"/>
              <a:gd name="connsiteX4" fmla="*/ 3568576 w 5727576"/>
              <a:gd name="connsiteY4" fmla="*/ 0 h 5157788"/>
              <a:gd name="connsiteX0" fmla="*/ 3306355 w 5465355"/>
              <a:gd name="connsiteY0" fmla="*/ 0 h 5157788"/>
              <a:gd name="connsiteX1" fmla="*/ 5465355 w 5465355"/>
              <a:gd name="connsiteY1" fmla="*/ 0 h 5157788"/>
              <a:gd name="connsiteX2" fmla="*/ 5465355 w 5465355"/>
              <a:gd name="connsiteY2" fmla="*/ 5157788 h 5157788"/>
              <a:gd name="connsiteX3" fmla="*/ 3306355 w 5465355"/>
              <a:gd name="connsiteY3" fmla="*/ 5157788 h 5157788"/>
              <a:gd name="connsiteX4" fmla="*/ 3306355 w 5465355"/>
              <a:gd name="connsiteY4" fmla="*/ 0 h 5157788"/>
              <a:gd name="connsiteX0" fmla="*/ 1416957 w 3575957"/>
              <a:gd name="connsiteY0" fmla="*/ 0 h 5157788"/>
              <a:gd name="connsiteX1" fmla="*/ 3575957 w 3575957"/>
              <a:gd name="connsiteY1" fmla="*/ 0 h 5157788"/>
              <a:gd name="connsiteX2" fmla="*/ 3575957 w 3575957"/>
              <a:gd name="connsiteY2" fmla="*/ 5157788 h 5157788"/>
              <a:gd name="connsiteX3" fmla="*/ 1416957 w 3575957"/>
              <a:gd name="connsiteY3" fmla="*/ 5157788 h 5157788"/>
              <a:gd name="connsiteX4" fmla="*/ 0 w 3575957"/>
              <a:gd name="connsiteY4" fmla="*/ 3339193 h 5157788"/>
              <a:gd name="connsiteX5" fmla="*/ 1416957 w 3575957"/>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6017419"/>
              <a:gd name="connsiteX1" fmla="*/ 3851275 w 3851275"/>
              <a:gd name="connsiteY1" fmla="*/ 0 h 6017419"/>
              <a:gd name="connsiteX2" fmla="*/ 3851275 w 3851275"/>
              <a:gd name="connsiteY2" fmla="*/ 5157788 h 6017419"/>
              <a:gd name="connsiteX3" fmla="*/ 1692275 w 3851275"/>
              <a:gd name="connsiteY3" fmla="*/ 5157788 h 6017419"/>
              <a:gd name="connsiteX4" fmla="*/ 0 w 3851275"/>
              <a:gd name="connsiteY4" fmla="*/ 3284984 h 6017419"/>
              <a:gd name="connsiteX5" fmla="*/ 1692275 w 3851275"/>
              <a:gd name="connsiteY5" fmla="*/ 0 h 6017419"/>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429000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429000 h 5157788"/>
              <a:gd name="connsiteX5" fmla="*/ 1710871 w 3869871"/>
              <a:gd name="connsiteY5" fmla="*/ 0 h 5157788"/>
              <a:gd name="connsiteX0" fmla="*/ 1704975 w 3863975"/>
              <a:gd name="connsiteY0" fmla="*/ 0 h 5157788"/>
              <a:gd name="connsiteX1" fmla="*/ 3863975 w 3863975"/>
              <a:gd name="connsiteY1" fmla="*/ 0 h 5157788"/>
              <a:gd name="connsiteX2" fmla="*/ 3863975 w 3863975"/>
              <a:gd name="connsiteY2" fmla="*/ 5157788 h 5157788"/>
              <a:gd name="connsiteX3" fmla="*/ 1704975 w 3863975"/>
              <a:gd name="connsiteY3" fmla="*/ 5157788 h 5157788"/>
              <a:gd name="connsiteX4" fmla="*/ 12700 w 3863975"/>
              <a:gd name="connsiteY4" fmla="*/ 3429000 h 5157788"/>
              <a:gd name="connsiteX5" fmla="*/ 1704975 w 3863975"/>
              <a:gd name="connsiteY5" fmla="*/ 0 h 5157788"/>
              <a:gd name="connsiteX0" fmla="*/ 1707243 w 3866243"/>
              <a:gd name="connsiteY0" fmla="*/ 0 h 5157788"/>
              <a:gd name="connsiteX1" fmla="*/ 3866243 w 3866243"/>
              <a:gd name="connsiteY1" fmla="*/ 0 h 5157788"/>
              <a:gd name="connsiteX2" fmla="*/ 3866243 w 3866243"/>
              <a:gd name="connsiteY2" fmla="*/ 5157788 h 5157788"/>
              <a:gd name="connsiteX3" fmla="*/ 1707243 w 3866243"/>
              <a:gd name="connsiteY3" fmla="*/ 5157788 h 5157788"/>
              <a:gd name="connsiteX4" fmla="*/ 14968 w 3866243"/>
              <a:gd name="connsiteY4" fmla="*/ 3429000 h 5157788"/>
              <a:gd name="connsiteX5" fmla="*/ 1707243 w 3866243"/>
              <a:gd name="connsiteY5" fmla="*/ 0 h 5157788"/>
              <a:gd name="connsiteX0" fmla="*/ 1130447 w 3866243"/>
              <a:gd name="connsiteY0" fmla="*/ 0 h 5157788"/>
              <a:gd name="connsiteX1" fmla="*/ 3866243 w 3866243"/>
              <a:gd name="connsiteY1" fmla="*/ 0 h 5157788"/>
              <a:gd name="connsiteX2" fmla="*/ 3866243 w 3866243"/>
              <a:gd name="connsiteY2" fmla="*/ 5157788 h 5157788"/>
              <a:gd name="connsiteX3" fmla="*/ 1707243 w 3866243"/>
              <a:gd name="connsiteY3" fmla="*/ 5157788 h 5157788"/>
              <a:gd name="connsiteX4" fmla="*/ 14968 w 3866243"/>
              <a:gd name="connsiteY4" fmla="*/ 3429000 h 5157788"/>
              <a:gd name="connsiteX5" fmla="*/ 1130447 w 3866243"/>
              <a:gd name="connsiteY5" fmla="*/ 0 h 5157788"/>
              <a:gd name="connsiteX0" fmla="*/ 2746143 w 5481939"/>
              <a:gd name="connsiteY0" fmla="*/ 0 h 5157788"/>
              <a:gd name="connsiteX1" fmla="*/ 5481939 w 5481939"/>
              <a:gd name="connsiteY1" fmla="*/ 0 h 5157788"/>
              <a:gd name="connsiteX2" fmla="*/ 5481939 w 5481939"/>
              <a:gd name="connsiteY2" fmla="*/ 5157788 h 5157788"/>
              <a:gd name="connsiteX3" fmla="*/ 585903 w 5481939"/>
              <a:gd name="connsiteY3" fmla="*/ 5153180 h 5157788"/>
              <a:gd name="connsiteX4" fmla="*/ 1630664 w 5481939"/>
              <a:gd name="connsiteY4" fmla="*/ 3429000 h 5157788"/>
              <a:gd name="connsiteX5" fmla="*/ 2746143 w 5481939"/>
              <a:gd name="connsiteY5" fmla="*/ 0 h 5157788"/>
              <a:gd name="connsiteX0" fmla="*/ 2746143 w 5481939"/>
              <a:gd name="connsiteY0" fmla="*/ 0 h 5157788"/>
              <a:gd name="connsiteX1" fmla="*/ 5481939 w 5481939"/>
              <a:gd name="connsiteY1" fmla="*/ 0 h 5157788"/>
              <a:gd name="connsiteX2" fmla="*/ 5481939 w 5481939"/>
              <a:gd name="connsiteY2" fmla="*/ 5157788 h 5157788"/>
              <a:gd name="connsiteX3" fmla="*/ 585903 w 5481939"/>
              <a:gd name="connsiteY3" fmla="*/ 5153180 h 5157788"/>
              <a:gd name="connsiteX4" fmla="*/ 1630664 w 5481939"/>
              <a:gd name="connsiteY4" fmla="*/ 3429000 h 5157788"/>
              <a:gd name="connsiteX5" fmla="*/ 2746143 w 548193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3574235 w 6310031"/>
              <a:gd name="connsiteY0" fmla="*/ 0 h 5157788"/>
              <a:gd name="connsiteX1" fmla="*/ 6310031 w 6310031"/>
              <a:gd name="connsiteY1" fmla="*/ 0 h 5157788"/>
              <a:gd name="connsiteX2" fmla="*/ 6310031 w 6310031"/>
              <a:gd name="connsiteY2" fmla="*/ 5157788 h 5157788"/>
              <a:gd name="connsiteX3" fmla="*/ 585903 w 6310031"/>
              <a:gd name="connsiteY3" fmla="*/ 5153180 h 5157788"/>
              <a:gd name="connsiteX4" fmla="*/ 1738031 w 6310031"/>
              <a:gd name="connsiteY4" fmla="*/ 3389965 h 5157788"/>
              <a:gd name="connsiteX5" fmla="*/ 3574235 w 6310031"/>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296143 w 5724128"/>
              <a:gd name="connsiteY4" fmla="*/ 3461908 h 5157788"/>
              <a:gd name="connsiteX5" fmla="*/ 2988332 w 5724128"/>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1188132 w 5760132"/>
              <a:gd name="connsiteY4" fmla="*/ 3425937 h 5157788"/>
              <a:gd name="connsiteX5" fmla="*/ 3024336 w 5760132"/>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2736304 w 5760132"/>
              <a:gd name="connsiteY4" fmla="*/ 3461908 h 5157788"/>
              <a:gd name="connsiteX5" fmla="*/ 3024336 w 5760132"/>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2736304 w 5760132"/>
              <a:gd name="connsiteY4" fmla="*/ 3461908 h 5157788"/>
              <a:gd name="connsiteX5" fmla="*/ 3024336 w 5760132"/>
              <a:gd name="connsiteY5" fmla="*/ 0 h 5157788"/>
              <a:gd name="connsiteX0" fmla="*/ 2160240 w 4896036"/>
              <a:gd name="connsiteY0" fmla="*/ 0 h 5157788"/>
              <a:gd name="connsiteX1" fmla="*/ 4896036 w 4896036"/>
              <a:gd name="connsiteY1" fmla="*/ 0 h 5157788"/>
              <a:gd name="connsiteX2" fmla="*/ 4896036 w 4896036"/>
              <a:gd name="connsiteY2" fmla="*/ 5157788 h 5157788"/>
              <a:gd name="connsiteX3" fmla="*/ 0 w 4896036"/>
              <a:gd name="connsiteY3" fmla="*/ 5153180 h 5157788"/>
              <a:gd name="connsiteX4" fmla="*/ 1872208 w 4896036"/>
              <a:gd name="connsiteY4" fmla="*/ 3461908 h 5157788"/>
              <a:gd name="connsiteX5" fmla="*/ 2160240 w 4896036"/>
              <a:gd name="connsiteY5" fmla="*/ 0 h 5157788"/>
              <a:gd name="connsiteX0" fmla="*/ 2232248 w 4968044"/>
              <a:gd name="connsiteY0" fmla="*/ 0 h 5157788"/>
              <a:gd name="connsiteX1" fmla="*/ 4968044 w 4968044"/>
              <a:gd name="connsiteY1" fmla="*/ 0 h 5157788"/>
              <a:gd name="connsiteX2" fmla="*/ 4968044 w 4968044"/>
              <a:gd name="connsiteY2" fmla="*/ 5157788 h 5157788"/>
              <a:gd name="connsiteX3" fmla="*/ 0 w 4968044"/>
              <a:gd name="connsiteY3" fmla="*/ 5153180 h 5157788"/>
              <a:gd name="connsiteX4" fmla="*/ 1944216 w 4968044"/>
              <a:gd name="connsiteY4" fmla="*/ 3461908 h 5157788"/>
              <a:gd name="connsiteX5" fmla="*/ 2232248 w 4968044"/>
              <a:gd name="connsiteY5" fmla="*/ 0 h 5157788"/>
              <a:gd name="connsiteX0" fmla="*/ 2207679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207679 w 4943475"/>
              <a:gd name="connsiteY5" fmla="*/ 0 h 5157788"/>
              <a:gd name="connsiteX0" fmla="*/ 2963763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963763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092200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71575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343583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675731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675731 w 4943475"/>
              <a:gd name="connsiteY5" fmla="*/ 0 h 5157788"/>
              <a:gd name="connsiteX0" fmla="*/ 2675731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675731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9672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19672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1668519 w 3913244"/>
              <a:gd name="connsiteY0" fmla="*/ 0 h 5183692"/>
              <a:gd name="connsiteX1" fmla="*/ 3913244 w 3913244"/>
              <a:gd name="connsiteY1" fmla="*/ 0 h 5183692"/>
              <a:gd name="connsiteX2" fmla="*/ 3913244 w 3913244"/>
              <a:gd name="connsiteY2" fmla="*/ 5157788 h 5183692"/>
              <a:gd name="connsiteX3" fmla="*/ 2456872 w 3913244"/>
              <a:gd name="connsiteY3" fmla="*/ 5183633 h 5183692"/>
              <a:gd name="connsiteX4" fmla="*/ 205340 w 3913244"/>
              <a:gd name="connsiteY4" fmla="*/ 2562613 h 5183692"/>
              <a:gd name="connsiteX5" fmla="*/ 1668519 w 3913244"/>
              <a:gd name="connsiteY5" fmla="*/ 0 h 5183692"/>
              <a:gd name="connsiteX0" fmla="*/ 1668519 w 3923404"/>
              <a:gd name="connsiteY0" fmla="*/ 0 h 5939409"/>
              <a:gd name="connsiteX1" fmla="*/ 3913244 w 3923404"/>
              <a:gd name="connsiteY1" fmla="*/ 0 h 5939409"/>
              <a:gd name="connsiteX2" fmla="*/ 3923404 w 3923404"/>
              <a:gd name="connsiteY2" fmla="*/ 5939409 h 5939409"/>
              <a:gd name="connsiteX3" fmla="*/ 2456872 w 3923404"/>
              <a:gd name="connsiteY3" fmla="*/ 5183633 h 5939409"/>
              <a:gd name="connsiteX4" fmla="*/ 205340 w 3923404"/>
              <a:gd name="connsiteY4" fmla="*/ 2562613 h 5939409"/>
              <a:gd name="connsiteX5" fmla="*/ 1668519 w 3923404"/>
              <a:gd name="connsiteY5" fmla="*/ 0 h 5939409"/>
              <a:gd name="connsiteX0" fmla="*/ 1668519 w 3923404"/>
              <a:gd name="connsiteY0" fmla="*/ 0 h 5939409"/>
              <a:gd name="connsiteX1" fmla="*/ 3913244 w 3923404"/>
              <a:gd name="connsiteY1" fmla="*/ 0 h 5939409"/>
              <a:gd name="connsiteX2" fmla="*/ 3923404 w 3923404"/>
              <a:gd name="connsiteY2" fmla="*/ 5939409 h 5939409"/>
              <a:gd name="connsiteX3" fmla="*/ 2456872 w 3923404"/>
              <a:gd name="connsiteY3" fmla="*/ 5183633 h 5939409"/>
              <a:gd name="connsiteX4" fmla="*/ 205340 w 3923404"/>
              <a:gd name="connsiteY4" fmla="*/ 2562613 h 5939409"/>
              <a:gd name="connsiteX5" fmla="*/ 1668519 w 3923404"/>
              <a:gd name="connsiteY5" fmla="*/ 0 h 5939409"/>
              <a:gd name="connsiteX0" fmla="*/ 1696047 w 3950932"/>
              <a:gd name="connsiteY0" fmla="*/ 0 h 5939409"/>
              <a:gd name="connsiteX1" fmla="*/ 3940772 w 3950932"/>
              <a:gd name="connsiteY1" fmla="*/ 0 h 5939409"/>
              <a:gd name="connsiteX2" fmla="*/ 3950932 w 3950932"/>
              <a:gd name="connsiteY2" fmla="*/ 5939409 h 5939409"/>
              <a:gd name="connsiteX3" fmla="*/ 2484400 w 3950932"/>
              <a:gd name="connsiteY3" fmla="*/ 5183633 h 5939409"/>
              <a:gd name="connsiteX4" fmla="*/ 232868 w 3950932"/>
              <a:gd name="connsiteY4" fmla="*/ 2562613 h 5939409"/>
              <a:gd name="connsiteX5" fmla="*/ 1696047 w 3950932"/>
              <a:gd name="connsiteY5" fmla="*/ 0 h 5939409"/>
              <a:gd name="connsiteX0" fmla="*/ 1463179 w 3718064"/>
              <a:gd name="connsiteY0" fmla="*/ 0 h 5983194"/>
              <a:gd name="connsiteX1" fmla="*/ 3707904 w 3718064"/>
              <a:gd name="connsiteY1" fmla="*/ 0 h 5983194"/>
              <a:gd name="connsiteX2" fmla="*/ 3718064 w 3718064"/>
              <a:gd name="connsiteY2" fmla="*/ 5939409 h 5983194"/>
              <a:gd name="connsiteX3" fmla="*/ 0 w 3718064"/>
              <a:gd name="connsiteY3" fmla="*/ 2562613 h 5983194"/>
              <a:gd name="connsiteX4" fmla="*/ 1463179 w 3718064"/>
              <a:gd name="connsiteY4" fmla="*/ 0 h 5983194"/>
              <a:gd name="connsiteX0" fmla="*/ 1464005 w 3718890"/>
              <a:gd name="connsiteY0" fmla="*/ 0 h 5987401"/>
              <a:gd name="connsiteX1" fmla="*/ 3708730 w 3718890"/>
              <a:gd name="connsiteY1" fmla="*/ 0 h 5987401"/>
              <a:gd name="connsiteX2" fmla="*/ 3718890 w 3718890"/>
              <a:gd name="connsiteY2" fmla="*/ 5939409 h 5987401"/>
              <a:gd name="connsiteX3" fmla="*/ 826 w 3718890"/>
              <a:gd name="connsiteY3" fmla="*/ 2562613 h 5987401"/>
              <a:gd name="connsiteX4" fmla="*/ 1464005 w 3718890"/>
              <a:gd name="connsiteY4" fmla="*/ 0 h 5987401"/>
              <a:gd name="connsiteX0" fmla="*/ 1267 w 2256152"/>
              <a:gd name="connsiteY0" fmla="*/ 0 h 6002954"/>
              <a:gd name="connsiteX1" fmla="*/ 2245992 w 2256152"/>
              <a:gd name="connsiteY1" fmla="*/ 0 h 6002954"/>
              <a:gd name="connsiteX2" fmla="*/ 2256152 w 2256152"/>
              <a:gd name="connsiteY2" fmla="*/ 5939409 h 6002954"/>
              <a:gd name="connsiteX3" fmla="*/ 956168 w 2256152"/>
              <a:gd name="connsiteY3" fmla="*/ 3273178 h 6002954"/>
              <a:gd name="connsiteX4" fmla="*/ 1267 w 2256152"/>
              <a:gd name="connsiteY4" fmla="*/ 0 h 6002954"/>
              <a:gd name="connsiteX0" fmla="*/ 2 w 1299986"/>
              <a:gd name="connsiteY0" fmla="*/ 3321709 h 6044422"/>
              <a:gd name="connsiteX1" fmla="*/ 1289826 w 1299986"/>
              <a:gd name="connsiteY1" fmla="*/ 48531 h 6044422"/>
              <a:gd name="connsiteX2" fmla="*/ 1299986 w 1299986"/>
              <a:gd name="connsiteY2" fmla="*/ 5987940 h 6044422"/>
              <a:gd name="connsiteX3" fmla="*/ 2 w 1299986"/>
              <a:gd name="connsiteY3" fmla="*/ 3321709 h 6044422"/>
              <a:gd name="connsiteX0" fmla="*/ 2 w 1299986"/>
              <a:gd name="connsiteY0" fmla="*/ 3273178 h 5995891"/>
              <a:gd name="connsiteX1" fmla="*/ 1289826 w 1299986"/>
              <a:gd name="connsiteY1" fmla="*/ 0 h 5995891"/>
              <a:gd name="connsiteX2" fmla="*/ 1299986 w 1299986"/>
              <a:gd name="connsiteY2" fmla="*/ 5939409 h 5995891"/>
              <a:gd name="connsiteX3" fmla="*/ 2 w 1299986"/>
              <a:gd name="connsiteY3" fmla="*/ 3273178 h 5995891"/>
              <a:gd name="connsiteX0" fmla="*/ 2 w 1299986"/>
              <a:gd name="connsiteY0" fmla="*/ 3273178 h 5995891"/>
              <a:gd name="connsiteX1" fmla="*/ 1289826 w 1299986"/>
              <a:gd name="connsiteY1" fmla="*/ 0 h 5995891"/>
              <a:gd name="connsiteX2" fmla="*/ 1299986 w 1299986"/>
              <a:gd name="connsiteY2" fmla="*/ 5939409 h 5995891"/>
              <a:gd name="connsiteX3" fmla="*/ 2 w 1299986"/>
              <a:gd name="connsiteY3" fmla="*/ 3273178 h 5995891"/>
              <a:gd name="connsiteX0" fmla="*/ 2 w 1299986"/>
              <a:gd name="connsiteY0" fmla="*/ 3273178 h 5995891"/>
              <a:gd name="connsiteX1" fmla="*/ 1289826 w 1299986"/>
              <a:gd name="connsiteY1" fmla="*/ 0 h 5995891"/>
              <a:gd name="connsiteX2" fmla="*/ 1299986 w 1299986"/>
              <a:gd name="connsiteY2" fmla="*/ 5939409 h 5995891"/>
              <a:gd name="connsiteX3" fmla="*/ 2 w 1299986"/>
              <a:gd name="connsiteY3" fmla="*/ 3273178 h 5995891"/>
              <a:gd name="connsiteX0" fmla="*/ 2 w 1299986"/>
              <a:gd name="connsiteY0" fmla="*/ 2725028 h 5445777"/>
              <a:gd name="connsiteX1" fmla="*/ 1289826 w 1299986"/>
              <a:gd name="connsiteY1" fmla="*/ 0 h 5445777"/>
              <a:gd name="connsiteX2" fmla="*/ 1299986 w 1299986"/>
              <a:gd name="connsiteY2" fmla="*/ 5391259 h 5445777"/>
              <a:gd name="connsiteX3" fmla="*/ 2 w 1299986"/>
              <a:gd name="connsiteY3" fmla="*/ 2725028 h 5445777"/>
              <a:gd name="connsiteX0" fmla="*/ 2 w 1299986"/>
              <a:gd name="connsiteY0" fmla="*/ 3141216 h 5863443"/>
              <a:gd name="connsiteX1" fmla="*/ 1289826 w 1299986"/>
              <a:gd name="connsiteY1" fmla="*/ 0 h 5863443"/>
              <a:gd name="connsiteX2" fmla="*/ 1299986 w 1299986"/>
              <a:gd name="connsiteY2" fmla="*/ 5807447 h 5863443"/>
              <a:gd name="connsiteX3" fmla="*/ 2 w 1299986"/>
              <a:gd name="connsiteY3" fmla="*/ 3141216 h 5863443"/>
              <a:gd name="connsiteX0" fmla="*/ 2 w 1299986"/>
              <a:gd name="connsiteY0" fmla="*/ 3141216 h 5863444"/>
              <a:gd name="connsiteX1" fmla="*/ 1289826 w 1299986"/>
              <a:gd name="connsiteY1" fmla="*/ 0 h 5863444"/>
              <a:gd name="connsiteX2" fmla="*/ 1299986 w 1299986"/>
              <a:gd name="connsiteY2" fmla="*/ 5807447 h 5863444"/>
              <a:gd name="connsiteX3" fmla="*/ 2 w 1299986"/>
              <a:gd name="connsiteY3" fmla="*/ 3141216 h 5863444"/>
              <a:gd name="connsiteX0" fmla="*/ 1 w 1889265"/>
              <a:gd name="connsiteY0" fmla="*/ 3851780 h 5885741"/>
              <a:gd name="connsiteX1" fmla="*/ 1879105 w 1889265"/>
              <a:gd name="connsiteY1" fmla="*/ 0 h 5885741"/>
              <a:gd name="connsiteX2" fmla="*/ 1889265 w 1889265"/>
              <a:gd name="connsiteY2" fmla="*/ 5807447 h 5885741"/>
              <a:gd name="connsiteX3" fmla="*/ 1 w 1889265"/>
              <a:gd name="connsiteY3" fmla="*/ 3851780 h 5885741"/>
              <a:gd name="connsiteX0" fmla="*/ 694 w 1889958"/>
              <a:gd name="connsiteY0" fmla="*/ 3851780 h 5898819"/>
              <a:gd name="connsiteX1" fmla="*/ 1879798 w 1889958"/>
              <a:gd name="connsiteY1" fmla="*/ 0 h 5898819"/>
              <a:gd name="connsiteX2" fmla="*/ 1889958 w 1889958"/>
              <a:gd name="connsiteY2" fmla="*/ 5807447 h 5898819"/>
              <a:gd name="connsiteX3" fmla="*/ 694 w 1889958"/>
              <a:gd name="connsiteY3" fmla="*/ 3851780 h 5898819"/>
              <a:gd name="connsiteX0" fmla="*/ 694 w 1889958"/>
              <a:gd name="connsiteY0" fmla="*/ 3740120 h 5892762"/>
              <a:gd name="connsiteX1" fmla="*/ 1879798 w 1889958"/>
              <a:gd name="connsiteY1" fmla="*/ 0 h 5892762"/>
              <a:gd name="connsiteX2" fmla="*/ 1889958 w 1889958"/>
              <a:gd name="connsiteY2" fmla="*/ 5807447 h 5892762"/>
              <a:gd name="connsiteX3" fmla="*/ 694 w 1889958"/>
              <a:gd name="connsiteY3" fmla="*/ 3740120 h 5892762"/>
              <a:gd name="connsiteX0" fmla="*/ 690 w 1900114"/>
              <a:gd name="connsiteY0" fmla="*/ 3811177 h 5896524"/>
              <a:gd name="connsiteX1" fmla="*/ 1889954 w 1900114"/>
              <a:gd name="connsiteY1" fmla="*/ 0 h 5896524"/>
              <a:gd name="connsiteX2" fmla="*/ 1900114 w 1900114"/>
              <a:gd name="connsiteY2" fmla="*/ 5807447 h 5896524"/>
              <a:gd name="connsiteX3" fmla="*/ 690 w 1900114"/>
              <a:gd name="connsiteY3" fmla="*/ 3811177 h 5896524"/>
              <a:gd name="connsiteX0" fmla="*/ 690 w 1900114"/>
              <a:gd name="connsiteY0" fmla="*/ 3811177 h 5807447"/>
              <a:gd name="connsiteX1" fmla="*/ 1889954 w 1900114"/>
              <a:gd name="connsiteY1" fmla="*/ 0 h 5807447"/>
              <a:gd name="connsiteX2" fmla="*/ 1900114 w 1900114"/>
              <a:gd name="connsiteY2" fmla="*/ 5807447 h 5807447"/>
              <a:gd name="connsiteX3" fmla="*/ 690 w 1900114"/>
              <a:gd name="connsiteY3" fmla="*/ 3811177 h 5807447"/>
              <a:gd name="connsiteX0" fmla="*/ 690 w 1900114"/>
              <a:gd name="connsiteY0" fmla="*/ 3811177 h 5807447"/>
              <a:gd name="connsiteX1" fmla="*/ 1889954 w 1900114"/>
              <a:gd name="connsiteY1" fmla="*/ 0 h 5807447"/>
              <a:gd name="connsiteX2" fmla="*/ 1900114 w 1900114"/>
              <a:gd name="connsiteY2" fmla="*/ 5807447 h 5807447"/>
              <a:gd name="connsiteX3" fmla="*/ 690 w 1900114"/>
              <a:gd name="connsiteY3" fmla="*/ 3811177 h 5807447"/>
              <a:gd name="connsiteX0" fmla="*/ 403 w 1899827"/>
              <a:gd name="connsiteY0" fmla="*/ 3811177 h 5807447"/>
              <a:gd name="connsiteX1" fmla="*/ 1889667 w 1899827"/>
              <a:gd name="connsiteY1" fmla="*/ 0 h 5807447"/>
              <a:gd name="connsiteX2" fmla="*/ 1899827 w 1899827"/>
              <a:gd name="connsiteY2" fmla="*/ 5807447 h 5807447"/>
              <a:gd name="connsiteX3" fmla="*/ 403 w 1899827"/>
              <a:gd name="connsiteY3" fmla="*/ 3811177 h 5807447"/>
            </a:gdLst>
            <a:ahLst/>
            <a:cxnLst>
              <a:cxn ang="0">
                <a:pos x="connsiteX0" y="connsiteY0"/>
              </a:cxn>
              <a:cxn ang="0">
                <a:pos x="connsiteX1" y="connsiteY1"/>
              </a:cxn>
              <a:cxn ang="0">
                <a:pos x="connsiteX2" y="connsiteY2"/>
              </a:cxn>
              <a:cxn ang="0">
                <a:pos x="connsiteX3" y="connsiteY3"/>
              </a:cxn>
            </a:cxnLst>
            <a:rect l="l" t="t" r="r" b="b"/>
            <a:pathLst>
              <a:path w="1899827" h="5807447">
                <a:moveTo>
                  <a:pt x="403" y="3811177"/>
                </a:moveTo>
                <a:cubicBezTo>
                  <a:pt x="-31770" y="2467685"/>
                  <a:pt x="1876203" y="854946"/>
                  <a:pt x="1889667" y="0"/>
                </a:cubicBezTo>
                <a:cubicBezTo>
                  <a:pt x="1893054" y="1979803"/>
                  <a:pt x="1896440" y="3827644"/>
                  <a:pt x="1899827" y="5807447"/>
                </a:cubicBezTo>
                <a:cubicBezTo>
                  <a:pt x="1007523" y="5706703"/>
                  <a:pt x="32576" y="5154669"/>
                  <a:pt x="403" y="3811177"/>
                </a:cubicBezTo>
                <a:close/>
              </a:path>
            </a:pathLst>
          </a:custGeom>
          <a:solidFill>
            <a:schemeClr val="bg2"/>
          </a:solidFill>
          <a:ln w="3175">
            <a:noFill/>
          </a:ln>
        </p:spPr>
        <p:txBody>
          <a:bodyPr tIns="720000" rtlCol="0" anchor="ctr">
            <a:noAutofit/>
          </a:bodyPr>
          <a:lstStyle>
            <a:lvl1pPr algn="ctr">
              <a:defRPr sz="1500">
                <a:solidFill>
                  <a:schemeClr val="bg1"/>
                </a:solidFill>
              </a:defRPr>
            </a:lvl1pPr>
          </a:lstStyle>
          <a:p>
            <a:pPr lvl="0"/>
            <a:r>
              <a:rPr lang="en-US" noProof="0"/>
              <a:t>Click icon to add picture</a:t>
            </a:r>
          </a:p>
        </p:txBody>
      </p:sp>
      <p:sp>
        <p:nvSpPr>
          <p:cNvPr id="8" name="Espace réservé de la date 10"/>
          <p:cNvSpPr>
            <a:spLocks noGrp="1"/>
          </p:cNvSpPr>
          <p:nvPr>
            <p:ph type="dt" sz="half" idx="19"/>
          </p:nvPr>
        </p:nvSpPr>
        <p:spPr/>
        <p:txBody>
          <a:bodyPr/>
          <a:lstStyle>
            <a:lvl1pPr>
              <a:defRPr/>
            </a:lvl1pPr>
          </a:lstStyle>
          <a:p>
            <a:pPr>
              <a:defRPr/>
            </a:pPr>
            <a:r>
              <a:rPr lang="en-US">
                <a:solidFill>
                  <a:prstClr val="white">
                    <a:alpha val="0"/>
                  </a:prstClr>
                </a:solidFill>
              </a:rPr>
              <a:t>Date</a:t>
            </a:r>
          </a:p>
        </p:txBody>
      </p:sp>
      <p:sp>
        <p:nvSpPr>
          <p:cNvPr id="9" name="Espace réservé du numéro de diapositive 11"/>
          <p:cNvSpPr>
            <a:spLocks noGrp="1"/>
          </p:cNvSpPr>
          <p:nvPr>
            <p:ph type="sldNum" sz="quarter" idx="20"/>
          </p:nvPr>
        </p:nvSpPr>
        <p:spPr/>
        <p:txBody>
          <a:bodyPr/>
          <a:lstStyle>
            <a:lvl1pPr>
              <a:defRPr/>
            </a:lvl1pPr>
          </a:lstStyle>
          <a:p>
            <a:pPr>
              <a:defRPr/>
            </a:pPr>
            <a:fld id="{669CD8F2-86ED-43C7-A24E-82A206DEE6AE}" type="slidenum">
              <a:rPr lang="en-US">
                <a:solidFill>
                  <a:srgbClr val="343434"/>
                </a:solidFill>
              </a:rPr>
              <a:pPr>
                <a:defRPr/>
              </a:pPr>
              <a:t>‹#›</a:t>
            </a:fld>
            <a:endParaRPr lang="en-US">
              <a:solidFill>
                <a:srgbClr val="343434"/>
              </a:solidFill>
            </a:endParaRPr>
          </a:p>
        </p:txBody>
      </p:sp>
      <p:sp>
        <p:nvSpPr>
          <p:cNvPr id="11" name="Espace réservé du pied de page 12"/>
          <p:cNvSpPr>
            <a:spLocks noGrp="1"/>
          </p:cNvSpPr>
          <p:nvPr>
            <p:ph type="ftr" sz="quarter" idx="21"/>
          </p:nvPr>
        </p:nvSpPr>
        <p:spPr/>
        <p:txBody>
          <a:bodyPr/>
          <a:lstStyle>
            <a:lvl1pPr>
              <a:defRPr/>
            </a:lvl1pPr>
          </a:lstStyle>
          <a:p>
            <a:pPr>
              <a:defRPr/>
            </a:pPr>
            <a:r>
              <a:rPr lang="en-US">
                <a:solidFill>
                  <a:srgbClr val="005CB9"/>
                </a:solidFill>
              </a:rPr>
              <a:t>#</a:t>
            </a:r>
            <a:r>
              <a:rPr lang="en-US" err="1">
                <a:solidFill>
                  <a:srgbClr val="005CB9"/>
                </a:solidFill>
              </a:rPr>
              <a:t>vaccineswork</a:t>
            </a:r>
            <a:endParaRPr lang="en-US">
              <a:solidFill>
                <a:srgbClr val="005CB9"/>
              </a:solidFill>
            </a:endParaRPr>
          </a:p>
        </p:txBody>
      </p:sp>
    </p:spTree>
    <p:extLst>
      <p:ext uri="{BB962C8B-B14F-4D97-AF65-F5344CB8AC3E}">
        <p14:creationId xmlns:p14="http://schemas.microsoft.com/office/powerpoint/2010/main" val="870229573"/>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type="obj">
  <p:cSld name="Content_Layout">
    <p:spTree>
      <p:nvGrpSpPr>
        <p:cNvPr id="1" name=""/>
        <p:cNvGrpSpPr/>
        <p:nvPr/>
      </p:nvGrpSpPr>
      <p:grpSpPr>
        <a:xfrm>
          <a:off x="0" y="0"/>
          <a:ext cx="0" cy="0"/>
          <a:chOff x="0" y="0"/>
          <a:chExt cx="0" cy="0"/>
        </a:xfrm>
      </p:grpSpPr>
      <p:sp>
        <p:nvSpPr>
          <p:cNvPr id="2" name="Titre 1"/>
          <p:cNvSpPr>
            <a:spLocks noGrp="1"/>
          </p:cNvSpPr>
          <p:nvPr>
            <p:ph type="title"/>
          </p:nvPr>
        </p:nvSpPr>
        <p:spPr bwMode="gray"/>
        <p:txBody>
          <a:bodyPr/>
          <a:lstStyle/>
          <a:p>
            <a:r>
              <a:rPr lang="en-US" noProof="0"/>
              <a:t>Click to edit Master title style</a:t>
            </a:r>
          </a:p>
        </p:txBody>
      </p:sp>
      <p:sp>
        <p:nvSpPr>
          <p:cNvPr id="3" name="Espace réservé du contenu 2"/>
          <p:cNvSpPr>
            <a:spLocks noGrp="1"/>
          </p:cNvSpPr>
          <p:nvPr>
            <p:ph idx="1"/>
          </p:nvPr>
        </p:nvSpPr>
        <p:spPr bwMode="gray"/>
        <p:txBody>
          <a:bodyPr/>
          <a:lstStyle>
            <a:lvl2pPr>
              <a:defRPr/>
            </a:lvl2pPr>
            <a:lvl3pPr>
              <a:defRPr/>
            </a:lvl3pPr>
            <a:lvl4pPr>
              <a:defRPr baseline="0"/>
            </a:lvl4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Espace réservé de la date 3"/>
          <p:cNvSpPr>
            <a:spLocks noGrp="1"/>
          </p:cNvSpPr>
          <p:nvPr>
            <p:ph type="dt" sz="half" idx="10"/>
          </p:nvPr>
        </p:nvSpPr>
        <p:spPr/>
        <p:txBody>
          <a:bodyPr/>
          <a:lstStyle>
            <a:lvl1pPr>
              <a:defRPr/>
            </a:lvl1pPr>
          </a:lstStyle>
          <a:p>
            <a:pPr>
              <a:defRPr/>
            </a:pPr>
            <a:r>
              <a:rPr lang="en-US">
                <a:solidFill>
                  <a:prstClr val="white">
                    <a:alpha val="0"/>
                  </a:prstClr>
                </a:solidFill>
              </a:rPr>
              <a:t>Date</a:t>
            </a:r>
          </a:p>
        </p:txBody>
      </p:sp>
      <p:sp>
        <p:nvSpPr>
          <p:cNvPr id="5" name="Espace réservé du pied de page 4"/>
          <p:cNvSpPr>
            <a:spLocks noGrp="1"/>
          </p:cNvSpPr>
          <p:nvPr>
            <p:ph type="ftr" sz="quarter" idx="11"/>
          </p:nvPr>
        </p:nvSpPr>
        <p:spPr/>
        <p:txBody>
          <a:bodyPr/>
          <a:lstStyle>
            <a:lvl1pPr>
              <a:defRPr/>
            </a:lvl1pPr>
          </a:lstStyle>
          <a:p>
            <a:pPr>
              <a:defRPr/>
            </a:pPr>
            <a:r>
              <a:rPr lang="en-US">
                <a:solidFill>
                  <a:srgbClr val="005CB9"/>
                </a:solidFill>
              </a:rPr>
              <a:t>#</a:t>
            </a:r>
            <a:r>
              <a:rPr lang="en-US" err="1">
                <a:solidFill>
                  <a:srgbClr val="005CB9"/>
                </a:solidFill>
              </a:rPr>
              <a:t>vaccineswork</a:t>
            </a:r>
            <a:endParaRPr lang="en-US">
              <a:solidFill>
                <a:srgbClr val="005CB9"/>
              </a:solidFill>
            </a:endParaRPr>
          </a:p>
        </p:txBody>
      </p:sp>
      <p:sp>
        <p:nvSpPr>
          <p:cNvPr id="6" name="Espace réservé du numéro de diapositive 5"/>
          <p:cNvSpPr>
            <a:spLocks noGrp="1"/>
          </p:cNvSpPr>
          <p:nvPr>
            <p:ph type="sldNum" sz="quarter" idx="12"/>
          </p:nvPr>
        </p:nvSpPr>
        <p:spPr/>
        <p:txBody>
          <a:bodyPr/>
          <a:lstStyle>
            <a:lvl1pPr>
              <a:defRPr/>
            </a:lvl1pPr>
          </a:lstStyle>
          <a:p>
            <a:pPr>
              <a:defRPr/>
            </a:pPr>
            <a:fld id="{02A591CC-FF3A-423F-AEE4-347403BE7256}" type="slidenum">
              <a:rPr lang="en-US">
                <a:solidFill>
                  <a:srgbClr val="343434"/>
                </a:solidFill>
              </a:rPr>
              <a:pPr>
                <a:defRPr/>
              </a:pPr>
              <a:t>‹#›</a:t>
            </a:fld>
            <a:endParaRPr lang="en-US">
              <a:solidFill>
                <a:srgbClr val="343434"/>
              </a:solidFill>
            </a:endParaRPr>
          </a:p>
        </p:txBody>
      </p:sp>
    </p:spTree>
    <p:extLst>
      <p:ext uri="{BB962C8B-B14F-4D97-AF65-F5344CB8AC3E}">
        <p14:creationId xmlns:p14="http://schemas.microsoft.com/office/powerpoint/2010/main" val="3834430286"/>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Picture_Layout">
    <p:spTree>
      <p:nvGrpSpPr>
        <p:cNvPr id="1" name=""/>
        <p:cNvGrpSpPr/>
        <p:nvPr/>
      </p:nvGrpSpPr>
      <p:grpSpPr>
        <a:xfrm>
          <a:off x="0" y="0"/>
          <a:ext cx="0" cy="0"/>
          <a:chOff x="0" y="0"/>
          <a:chExt cx="0" cy="0"/>
        </a:xfrm>
      </p:grpSpPr>
      <p:sp>
        <p:nvSpPr>
          <p:cNvPr id="2" name="Titre 1"/>
          <p:cNvSpPr>
            <a:spLocks noGrp="1"/>
          </p:cNvSpPr>
          <p:nvPr>
            <p:ph type="title"/>
          </p:nvPr>
        </p:nvSpPr>
        <p:spPr bwMode="gray"/>
        <p:txBody>
          <a:bodyPr/>
          <a:lstStyle/>
          <a:p>
            <a:r>
              <a:rPr lang="en-US" noProof="0"/>
              <a:t>Click to edit Master title style</a:t>
            </a:r>
          </a:p>
        </p:txBody>
      </p:sp>
      <p:sp>
        <p:nvSpPr>
          <p:cNvPr id="3" name="Espace réservé du contenu 2"/>
          <p:cNvSpPr>
            <a:spLocks noGrp="1"/>
          </p:cNvSpPr>
          <p:nvPr>
            <p:ph idx="1"/>
          </p:nvPr>
        </p:nvSpPr>
        <p:spPr bwMode="gray">
          <a:xfrm>
            <a:off x="3635896" y="1304925"/>
            <a:ext cx="4644504" cy="4716463"/>
          </a:xfrm>
        </p:spPr>
        <p:txBody>
          <a:bodyPr/>
          <a:lstStyle>
            <a:lvl2pPr>
              <a:defRPr/>
            </a:lvl2pPr>
            <a:lvl3pPr>
              <a:defRPr/>
            </a:lvl3pPr>
            <a:lvl4pPr>
              <a:defRPr baseline="0"/>
            </a:lvl4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Espace réservé pour une image  8"/>
          <p:cNvSpPr>
            <a:spLocks noGrp="1"/>
          </p:cNvSpPr>
          <p:nvPr>
            <p:ph type="pic" sz="quarter" idx="13"/>
          </p:nvPr>
        </p:nvSpPr>
        <p:spPr bwMode="gray">
          <a:xfrm>
            <a:off x="0" y="1341438"/>
            <a:ext cx="3419038" cy="4679950"/>
          </a:xfrm>
        </p:spPr>
        <p:txBody>
          <a:bodyPr tIns="1008000" rtlCol="0" anchor="ctr">
            <a:noAutofit/>
          </a:bodyPr>
          <a:lstStyle>
            <a:lvl1pPr algn="ctr">
              <a:defRPr/>
            </a:lvl1pPr>
          </a:lstStyle>
          <a:p>
            <a:pPr lvl="0"/>
            <a:r>
              <a:rPr lang="en-US" noProof="0"/>
              <a:t>Click icon to add picture</a:t>
            </a:r>
          </a:p>
        </p:txBody>
      </p:sp>
      <p:sp>
        <p:nvSpPr>
          <p:cNvPr id="5" name="Espace réservé de la date 3"/>
          <p:cNvSpPr>
            <a:spLocks noGrp="1"/>
          </p:cNvSpPr>
          <p:nvPr>
            <p:ph type="dt" sz="half" idx="14"/>
          </p:nvPr>
        </p:nvSpPr>
        <p:spPr/>
        <p:txBody>
          <a:bodyPr/>
          <a:lstStyle>
            <a:lvl1pPr>
              <a:defRPr/>
            </a:lvl1pPr>
          </a:lstStyle>
          <a:p>
            <a:pPr>
              <a:defRPr/>
            </a:pPr>
            <a:r>
              <a:rPr lang="en-US">
                <a:solidFill>
                  <a:prstClr val="white">
                    <a:alpha val="0"/>
                  </a:prstClr>
                </a:solidFill>
              </a:rPr>
              <a:t>Date</a:t>
            </a:r>
          </a:p>
        </p:txBody>
      </p:sp>
      <p:sp>
        <p:nvSpPr>
          <p:cNvPr id="6" name="Espace réservé du pied de page 4"/>
          <p:cNvSpPr>
            <a:spLocks noGrp="1"/>
          </p:cNvSpPr>
          <p:nvPr>
            <p:ph type="ftr" sz="quarter" idx="15"/>
          </p:nvPr>
        </p:nvSpPr>
        <p:spPr/>
        <p:txBody>
          <a:bodyPr/>
          <a:lstStyle>
            <a:lvl1pPr>
              <a:defRPr/>
            </a:lvl1pPr>
          </a:lstStyle>
          <a:p>
            <a:pPr>
              <a:defRPr/>
            </a:pPr>
            <a:r>
              <a:rPr lang="en-US">
                <a:solidFill>
                  <a:srgbClr val="005CB9"/>
                </a:solidFill>
              </a:rPr>
              <a:t>#</a:t>
            </a:r>
            <a:r>
              <a:rPr lang="en-US" err="1">
                <a:solidFill>
                  <a:srgbClr val="005CB9"/>
                </a:solidFill>
              </a:rPr>
              <a:t>vaccineswork</a:t>
            </a:r>
            <a:endParaRPr lang="en-US">
              <a:solidFill>
                <a:srgbClr val="005CB9"/>
              </a:solidFill>
            </a:endParaRPr>
          </a:p>
        </p:txBody>
      </p:sp>
      <p:sp>
        <p:nvSpPr>
          <p:cNvPr id="7" name="Espace réservé du numéro de diapositive 5"/>
          <p:cNvSpPr>
            <a:spLocks noGrp="1"/>
          </p:cNvSpPr>
          <p:nvPr>
            <p:ph type="sldNum" sz="quarter" idx="16"/>
          </p:nvPr>
        </p:nvSpPr>
        <p:spPr/>
        <p:txBody>
          <a:bodyPr/>
          <a:lstStyle>
            <a:lvl1pPr>
              <a:defRPr/>
            </a:lvl1pPr>
          </a:lstStyle>
          <a:p>
            <a:pPr>
              <a:defRPr/>
            </a:pPr>
            <a:fld id="{D8886677-8A24-41A7-8E0F-301076E1EA36}" type="slidenum">
              <a:rPr lang="en-US">
                <a:solidFill>
                  <a:srgbClr val="343434"/>
                </a:solidFill>
              </a:rPr>
              <a:pPr>
                <a:defRPr/>
              </a:pPr>
              <a:t>‹#›</a:t>
            </a:fld>
            <a:endParaRPr lang="en-US">
              <a:solidFill>
                <a:srgbClr val="343434"/>
              </a:solidFill>
            </a:endParaRPr>
          </a:p>
        </p:txBody>
      </p:sp>
    </p:spTree>
    <p:extLst>
      <p:ext uri="{BB962C8B-B14F-4D97-AF65-F5344CB8AC3E}">
        <p14:creationId xmlns:p14="http://schemas.microsoft.com/office/powerpoint/2010/main" val="52867284"/>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ext&amp;Content_Layout">
    <p:spTree>
      <p:nvGrpSpPr>
        <p:cNvPr id="1" name=""/>
        <p:cNvGrpSpPr/>
        <p:nvPr/>
      </p:nvGrpSpPr>
      <p:grpSpPr>
        <a:xfrm>
          <a:off x="0" y="0"/>
          <a:ext cx="0" cy="0"/>
          <a:chOff x="0" y="0"/>
          <a:chExt cx="0" cy="0"/>
        </a:xfrm>
      </p:grpSpPr>
      <p:sp>
        <p:nvSpPr>
          <p:cNvPr id="2" name="Titre 1"/>
          <p:cNvSpPr>
            <a:spLocks noGrp="1"/>
          </p:cNvSpPr>
          <p:nvPr>
            <p:ph type="title"/>
          </p:nvPr>
        </p:nvSpPr>
        <p:spPr bwMode="gray"/>
        <p:txBody>
          <a:bodyPr/>
          <a:lstStyle/>
          <a:p>
            <a:r>
              <a:rPr lang="en-US" noProof="0"/>
              <a:t>Click to edit Master title style</a:t>
            </a:r>
          </a:p>
        </p:txBody>
      </p:sp>
      <p:sp>
        <p:nvSpPr>
          <p:cNvPr id="3" name="Espace réservé du contenu 2"/>
          <p:cNvSpPr>
            <a:spLocks noGrp="1"/>
          </p:cNvSpPr>
          <p:nvPr>
            <p:ph idx="1"/>
          </p:nvPr>
        </p:nvSpPr>
        <p:spPr bwMode="gray">
          <a:xfrm>
            <a:off x="935038" y="2781388"/>
            <a:ext cx="7345362" cy="3240000"/>
          </a:xfrm>
        </p:spPr>
        <p:txBody>
          <a:bodyPr/>
          <a:lstStyle>
            <a:lvl2pPr>
              <a:defRPr/>
            </a:lvl2pPr>
            <a:lvl3pPr>
              <a:defRPr/>
            </a:lvl3pPr>
            <a:lvl4pPr>
              <a:defRPr baseline="0"/>
            </a:lvl4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Espace réservé du texte 9"/>
          <p:cNvSpPr>
            <a:spLocks noGrp="1"/>
          </p:cNvSpPr>
          <p:nvPr>
            <p:ph type="body" sz="quarter" idx="13"/>
          </p:nvPr>
        </p:nvSpPr>
        <p:spPr bwMode="gray">
          <a:xfrm>
            <a:off x="935038" y="1304924"/>
            <a:ext cx="7345362" cy="126000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Espace réservé de la date 3"/>
          <p:cNvSpPr>
            <a:spLocks noGrp="1"/>
          </p:cNvSpPr>
          <p:nvPr>
            <p:ph type="dt" sz="half" idx="14"/>
          </p:nvPr>
        </p:nvSpPr>
        <p:spPr/>
        <p:txBody>
          <a:bodyPr/>
          <a:lstStyle>
            <a:lvl1pPr>
              <a:defRPr/>
            </a:lvl1pPr>
          </a:lstStyle>
          <a:p>
            <a:pPr>
              <a:defRPr/>
            </a:pPr>
            <a:r>
              <a:rPr lang="en-US">
                <a:solidFill>
                  <a:prstClr val="white">
                    <a:alpha val="0"/>
                  </a:prstClr>
                </a:solidFill>
              </a:rPr>
              <a:t>Date</a:t>
            </a:r>
          </a:p>
        </p:txBody>
      </p:sp>
      <p:sp>
        <p:nvSpPr>
          <p:cNvPr id="6" name="Espace réservé du pied de page 4"/>
          <p:cNvSpPr>
            <a:spLocks noGrp="1"/>
          </p:cNvSpPr>
          <p:nvPr>
            <p:ph type="ftr" sz="quarter" idx="15"/>
          </p:nvPr>
        </p:nvSpPr>
        <p:spPr/>
        <p:txBody>
          <a:bodyPr/>
          <a:lstStyle>
            <a:lvl1pPr>
              <a:defRPr/>
            </a:lvl1pPr>
          </a:lstStyle>
          <a:p>
            <a:pPr>
              <a:defRPr/>
            </a:pPr>
            <a:r>
              <a:rPr lang="en-US">
                <a:solidFill>
                  <a:srgbClr val="005CB9"/>
                </a:solidFill>
              </a:rPr>
              <a:t>#</a:t>
            </a:r>
            <a:r>
              <a:rPr lang="en-US" err="1">
                <a:solidFill>
                  <a:srgbClr val="005CB9"/>
                </a:solidFill>
              </a:rPr>
              <a:t>vaccineswork</a:t>
            </a:r>
            <a:endParaRPr lang="en-US">
              <a:solidFill>
                <a:srgbClr val="005CB9"/>
              </a:solidFill>
            </a:endParaRPr>
          </a:p>
        </p:txBody>
      </p:sp>
      <p:sp>
        <p:nvSpPr>
          <p:cNvPr id="7" name="Espace réservé du numéro de diapositive 5"/>
          <p:cNvSpPr>
            <a:spLocks noGrp="1"/>
          </p:cNvSpPr>
          <p:nvPr>
            <p:ph type="sldNum" sz="quarter" idx="16"/>
          </p:nvPr>
        </p:nvSpPr>
        <p:spPr/>
        <p:txBody>
          <a:bodyPr/>
          <a:lstStyle>
            <a:lvl1pPr>
              <a:defRPr/>
            </a:lvl1pPr>
          </a:lstStyle>
          <a:p>
            <a:pPr>
              <a:defRPr/>
            </a:pPr>
            <a:fld id="{8779425B-3CAA-48C9-9B95-57BAD5A3D82E}" type="slidenum">
              <a:rPr lang="en-US">
                <a:solidFill>
                  <a:srgbClr val="343434"/>
                </a:solidFill>
              </a:rPr>
              <a:pPr>
                <a:defRPr/>
              </a:pPr>
              <a:t>‹#›</a:t>
            </a:fld>
            <a:endParaRPr lang="en-US">
              <a:solidFill>
                <a:srgbClr val="343434"/>
              </a:solidFill>
            </a:endParaRPr>
          </a:p>
        </p:txBody>
      </p:sp>
    </p:spTree>
    <p:extLst>
      <p:ext uri="{BB962C8B-B14F-4D97-AF65-F5344CB8AC3E}">
        <p14:creationId xmlns:p14="http://schemas.microsoft.com/office/powerpoint/2010/main" val="2067639354"/>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hank_you_1">
    <p:spTree>
      <p:nvGrpSpPr>
        <p:cNvPr id="1" name=""/>
        <p:cNvGrpSpPr/>
        <p:nvPr/>
      </p:nvGrpSpPr>
      <p:grpSpPr>
        <a:xfrm>
          <a:off x="0" y="0"/>
          <a:ext cx="0" cy="0"/>
          <a:chOff x="0" y="0"/>
          <a:chExt cx="0" cy="0"/>
        </a:xfrm>
      </p:grpSpPr>
      <p:pic>
        <p:nvPicPr>
          <p:cNvPr id="5" name="Image 18" descr="FD_1_L254.png"/>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gray">
          <a:xfrm>
            <a:off x="0" y="0"/>
            <a:ext cx="9144000" cy="51577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6" name="Rectangle 5"/>
          <p:cNvSpPr/>
          <p:nvPr userDrawn="1"/>
        </p:nvSpPr>
        <p:spPr bwMode="gray">
          <a:xfrm>
            <a:off x="3635375" y="5265738"/>
            <a:ext cx="5508625" cy="15922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prstClr val="white"/>
              </a:solidFill>
            </a:endParaRPr>
          </a:p>
        </p:txBody>
      </p:sp>
      <p:pic>
        <p:nvPicPr>
          <p:cNvPr id="7" name="Image 19" descr="Bas_couv.png"/>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gray">
          <a:xfrm>
            <a:off x="0" y="5172075"/>
            <a:ext cx="3635375" cy="16859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8" name="Rectangle 7"/>
          <p:cNvSpPr/>
          <p:nvPr userDrawn="1"/>
        </p:nvSpPr>
        <p:spPr bwMode="gray">
          <a:xfrm>
            <a:off x="3635375" y="6354763"/>
            <a:ext cx="5113338" cy="2873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p>
            <a:pPr algn="r">
              <a:defRPr/>
            </a:pPr>
            <a:r>
              <a:rPr lang="en-US" sz="1000" err="1">
                <a:solidFill>
                  <a:srgbClr val="95D600"/>
                </a:solidFill>
              </a:rPr>
              <a:t>www.gavi.org</a:t>
            </a:r>
            <a:endParaRPr lang="en-US" sz="1000">
              <a:solidFill>
                <a:srgbClr val="95D600"/>
              </a:solidFill>
            </a:endParaRPr>
          </a:p>
        </p:txBody>
      </p:sp>
      <p:cxnSp>
        <p:nvCxnSpPr>
          <p:cNvPr id="10" name="Connecteur droit 13"/>
          <p:cNvCxnSpPr/>
          <p:nvPr userDrawn="1"/>
        </p:nvCxnSpPr>
        <p:spPr bwMode="gray">
          <a:xfrm flipH="1">
            <a:off x="468313" y="3400425"/>
            <a:ext cx="2447925" cy="0"/>
          </a:xfrm>
          <a:prstGeom prst="line">
            <a:avLst/>
          </a:prstGeom>
          <a:ln w="24130">
            <a:solidFill>
              <a:schemeClr val="accent1"/>
            </a:solidFill>
          </a:ln>
        </p:spPr>
        <p:style>
          <a:lnRef idx="1">
            <a:schemeClr val="accent1"/>
          </a:lnRef>
          <a:fillRef idx="0">
            <a:schemeClr val="accent1"/>
          </a:fillRef>
          <a:effectRef idx="0">
            <a:schemeClr val="accent1"/>
          </a:effectRef>
          <a:fontRef idx="minor">
            <a:schemeClr val="tx1"/>
          </a:fontRef>
        </p:style>
      </p:cxnSp>
      <p:sp>
        <p:nvSpPr>
          <p:cNvPr id="9" name="Espace réservé du texte 8"/>
          <p:cNvSpPr>
            <a:spLocks noGrp="1"/>
          </p:cNvSpPr>
          <p:nvPr>
            <p:ph type="body" sz="quarter" idx="13"/>
          </p:nvPr>
        </p:nvSpPr>
        <p:spPr bwMode="gray">
          <a:xfrm>
            <a:off x="468314" y="1036638"/>
            <a:ext cx="4824412" cy="2242966"/>
          </a:xfrm>
        </p:spPr>
        <p:txBody>
          <a:bodyPr anchor="b"/>
          <a:lstStyle>
            <a:lvl1pPr marL="0" indent="0" algn="l">
              <a:lnSpc>
                <a:spcPct val="90000"/>
              </a:lnSpc>
              <a:buNone/>
              <a:defRPr sz="2800" b="1" cap="none" baseline="0">
                <a:solidFill>
                  <a:schemeClr val="bg1"/>
                </a:solidFill>
              </a:defRPr>
            </a:lvl1pPr>
            <a:lvl2pPr marL="0" algn="ctr">
              <a:lnSpc>
                <a:spcPct val="100000"/>
              </a:lnSpc>
              <a:spcBef>
                <a:spcPts val="6900"/>
              </a:spcBef>
              <a:defRPr sz="2000" b="1">
                <a:solidFill>
                  <a:schemeClr val="bg1"/>
                </a:solidFill>
              </a:defRPr>
            </a:lvl2pPr>
          </a:lstStyle>
          <a:p>
            <a:pPr lvl="0"/>
            <a:r>
              <a:rPr lang="en-US" noProof="0"/>
              <a:t>Click to edit Master text styles</a:t>
            </a:r>
          </a:p>
        </p:txBody>
      </p:sp>
      <p:sp>
        <p:nvSpPr>
          <p:cNvPr id="15" name="Espace réservé du texte 14"/>
          <p:cNvSpPr>
            <a:spLocks noGrp="1"/>
          </p:cNvSpPr>
          <p:nvPr>
            <p:ph type="body" sz="quarter" idx="19"/>
          </p:nvPr>
        </p:nvSpPr>
        <p:spPr bwMode="gray">
          <a:xfrm>
            <a:off x="3635376" y="6021388"/>
            <a:ext cx="5113338" cy="324000"/>
          </a:xfrm>
        </p:spPr>
        <p:txBody>
          <a:bodyPr anchor="b"/>
          <a:lstStyle>
            <a:lvl1pPr algn="r">
              <a:lnSpc>
                <a:spcPct val="100000"/>
              </a:lnSpc>
              <a:defRPr sz="1000" b="1">
                <a:solidFill>
                  <a:schemeClr val="accent3"/>
                </a:solidFill>
              </a:defRPr>
            </a:lvl1pPr>
          </a:lstStyle>
          <a:p>
            <a:pPr lvl="0"/>
            <a:r>
              <a:rPr lang="en-US" noProof="0"/>
              <a:t>Click to edit Master text styles</a:t>
            </a:r>
          </a:p>
        </p:txBody>
      </p:sp>
      <p:sp>
        <p:nvSpPr>
          <p:cNvPr id="13" name="Espace réservé pour une image  17"/>
          <p:cNvSpPr>
            <a:spLocks noGrp="1"/>
          </p:cNvSpPr>
          <p:nvPr>
            <p:ph type="pic" sz="quarter" idx="18"/>
          </p:nvPr>
        </p:nvSpPr>
        <p:spPr bwMode="gray">
          <a:xfrm>
            <a:off x="4192588" y="0"/>
            <a:ext cx="4951412" cy="5162400"/>
          </a:xfrm>
          <a:custGeom>
            <a:avLst/>
            <a:gdLst>
              <a:gd name="connsiteX0" fmla="*/ 0 w 3851275"/>
              <a:gd name="connsiteY0" fmla="*/ 0 h 5157788"/>
              <a:gd name="connsiteX1" fmla="*/ 3851275 w 3851275"/>
              <a:gd name="connsiteY1" fmla="*/ 0 h 5157788"/>
              <a:gd name="connsiteX2" fmla="*/ 3851275 w 3851275"/>
              <a:gd name="connsiteY2" fmla="*/ 5157788 h 5157788"/>
              <a:gd name="connsiteX3" fmla="*/ 0 w 3851275"/>
              <a:gd name="connsiteY3" fmla="*/ 5157788 h 5157788"/>
              <a:gd name="connsiteX4" fmla="*/ 0 w 3851275"/>
              <a:gd name="connsiteY4"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0 w 3851275"/>
              <a:gd name="connsiteY3" fmla="*/ 5157788 h 5157788"/>
              <a:gd name="connsiteX4" fmla="*/ 1692275 w 3851275"/>
              <a:gd name="connsiteY4" fmla="*/ 0 h 5157788"/>
              <a:gd name="connsiteX0" fmla="*/ 0 w 2159000"/>
              <a:gd name="connsiteY0" fmla="*/ 0 h 5157788"/>
              <a:gd name="connsiteX1" fmla="*/ 2159000 w 2159000"/>
              <a:gd name="connsiteY1" fmla="*/ 0 h 5157788"/>
              <a:gd name="connsiteX2" fmla="*/ 2159000 w 2159000"/>
              <a:gd name="connsiteY2" fmla="*/ 5157788 h 5157788"/>
              <a:gd name="connsiteX3" fmla="*/ 0 w 2159000"/>
              <a:gd name="connsiteY3" fmla="*/ 5157788 h 5157788"/>
              <a:gd name="connsiteX4" fmla="*/ 0 w 2159000"/>
              <a:gd name="connsiteY4" fmla="*/ 0 h 5157788"/>
              <a:gd name="connsiteX0" fmla="*/ 2625271 w 4784271"/>
              <a:gd name="connsiteY0" fmla="*/ 0 h 5157788"/>
              <a:gd name="connsiteX1" fmla="*/ 4784271 w 4784271"/>
              <a:gd name="connsiteY1" fmla="*/ 0 h 5157788"/>
              <a:gd name="connsiteX2" fmla="*/ 4784271 w 4784271"/>
              <a:gd name="connsiteY2" fmla="*/ 5157788 h 5157788"/>
              <a:gd name="connsiteX3" fmla="*/ 2625271 w 4784271"/>
              <a:gd name="connsiteY3" fmla="*/ 5157788 h 5157788"/>
              <a:gd name="connsiteX4" fmla="*/ 2625271 w 4784271"/>
              <a:gd name="connsiteY4" fmla="*/ 0 h 5157788"/>
              <a:gd name="connsiteX0" fmla="*/ 2625271 w 4784271"/>
              <a:gd name="connsiteY0" fmla="*/ 0 h 5157788"/>
              <a:gd name="connsiteX1" fmla="*/ 4784271 w 4784271"/>
              <a:gd name="connsiteY1" fmla="*/ 0 h 5157788"/>
              <a:gd name="connsiteX2" fmla="*/ 4784271 w 4784271"/>
              <a:gd name="connsiteY2" fmla="*/ 5157788 h 5157788"/>
              <a:gd name="connsiteX3" fmla="*/ 2625271 w 4784271"/>
              <a:gd name="connsiteY3" fmla="*/ 5157788 h 5157788"/>
              <a:gd name="connsiteX4" fmla="*/ 2625271 w 4784271"/>
              <a:gd name="connsiteY4" fmla="*/ 0 h 5157788"/>
              <a:gd name="connsiteX0" fmla="*/ 3568576 w 5727576"/>
              <a:gd name="connsiteY0" fmla="*/ 0 h 5157788"/>
              <a:gd name="connsiteX1" fmla="*/ 5727576 w 5727576"/>
              <a:gd name="connsiteY1" fmla="*/ 0 h 5157788"/>
              <a:gd name="connsiteX2" fmla="*/ 5727576 w 5727576"/>
              <a:gd name="connsiteY2" fmla="*/ 5157788 h 5157788"/>
              <a:gd name="connsiteX3" fmla="*/ 3568576 w 5727576"/>
              <a:gd name="connsiteY3" fmla="*/ 5157788 h 5157788"/>
              <a:gd name="connsiteX4" fmla="*/ 3568576 w 5727576"/>
              <a:gd name="connsiteY4" fmla="*/ 0 h 5157788"/>
              <a:gd name="connsiteX0" fmla="*/ 3306355 w 5465355"/>
              <a:gd name="connsiteY0" fmla="*/ 0 h 5157788"/>
              <a:gd name="connsiteX1" fmla="*/ 5465355 w 5465355"/>
              <a:gd name="connsiteY1" fmla="*/ 0 h 5157788"/>
              <a:gd name="connsiteX2" fmla="*/ 5465355 w 5465355"/>
              <a:gd name="connsiteY2" fmla="*/ 5157788 h 5157788"/>
              <a:gd name="connsiteX3" fmla="*/ 3306355 w 5465355"/>
              <a:gd name="connsiteY3" fmla="*/ 5157788 h 5157788"/>
              <a:gd name="connsiteX4" fmla="*/ 3306355 w 5465355"/>
              <a:gd name="connsiteY4" fmla="*/ 0 h 5157788"/>
              <a:gd name="connsiteX0" fmla="*/ 1416957 w 3575957"/>
              <a:gd name="connsiteY0" fmla="*/ 0 h 5157788"/>
              <a:gd name="connsiteX1" fmla="*/ 3575957 w 3575957"/>
              <a:gd name="connsiteY1" fmla="*/ 0 h 5157788"/>
              <a:gd name="connsiteX2" fmla="*/ 3575957 w 3575957"/>
              <a:gd name="connsiteY2" fmla="*/ 5157788 h 5157788"/>
              <a:gd name="connsiteX3" fmla="*/ 1416957 w 3575957"/>
              <a:gd name="connsiteY3" fmla="*/ 5157788 h 5157788"/>
              <a:gd name="connsiteX4" fmla="*/ 0 w 3575957"/>
              <a:gd name="connsiteY4" fmla="*/ 3339193 h 5157788"/>
              <a:gd name="connsiteX5" fmla="*/ 1416957 w 3575957"/>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6017419"/>
              <a:gd name="connsiteX1" fmla="*/ 3851275 w 3851275"/>
              <a:gd name="connsiteY1" fmla="*/ 0 h 6017419"/>
              <a:gd name="connsiteX2" fmla="*/ 3851275 w 3851275"/>
              <a:gd name="connsiteY2" fmla="*/ 5157788 h 6017419"/>
              <a:gd name="connsiteX3" fmla="*/ 1692275 w 3851275"/>
              <a:gd name="connsiteY3" fmla="*/ 5157788 h 6017419"/>
              <a:gd name="connsiteX4" fmla="*/ 0 w 3851275"/>
              <a:gd name="connsiteY4" fmla="*/ 3284984 h 6017419"/>
              <a:gd name="connsiteX5" fmla="*/ 1692275 w 3851275"/>
              <a:gd name="connsiteY5" fmla="*/ 0 h 6017419"/>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429000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429000 h 5157788"/>
              <a:gd name="connsiteX5" fmla="*/ 1710871 w 3869871"/>
              <a:gd name="connsiteY5" fmla="*/ 0 h 5157788"/>
              <a:gd name="connsiteX0" fmla="*/ 1704975 w 3863975"/>
              <a:gd name="connsiteY0" fmla="*/ 0 h 5157788"/>
              <a:gd name="connsiteX1" fmla="*/ 3863975 w 3863975"/>
              <a:gd name="connsiteY1" fmla="*/ 0 h 5157788"/>
              <a:gd name="connsiteX2" fmla="*/ 3863975 w 3863975"/>
              <a:gd name="connsiteY2" fmla="*/ 5157788 h 5157788"/>
              <a:gd name="connsiteX3" fmla="*/ 1704975 w 3863975"/>
              <a:gd name="connsiteY3" fmla="*/ 5157788 h 5157788"/>
              <a:gd name="connsiteX4" fmla="*/ 12700 w 3863975"/>
              <a:gd name="connsiteY4" fmla="*/ 3429000 h 5157788"/>
              <a:gd name="connsiteX5" fmla="*/ 1704975 w 3863975"/>
              <a:gd name="connsiteY5" fmla="*/ 0 h 5157788"/>
              <a:gd name="connsiteX0" fmla="*/ 1707243 w 3866243"/>
              <a:gd name="connsiteY0" fmla="*/ 0 h 5157788"/>
              <a:gd name="connsiteX1" fmla="*/ 3866243 w 3866243"/>
              <a:gd name="connsiteY1" fmla="*/ 0 h 5157788"/>
              <a:gd name="connsiteX2" fmla="*/ 3866243 w 3866243"/>
              <a:gd name="connsiteY2" fmla="*/ 5157788 h 5157788"/>
              <a:gd name="connsiteX3" fmla="*/ 1707243 w 3866243"/>
              <a:gd name="connsiteY3" fmla="*/ 5157788 h 5157788"/>
              <a:gd name="connsiteX4" fmla="*/ 14968 w 3866243"/>
              <a:gd name="connsiteY4" fmla="*/ 3429000 h 5157788"/>
              <a:gd name="connsiteX5" fmla="*/ 1707243 w 3866243"/>
              <a:gd name="connsiteY5" fmla="*/ 0 h 5157788"/>
              <a:gd name="connsiteX0" fmla="*/ 1130447 w 3866243"/>
              <a:gd name="connsiteY0" fmla="*/ 0 h 5157788"/>
              <a:gd name="connsiteX1" fmla="*/ 3866243 w 3866243"/>
              <a:gd name="connsiteY1" fmla="*/ 0 h 5157788"/>
              <a:gd name="connsiteX2" fmla="*/ 3866243 w 3866243"/>
              <a:gd name="connsiteY2" fmla="*/ 5157788 h 5157788"/>
              <a:gd name="connsiteX3" fmla="*/ 1707243 w 3866243"/>
              <a:gd name="connsiteY3" fmla="*/ 5157788 h 5157788"/>
              <a:gd name="connsiteX4" fmla="*/ 14968 w 3866243"/>
              <a:gd name="connsiteY4" fmla="*/ 3429000 h 5157788"/>
              <a:gd name="connsiteX5" fmla="*/ 1130447 w 3866243"/>
              <a:gd name="connsiteY5" fmla="*/ 0 h 5157788"/>
              <a:gd name="connsiteX0" fmla="*/ 2746143 w 5481939"/>
              <a:gd name="connsiteY0" fmla="*/ 0 h 5157788"/>
              <a:gd name="connsiteX1" fmla="*/ 5481939 w 5481939"/>
              <a:gd name="connsiteY1" fmla="*/ 0 h 5157788"/>
              <a:gd name="connsiteX2" fmla="*/ 5481939 w 5481939"/>
              <a:gd name="connsiteY2" fmla="*/ 5157788 h 5157788"/>
              <a:gd name="connsiteX3" fmla="*/ 585903 w 5481939"/>
              <a:gd name="connsiteY3" fmla="*/ 5153180 h 5157788"/>
              <a:gd name="connsiteX4" fmla="*/ 1630664 w 5481939"/>
              <a:gd name="connsiteY4" fmla="*/ 3429000 h 5157788"/>
              <a:gd name="connsiteX5" fmla="*/ 2746143 w 5481939"/>
              <a:gd name="connsiteY5" fmla="*/ 0 h 5157788"/>
              <a:gd name="connsiteX0" fmla="*/ 2746143 w 5481939"/>
              <a:gd name="connsiteY0" fmla="*/ 0 h 5157788"/>
              <a:gd name="connsiteX1" fmla="*/ 5481939 w 5481939"/>
              <a:gd name="connsiteY1" fmla="*/ 0 h 5157788"/>
              <a:gd name="connsiteX2" fmla="*/ 5481939 w 5481939"/>
              <a:gd name="connsiteY2" fmla="*/ 5157788 h 5157788"/>
              <a:gd name="connsiteX3" fmla="*/ 585903 w 5481939"/>
              <a:gd name="connsiteY3" fmla="*/ 5153180 h 5157788"/>
              <a:gd name="connsiteX4" fmla="*/ 1630664 w 5481939"/>
              <a:gd name="connsiteY4" fmla="*/ 3429000 h 5157788"/>
              <a:gd name="connsiteX5" fmla="*/ 2746143 w 548193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3574235 w 6310031"/>
              <a:gd name="connsiteY0" fmla="*/ 0 h 5157788"/>
              <a:gd name="connsiteX1" fmla="*/ 6310031 w 6310031"/>
              <a:gd name="connsiteY1" fmla="*/ 0 h 5157788"/>
              <a:gd name="connsiteX2" fmla="*/ 6310031 w 6310031"/>
              <a:gd name="connsiteY2" fmla="*/ 5157788 h 5157788"/>
              <a:gd name="connsiteX3" fmla="*/ 585903 w 6310031"/>
              <a:gd name="connsiteY3" fmla="*/ 5153180 h 5157788"/>
              <a:gd name="connsiteX4" fmla="*/ 1738031 w 6310031"/>
              <a:gd name="connsiteY4" fmla="*/ 3389965 h 5157788"/>
              <a:gd name="connsiteX5" fmla="*/ 3574235 w 6310031"/>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296143 w 5724128"/>
              <a:gd name="connsiteY4" fmla="*/ 3461908 h 5157788"/>
              <a:gd name="connsiteX5" fmla="*/ 2988332 w 5724128"/>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1188132 w 5760132"/>
              <a:gd name="connsiteY4" fmla="*/ 3425937 h 5157788"/>
              <a:gd name="connsiteX5" fmla="*/ 3024336 w 5760132"/>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2736304 w 5760132"/>
              <a:gd name="connsiteY4" fmla="*/ 3461908 h 5157788"/>
              <a:gd name="connsiteX5" fmla="*/ 3024336 w 5760132"/>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2736304 w 5760132"/>
              <a:gd name="connsiteY4" fmla="*/ 3461908 h 5157788"/>
              <a:gd name="connsiteX5" fmla="*/ 3024336 w 5760132"/>
              <a:gd name="connsiteY5" fmla="*/ 0 h 5157788"/>
              <a:gd name="connsiteX0" fmla="*/ 2160240 w 4896036"/>
              <a:gd name="connsiteY0" fmla="*/ 0 h 5157788"/>
              <a:gd name="connsiteX1" fmla="*/ 4896036 w 4896036"/>
              <a:gd name="connsiteY1" fmla="*/ 0 h 5157788"/>
              <a:gd name="connsiteX2" fmla="*/ 4896036 w 4896036"/>
              <a:gd name="connsiteY2" fmla="*/ 5157788 h 5157788"/>
              <a:gd name="connsiteX3" fmla="*/ 0 w 4896036"/>
              <a:gd name="connsiteY3" fmla="*/ 5153180 h 5157788"/>
              <a:gd name="connsiteX4" fmla="*/ 1872208 w 4896036"/>
              <a:gd name="connsiteY4" fmla="*/ 3461908 h 5157788"/>
              <a:gd name="connsiteX5" fmla="*/ 2160240 w 4896036"/>
              <a:gd name="connsiteY5" fmla="*/ 0 h 5157788"/>
              <a:gd name="connsiteX0" fmla="*/ 2232248 w 4968044"/>
              <a:gd name="connsiteY0" fmla="*/ 0 h 5157788"/>
              <a:gd name="connsiteX1" fmla="*/ 4968044 w 4968044"/>
              <a:gd name="connsiteY1" fmla="*/ 0 h 5157788"/>
              <a:gd name="connsiteX2" fmla="*/ 4968044 w 4968044"/>
              <a:gd name="connsiteY2" fmla="*/ 5157788 h 5157788"/>
              <a:gd name="connsiteX3" fmla="*/ 0 w 4968044"/>
              <a:gd name="connsiteY3" fmla="*/ 5153180 h 5157788"/>
              <a:gd name="connsiteX4" fmla="*/ 1944216 w 4968044"/>
              <a:gd name="connsiteY4" fmla="*/ 3461908 h 5157788"/>
              <a:gd name="connsiteX5" fmla="*/ 2232248 w 4968044"/>
              <a:gd name="connsiteY5" fmla="*/ 0 h 5157788"/>
              <a:gd name="connsiteX0" fmla="*/ 2207679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207679 w 4943475"/>
              <a:gd name="connsiteY5" fmla="*/ 0 h 5157788"/>
              <a:gd name="connsiteX0" fmla="*/ 2963763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963763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092200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71575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343583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675731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675731 w 4943475"/>
              <a:gd name="connsiteY5" fmla="*/ 0 h 5157788"/>
              <a:gd name="connsiteX0" fmla="*/ 2675731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675731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9672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19672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51412" h="5157788">
                <a:moveTo>
                  <a:pt x="2706687" y="0"/>
                </a:moveTo>
                <a:lnTo>
                  <a:pt x="4951412" y="0"/>
                </a:lnTo>
                <a:lnTo>
                  <a:pt x="4951412" y="5157788"/>
                </a:lnTo>
                <a:lnTo>
                  <a:pt x="0" y="5153180"/>
                </a:lnTo>
                <a:cubicBezTo>
                  <a:pt x="84411" y="4542509"/>
                  <a:pt x="183041" y="4024723"/>
                  <a:pt x="1243508" y="2562613"/>
                </a:cubicBezTo>
                <a:cubicBezTo>
                  <a:pt x="1867447" y="1704780"/>
                  <a:pt x="2665955" y="709265"/>
                  <a:pt x="2706687" y="0"/>
                </a:cubicBezTo>
                <a:close/>
              </a:path>
            </a:pathLst>
          </a:custGeom>
          <a:solidFill>
            <a:schemeClr val="bg2"/>
          </a:solidFill>
          <a:ln w="3175">
            <a:noFill/>
          </a:ln>
        </p:spPr>
        <p:txBody>
          <a:bodyPr tIns="720000" rtlCol="0" anchor="ctr">
            <a:noAutofit/>
          </a:bodyPr>
          <a:lstStyle>
            <a:lvl1pPr algn="ctr">
              <a:defRPr sz="1500">
                <a:solidFill>
                  <a:schemeClr val="bg1"/>
                </a:solidFill>
              </a:defRPr>
            </a:lvl1pPr>
          </a:lstStyle>
          <a:p>
            <a:pPr lvl="0"/>
            <a:r>
              <a:rPr lang="en-US" noProof="0"/>
              <a:t>Click icon to add picture</a:t>
            </a:r>
          </a:p>
        </p:txBody>
      </p:sp>
      <p:sp>
        <p:nvSpPr>
          <p:cNvPr id="11" name="Espace réservé de la date 9"/>
          <p:cNvSpPr>
            <a:spLocks noGrp="1"/>
          </p:cNvSpPr>
          <p:nvPr>
            <p:ph type="dt" sz="half" idx="20"/>
          </p:nvPr>
        </p:nvSpPr>
        <p:spPr/>
        <p:txBody>
          <a:bodyPr/>
          <a:lstStyle>
            <a:lvl1pPr>
              <a:defRPr/>
            </a:lvl1pPr>
          </a:lstStyle>
          <a:p>
            <a:pPr>
              <a:defRPr/>
            </a:pPr>
            <a:r>
              <a:rPr lang="en-US">
                <a:solidFill>
                  <a:prstClr val="white">
                    <a:alpha val="0"/>
                  </a:prstClr>
                </a:solidFill>
              </a:rPr>
              <a:t>Date</a:t>
            </a:r>
          </a:p>
        </p:txBody>
      </p:sp>
      <p:sp>
        <p:nvSpPr>
          <p:cNvPr id="12" name="Espace réservé du numéro de diapositive 10"/>
          <p:cNvSpPr>
            <a:spLocks noGrp="1"/>
          </p:cNvSpPr>
          <p:nvPr>
            <p:ph type="sldNum" sz="quarter" idx="21"/>
          </p:nvPr>
        </p:nvSpPr>
        <p:spPr/>
        <p:txBody>
          <a:bodyPr/>
          <a:lstStyle>
            <a:lvl1pPr>
              <a:defRPr sz="100">
                <a:solidFill>
                  <a:schemeClr val="bg1">
                    <a:alpha val="0"/>
                  </a:schemeClr>
                </a:solidFill>
              </a:defRPr>
            </a:lvl1pPr>
          </a:lstStyle>
          <a:p>
            <a:pPr>
              <a:defRPr/>
            </a:pPr>
            <a:r>
              <a:rPr lang="en-US">
                <a:solidFill>
                  <a:prstClr val="white">
                    <a:alpha val="0"/>
                  </a:prstClr>
                </a:solidFill>
              </a:rPr>
              <a:t>Page: </a:t>
            </a:r>
            <a:fld id="{4AF4F797-1FBC-44F9-B7CF-6A5F893B852E}" type="slidenum">
              <a:rPr lang="en-US">
                <a:solidFill>
                  <a:prstClr val="white">
                    <a:alpha val="0"/>
                  </a:prstClr>
                </a:solidFill>
              </a:rPr>
              <a:pPr>
                <a:defRPr/>
              </a:pPr>
              <a:t>‹#›</a:t>
            </a:fld>
            <a:endParaRPr lang="en-US">
              <a:solidFill>
                <a:prstClr val="white">
                  <a:alpha val="0"/>
                </a:prstClr>
              </a:solidFill>
            </a:endParaRPr>
          </a:p>
        </p:txBody>
      </p:sp>
      <p:sp>
        <p:nvSpPr>
          <p:cNvPr id="14" name="Espace réservé du pied de page 11"/>
          <p:cNvSpPr>
            <a:spLocks noGrp="1"/>
          </p:cNvSpPr>
          <p:nvPr>
            <p:ph type="ftr" sz="quarter" idx="22"/>
          </p:nvPr>
        </p:nvSpPr>
        <p:spPr>
          <a:xfrm>
            <a:off x="468313" y="523875"/>
            <a:ext cx="4824412" cy="360363"/>
          </a:xfrm>
        </p:spPr>
        <p:txBody>
          <a:bodyPr/>
          <a:lstStyle>
            <a:lvl1pPr algn="l">
              <a:defRPr sz="1800" b="0">
                <a:solidFill>
                  <a:schemeClr val="bg1"/>
                </a:solidFill>
              </a:defRPr>
            </a:lvl1pPr>
          </a:lstStyle>
          <a:p>
            <a:pPr>
              <a:defRPr/>
            </a:pPr>
            <a:r>
              <a:rPr lang="en-US">
                <a:solidFill>
                  <a:prstClr val="white"/>
                </a:solidFill>
              </a:rPr>
              <a:t>#</a:t>
            </a:r>
            <a:r>
              <a:rPr lang="en-US" err="1">
                <a:solidFill>
                  <a:prstClr val="white"/>
                </a:solidFill>
              </a:rPr>
              <a:t>vaccineswork</a:t>
            </a:r>
            <a:endParaRPr lang="en-US">
              <a:solidFill>
                <a:prstClr val="white"/>
              </a:solidFill>
            </a:endParaRPr>
          </a:p>
        </p:txBody>
      </p:sp>
    </p:spTree>
    <p:extLst>
      <p:ext uri="{BB962C8B-B14F-4D97-AF65-F5344CB8AC3E}">
        <p14:creationId xmlns:p14="http://schemas.microsoft.com/office/powerpoint/2010/main" val="293334509"/>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hank_you_2">
    <p:spTree>
      <p:nvGrpSpPr>
        <p:cNvPr id="1" name=""/>
        <p:cNvGrpSpPr/>
        <p:nvPr/>
      </p:nvGrpSpPr>
      <p:grpSpPr>
        <a:xfrm>
          <a:off x="0" y="0"/>
          <a:ext cx="0" cy="0"/>
          <a:chOff x="0" y="0"/>
          <a:chExt cx="0" cy="0"/>
        </a:xfrm>
      </p:grpSpPr>
      <p:sp>
        <p:nvSpPr>
          <p:cNvPr id="5" name="Rectangle 4"/>
          <p:cNvSpPr/>
          <p:nvPr userDrawn="1"/>
        </p:nvSpPr>
        <p:spPr bwMode="gray">
          <a:xfrm>
            <a:off x="3635375" y="5265738"/>
            <a:ext cx="5508625" cy="15922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prstClr val="white"/>
              </a:solidFill>
            </a:endParaRPr>
          </a:p>
        </p:txBody>
      </p:sp>
      <p:pic>
        <p:nvPicPr>
          <p:cNvPr id="6" name="Image 20" descr="FD_1_L254.png"/>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gray">
          <a:xfrm>
            <a:off x="0" y="0"/>
            <a:ext cx="9144000" cy="51577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7" name="Image 19" descr="Bas_couv.png"/>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gray">
          <a:xfrm>
            <a:off x="0" y="5172075"/>
            <a:ext cx="3635375" cy="16859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8" name="Rectangle 7"/>
          <p:cNvSpPr/>
          <p:nvPr userDrawn="1"/>
        </p:nvSpPr>
        <p:spPr bwMode="gray">
          <a:xfrm>
            <a:off x="3635375" y="6354763"/>
            <a:ext cx="5113338" cy="2873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p>
            <a:pPr algn="r">
              <a:defRPr/>
            </a:pPr>
            <a:r>
              <a:rPr lang="en-US" sz="1000" err="1">
                <a:solidFill>
                  <a:srgbClr val="95D600"/>
                </a:solidFill>
              </a:rPr>
              <a:t>www.gavi.org</a:t>
            </a:r>
            <a:endParaRPr lang="en-US" sz="1000">
              <a:solidFill>
                <a:srgbClr val="95D600"/>
              </a:solidFill>
            </a:endParaRPr>
          </a:p>
        </p:txBody>
      </p:sp>
      <p:cxnSp>
        <p:nvCxnSpPr>
          <p:cNvPr id="10" name="Connecteur droit 13"/>
          <p:cNvCxnSpPr/>
          <p:nvPr userDrawn="1"/>
        </p:nvCxnSpPr>
        <p:spPr bwMode="gray">
          <a:xfrm flipH="1">
            <a:off x="468313" y="3402013"/>
            <a:ext cx="2447925" cy="0"/>
          </a:xfrm>
          <a:prstGeom prst="line">
            <a:avLst/>
          </a:prstGeom>
          <a:ln w="24130">
            <a:solidFill>
              <a:schemeClr val="accent1"/>
            </a:solidFill>
          </a:ln>
        </p:spPr>
        <p:style>
          <a:lnRef idx="1">
            <a:schemeClr val="accent1"/>
          </a:lnRef>
          <a:fillRef idx="0">
            <a:schemeClr val="accent1"/>
          </a:fillRef>
          <a:effectRef idx="0">
            <a:schemeClr val="accent1"/>
          </a:effectRef>
          <a:fontRef idx="minor">
            <a:schemeClr val="tx1"/>
          </a:fontRef>
        </p:style>
      </p:cxnSp>
      <p:sp>
        <p:nvSpPr>
          <p:cNvPr id="9" name="Espace réservé du texte 8"/>
          <p:cNvSpPr>
            <a:spLocks noGrp="1"/>
          </p:cNvSpPr>
          <p:nvPr>
            <p:ph type="body" sz="quarter" idx="13"/>
          </p:nvPr>
        </p:nvSpPr>
        <p:spPr bwMode="gray">
          <a:xfrm>
            <a:off x="468314" y="1036800"/>
            <a:ext cx="4824000" cy="2242800"/>
          </a:xfrm>
        </p:spPr>
        <p:txBody>
          <a:bodyPr anchor="b"/>
          <a:lstStyle>
            <a:lvl1pPr marL="0" indent="0" algn="l">
              <a:lnSpc>
                <a:spcPct val="90000"/>
              </a:lnSpc>
              <a:buNone/>
              <a:defRPr sz="2800" b="1" cap="none" baseline="0">
                <a:solidFill>
                  <a:schemeClr val="bg1"/>
                </a:solidFill>
              </a:defRPr>
            </a:lvl1pPr>
            <a:lvl2pPr marL="0" algn="ctr">
              <a:lnSpc>
                <a:spcPct val="100000"/>
              </a:lnSpc>
              <a:spcBef>
                <a:spcPts val="6900"/>
              </a:spcBef>
              <a:defRPr sz="2000" b="1">
                <a:solidFill>
                  <a:schemeClr val="bg1"/>
                </a:solidFill>
              </a:defRPr>
            </a:lvl2pPr>
          </a:lstStyle>
          <a:p>
            <a:pPr lvl="0"/>
            <a:r>
              <a:rPr lang="en-US" noProof="0"/>
              <a:t>Click to edit Master text styles</a:t>
            </a:r>
          </a:p>
        </p:txBody>
      </p:sp>
      <p:sp>
        <p:nvSpPr>
          <p:cNvPr id="15" name="Espace réservé du texte 14"/>
          <p:cNvSpPr>
            <a:spLocks noGrp="1"/>
          </p:cNvSpPr>
          <p:nvPr>
            <p:ph type="body" sz="quarter" idx="19"/>
          </p:nvPr>
        </p:nvSpPr>
        <p:spPr bwMode="gray">
          <a:xfrm>
            <a:off x="3635376" y="6021388"/>
            <a:ext cx="5113338" cy="324000"/>
          </a:xfrm>
        </p:spPr>
        <p:txBody>
          <a:bodyPr anchor="b"/>
          <a:lstStyle>
            <a:lvl1pPr algn="r">
              <a:lnSpc>
                <a:spcPct val="100000"/>
              </a:lnSpc>
              <a:defRPr sz="1000" b="1">
                <a:solidFill>
                  <a:schemeClr val="accent3"/>
                </a:solidFill>
              </a:defRPr>
            </a:lvl1pPr>
          </a:lstStyle>
          <a:p>
            <a:pPr lvl="0"/>
            <a:r>
              <a:rPr lang="en-US" noProof="0"/>
              <a:t>Click to edit Master text styles</a:t>
            </a:r>
          </a:p>
        </p:txBody>
      </p:sp>
      <p:sp>
        <p:nvSpPr>
          <p:cNvPr id="13" name="Espace réservé pour une image  17"/>
          <p:cNvSpPr>
            <a:spLocks noGrp="1"/>
          </p:cNvSpPr>
          <p:nvPr>
            <p:ph type="pic" sz="quarter" idx="18"/>
          </p:nvPr>
        </p:nvSpPr>
        <p:spPr bwMode="gray">
          <a:xfrm>
            <a:off x="4192588" y="0"/>
            <a:ext cx="4951412" cy="5162400"/>
          </a:xfrm>
          <a:custGeom>
            <a:avLst/>
            <a:gdLst>
              <a:gd name="connsiteX0" fmla="*/ 0 w 3851275"/>
              <a:gd name="connsiteY0" fmla="*/ 0 h 5157788"/>
              <a:gd name="connsiteX1" fmla="*/ 3851275 w 3851275"/>
              <a:gd name="connsiteY1" fmla="*/ 0 h 5157788"/>
              <a:gd name="connsiteX2" fmla="*/ 3851275 w 3851275"/>
              <a:gd name="connsiteY2" fmla="*/ 5157788 h 5157788"/>
              <a:gd name="connsiteX3" fmla="*/ 0 w 3851275"/>
              <a:gd name="connsiteY3" fmla="*/ 5157788 h 5157788"/>
              <a:gd name="connsiteX4" fmla="*/ 0 w 3851275"/>
              <a:gd name="connsiteY4"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0 w 3851275"/>
              <a:gd name="connsiteY3" fmla="*/ 5157788 h 5157788"/>
              <a:gd name="connsiteX4" fmla="*/ 1692275 w 3851275"/>
              <a:gd name="connsiteY4" fmla="*/ 0 h 5157788"/>
              <a:gd name="connsiteX0" fmla="*/ 0 w 2159000"/>
              <a:gd name="connsiteY0" fmla="*/ 0 h 5157788"/>
              <a:gd name="connsiteX1" fmla="*/ 2159000 w 2159000"/>
              <a:gd name="connsiteY1" fmla="*/ 0 h 5157788"/>
              <a:gd name="connsiteX2" fmla="*/ 2159000 w 2159000"/>
              <a:gd name="connsiteY2" fmla="*/ 5157788 h 5157788"/>
              <a:gd name="connsiteX3" fmla="*/ 0 w 2159000"/>
              <a:gd name="connsiteY3" fmla="*/ 5157788 h 5157788"/>
              <a:gd name="connsiteX4" fmla="*/ 0 w 2159000"/>
              <a:gd name="connsiteY4" fmla="*/ 0 h 5157788"/>
              <a:gd name="connsiteX0" fmla="*/ 2625271 w 4784271"/>
              <a:gd name="connsiteY0" fmla="*/ 0 h 5157788"/>
              <a:gd name="connsiteX1" fmla="*/ 4784271 w 4784271"/>
              <a:gd name="connsiteY1" fmla="*/ 0 h 5157788"/>
              <a:gd name="connsiteX2" fmla="*/ 4784271 w 4784271"/>
              <a:gd name="connsiteY2" fmla="*/ 5157788 h 5157788"/>
              <a:gd name="connsiteX3" fmla="*/ 2625271 w 4784271"/>
              <a:gd name="connsiteY3" fmla="*/ 5157788 h 5157788"/>
              <a:gd name="connsiteX4" fmla="*/ 2625271 w 4784271"/>
              <a:gd name="connsiteY4" fmla="*/ 0 h 5157788"/>
              <a:gd name="connsiteX0" fmla="*/ 2625271 w 4784271"/>
              <a:gd name="connsiteY0" fmla="*/ 0 h 5157788"/>
              <a:gd name="connsiteX1" fmla="*/ 4784271 w 4784271"/>
              <a:gd name="connsiteY1" fmla="*/ 0 h 5157788"/>
              <a:gd name="connsiteX2" fmla="*/ 4784271 w 4784271"/>
              <a:gd name="connsiteY2" fmla="*/ 5157788 h 5157788"/>
              <a:gd name="connsiteX3" fmla="*/ 2625271 w 4784271"/>
              <a:gd name="connsiteY3" fmla="*/ 5157788 h 5157788"/>
              <a:gd name="connsiteX4" fmla="*/ 2625271 w 4784271"/>
              <a:gd name="connsiteY4" fmla="*/ 0 h 5157788"/>
              <a:gd name="connsiteX0" fmla="*/ 3568576 w 5727576"/>
              <a:gd name="connsiteY0" fmla="*/ 0 h 5157788"/>
              <a:gd name="connsiteX1" fmla="*/ 5727576 w 5727576"/>
              <a:gd name="connsiteY1" fmla="*/ 0 h 5157788"/>
              <a:gd name="connsiteX2" fmla="*/ 5727576 w 5727576"/>
              <a:gd name="connsiteY2" fmla="*/ 5157788 h 5157788"/>
              <a:gd name="connsiteX3" fmla="*/ 3568576 w 5727576"/>
              <a:gd name="connsiteY3" fmla="*/ 5157788 h 5157788"/>
              <a:gd name="connsiteX4" fmla="*/ 3568576 w 5727576"/>
              <a:gd name="connsiteY4" fmla="*/ 0 h 5157788"/>
              <a:gd name="connsiteX0" fmla="*/ 3306355 w 5465355"/>
              <a:gd name="connsiteY0" fmla="*/ 0 h 5157788"/>
              <a:gd name="connsiteX1" fmla="*/ 5465355 w 5465355"/>
              <a:gd name="connsiteY1" fmla="*/ 0 h 5157788"/>
              <a:gd name="connsiteX2" fmla="*/ 5465355 w 5465355"/>
              <a:gd name="connsiteY2" fmla="*/ 5157788 h 5157788"/>
              <a:gd name="connsiteX3" fmla="*/ 3306355 w 5465355"/>
              <a:gd name="connsiteY3" fmla="*/ 5157788 h 5157788"/>
              <a:gd name="connsiteX4" fmla="*/ 3306355 w 5465355"/>
              <a:gd name="connsiteY4" fmla="*/ 0 h 5157788"/>
              <a:gd name="connsiteX0" fmla="*/ 1416957 w 3575957"/>
              <a:gd name="connsiteY0" fmla="*/ 0 h 5157788"/>
              <a:gd name="connsiteX1" fmla="*/ 3575957 w 3575957"/>
              <a:gd name="connsiteY1" fmla="*/ 0 h 5157788"/>
              <a:gd name="connsiteX2" fmla="*/ 3575957 w 3575957"/>
              <a:gd name="connsiteY2" fmla="*/ 5157788 h 5157788"/>
              <a:gd name="connsiteX3" fmla="*/ 1416957 w 3575957"/>
              <a:gd name="connsiteY3" fmla="*/ 5157788 h 5157788"/>
              <a:gd name="connsiteX4" fmla="*/ 0 w 3575957"/>
              <a:gd name="connsiteY4" fmla="*/ 3339193 h 5157788"/>
              <a:gd name="connsiteX5" fmla="*/ 1416957 w 3575957"/>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6017419"/>
              <a:gd name="connsiteX1" fmla="*/ 3851275 w 3851275"/>
              <a:gd name="connsiteY1" fmla="*/ 0 h 6017419"/>
              <a:gd name="connsiteX2" fmla="*/ 3851275 w 3851275"/>
              <a:gd name="connsiteY2" fmla="*/ 5157788 h 6017419"/>
              <a:gd name="connsiteX3" fmla="*/ 1692275 w 3851275"/>
              <a:gd name="connsiteY3" fmla="*/ 5157788 h 6017419"/>
              <a:gd name="connsiteX4" fmla="*/ 0 w 3851275"/>
              <a:gd name="connsiteY4" fmla="*/ 3284984 h 6017419"/>
              <a:gd name="connsiteX5" fmla="*/ 1692275 w 3851275"/>
              <a:gd name="connsiteY5" fmla="*/ 0 h 6017419"/>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429000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429000 h 5157788"/>
              <a:gd name="connsiteX5" fmla="*/ 1710871 w 3869871"/>
              <a:gd name="connsiteY5" fmla="*/ 0 h 5157788"/>
              <a:gd name="connsiteX0" fmla="*/ 1704975 w 3863975"/>
              <a:gd name="connsiteY0" fmla="*/ 0 h 5157788"/>
              <a:gd name="connsiteX1" fmla="*/ 3863975 w 3863975"/>
              <a:gd name="connsiteY1" fmla="*/ 0 h 5157788"/>
              <a:gd name="connsiteX2" fmla="*/ 3863975 w 3863975"/>
              <a:gd name="connsiteY2" fmla="*/ 5157788 h 5157788"/>
              <a:gd name="connsiteX3" fmla="*/ 1704975 w 3863975"/>
              <a:gd name="connsiteY3" fmla="*/ 5157788 h 5157788"/>
              <a:gd name="connsiteX4" fmla="*/ 12700 w 3863975"/>
              <a:gd name="connsiteY4" fmla="*/ 3429000 h 5157788"/>
              <a:gd name="connsiteX5" fmla="*/ 1704975 w 3863975"/>
              <a:gd name="connsiteY5" fmla="*/ 0 h 5157788"/>
              <a:gd name="connsiteX0" fmla="*/ 1707243 w 3866243"/>
              <a:gd name="connsiteY0" fmla="*/ 0 h 5157788"/>
              <a:gd name="connsiteX1" fmla="*/ 3866243 w 3866243"/>
              <a:gd name="connsiteY1" fmla="*/ 0 h 5157788"/>
              <a:gd name="connsiteX2" fmla="*/ 3866243 w 3866243"/>
              <a:gd name="connsiteY2" fmla="*/ 5157788 h 5157788"/>
              <a:gd name="connsiteX3" fmla="*/ 1707243 w 3866243"/>
              <a:gd name="connsiteY3" fmla="*/ 5157788 h 5157788"/>
              <a:gd name="connsiteX4" fmla="*/ 14968 w 3866243"/>
              <a:gd name="connsiteY4" fmla="*/ 3429000 h 5157788"/>
              <a:gd name="connsiteX5" fmla="*/ 1707243 w 3866243"/>
              <a:gd name="connsiteY5" fmla="*/ 0 h 5157788"/>
              <a:gd name="connsiteX0" fmla="*/ 1130447 w 3866243"/>
              <a:gd name="connsiteY0" fmla="*/ 0 h 5157788"/>
              <a:gd name="connsiteX1" fmla="*/ 3866243 w 3866243"/>
              <a:gd name="connsiteY1" fmla="*/ 0 h 5157788"/>
              <a:gd name="connsiteX2" fmla="*/ 3866243 w 3866243"/>
              <a:gd name="connsiteY2" fmla="*/ 5157788 h 5157788"/>
              <a:gd name="connsiteX3" fmla="*/ 1707243 w 3866243"/>
              <a:gd name="connsiteY3" fmla="*/ 5157788 h 5157788"/>
              <a:gd name="connsiteX4" fmla="*/ 14968 w 3866243"/>
              <a:gd name="connsiteY4" fmla="*/ 3429000 h 5157788"/>
              <a:gd name="connsiteX5" fmla="*/ 1130447 w 3866243"/>
              <a:gd name="connsiteY5" fmla="*/ 0 h 5157788"/>
              <a:gd name="connsiteX0" fmla="*/ 2746143 w 5481939"/>
              <a:gd name="connsiteY0" fmla="*/ 0 h 5157788"/>
              <a:gd name="connsiteX1" fmla="*/ 5481939 w 5481939"/>
              <a:gd name="connsiteY1" fmla="*/ 0 h 5157788"/>
              <a:gd name="connsiteX2" fmla="*/ 5481939 w 5481939"/>
              <a:gd name="connsiteY2" fmla="*/ 5157788 h 5157788"/>
              <a:gd name="connsiteX3" fmla="*/ 585903 w 5481939"/>
              <a:gd name="connsiteY3" fmla="*/ 5153180 h 5157788"/>
              <a:gd name="connsiteX4" fmla="*/ 1630664 w 5481939"/>
              <a:gd name="connsiteY4" fmla="*/ 3429000 h 5157788"/>
              <a:gd name="connsiteX5" fmla="*/ 2746143 w 5481939"/>
              <a:gd name="connsiteY5" fmla="*/ 0 h 5157788"/>
              <a:gd name="connsiteX0" fmla="*/ 2746143 w 5481939"/>
              <a:gd name="connsiteY0" fmla="*/ 0 h 5157788"/>
              <a:gd name="connsiteX1" fmla="*/ 5481939 w 5481939"/>
              <a:gd name="connsiteY1" fmla="*/ 0 h 5157788"/>
              <a:gd name="connsiteX2" fmla="*/ 5481939 w 5481939"/>
              <a:gd name="connsiteY2" fmla="*/ 5157788 h 5157788"/>
              <a:gd name="connsiteX3" fmla="*/ 585903 w 5481939"/>
              <a:gd name="connsiteY3" fmla="*/ 5153180 h 5157788"/>
              <a:gd name="connsiteX4" fmla="*/ 1630664 w 5481939"/>
              <a:gd name="connsiteY4" fmla="*/ 3429000 h 5157788"/>
              <a:gd name="connsiteX5" fmla="*/ 2746143 w 548193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3574235 w 6310031"/>
              <a:gd name="connsiteY0" fmla="*/ 0 h 5157788"/>
              <a:gd name="connsiteX1" fmla="*/ 6310031 w 6310031"/>
              <a:gd name="connsiteY1" fmla="*/ 0 h 5157788"/>
              <a:gd name="connsiteX2" fmla="*/ 6310031 w 6310031"/>
              <a:gd name="connsiteY2" fmla="*/ 5157788 h 5157788"/>
              <a:gd name="connsiteX3" fmla="*/ 585903 w 6310031"/>
              <a:gd name="connsiteY3" fmla="*/ 5153180 h 5157788"/>
              <a:gd name="connsiteX4" fmla="*/ 1738031 w 6310031"/>
              <a:gd name="connsiteY4" fmla="*/ 3389965 h 5157788"/>
              <a:gd name="connsiteX5" fmla="*/ 3574235 w 6310031"/>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296143 w 5724128"/>
              <a:gd name="connsiteY4" fmla="*/ 3461908 h 5157788"/>
              <a:gd name="connsiteX5" fmla="*/ 2988332 w 5724128"/>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1188132 w 5760132"/>
              <a:gd name="connsiteY4" fmla="*/ 3425937 h 5157788"/>
              <a:gd name="connsiteX5" fmla="*/ 3024336 w 5760132"/>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2736304 w 5760132"/>
              <a:gd name="connsiteY4" fmla="*/ 3461908 h 5157788"/>
              <a:gd name="connsiteX5" fmla="*/ 3024336 w 5760132"/>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2736304 w 5760132"/>
              <a:gd name="connsiteY4" fmla="*/ 3461908 h 5157788"/>
              <a:gd name="connsiteX5" fmla="*/ 3024336 w 5760132"/>
              <a:gd name="connsiteY5" fmla="*/ 0 h 5157788"/>
              <a:gd name="connsiteX0" fmla="*/ 2160240 w 4896036"/>
              <a:gd name="connsiteY0" fmla="*/ 0 h 5157788"/>
              <a:gd name="connsiteX1" fmla="*/ 4896036 w 4896036"/>
              <a:gd name="connsiteY1" fmla="*/ 0 h 5157788"/>
              <a:gd name="connsiteX2" fmla="*/ 4896036 w 4896036"/>
              <a:gd name="connsiteY2" fmla="*/ 5157788 h 5157788"/>
              <a:gd name="connsiteX3" fmla="*/ 0 w 4896036"/>
              <a:gd name="connsiteY3" fmla="*/ 5153180 h 5157788"/>
              <a:gd name="connsiteX4" fmla="*/ 1872208 w 4896036"/>
              <a:gd name="connsiteY4" fmla="*/ 3461908 h 5157788"/>
              <a:gd name="connsiteX5" fmla="*/ 2160240 w 4896036"/>
              <a:gd name="connsiteY5" fmla="*/ 0 h 5157788"/>
              <a:gd name="connsiteX0" fmla="*/ 2232248 w 4968044"/>
              <a:gd name="connsiteY0" fmla="*/ 0 h 5157788"/>
              <a:gd name="connsiteX1" fmla="*/ 4968044 w 4968044"/>
              <a:gd name="connsiteY1" fmla="*/ 0 h 5157788"/>
              <a:gd name="connsiteX2" fmla="*/ 4968044 w 4968044"/>
              <a:gd name="connsiteY2" fmla="*/ 5157788 h 5157788"/>
              <a:gd name="connsiteX3" fmla="*/ 0 w 4968044"/>
              <a:gd name="connsiteY3" fmla="*/ 5153180 h 5157788"/>
              <a:gd name="connsiteX4" fmla="*/ 1944216 w 4968044"/>
              <a:gd name="connsiteY4" fmla="*/ 3461908 h 5157788"/>
              <a:gd name="connsiteX5" fmla="*/ 2232248 w 4968044"/>
              <a:gd name="connsiteY5" fmla="*/ 0 h 5157788"/>
              <a:gd name="connsiteX0" fmla="*/ 2207679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207679 w 4943475"/>
              <a:gd name="connsiteY5" fmla="*/ 0 h 5157788"/>
              <a:gd name="connsiteX0" fmla="*/ 2963763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963763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092200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71575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343583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675731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675731 w 4943475"/>
              <a:gd name="connsiteY5" fmla="*/ 0 h 5157788"/>
              <a:gd name="connsiteX0" fmla="*/ 2675731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675731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9672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19672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51412" h="5157788">
                <a:moveTo>
                  <a:pt x="2706687" y="0"/>
                </a:moveTo>
                <a:lnTo>
                  <a:pt x="4951412" y="0"/>
                </a:lnTo>
                <a:lnTo>
                  <a:pt x="4951412" y="5157788"/>
                </a:lnTo>
                <a:lnTo>
                  <a:pt x="0" y="5153180"/>
                </a:lnTo>
                <a:cubicBezTo>
                  <a:pt x="84411" y="4542509"/>
                  <a:pt x="183041" y="4024723"/>
                  <a:pt x="1243508" y="2562613"/>
                </a:cubicBezTo>
                <a:cubicBezTo>
                  <a:pt x="1867447" y="1704780"/>
                  <a:pt x="2665955" y="709265"/>
                  <a:pt x="2706687" y="0"/>
                </a:cubicBezTo>
                <a:close/>
              </a:path>
            </a:pathLst>
          </a:custGeom>
          <a:solidFill>
            <a:schemeClr val="bg2"/>
          </a:solidFill>
          <a:ln w="3175">
            <a:noFill/>
          </a:ln>
        </p:spPr>
        <p:txBody>
          <a:bodyPr tIns="720000" rtlCol="0" anchor="ctr">
            <a:noAutofit/>
          </a:bodyPr>
          <a:lstStyle>
            <a:lvl1pPr algn="ctr">
              <a:defRPr sz="1500">
                <a:solidFill>
                  <a:schemeClr val="bg1"/>
                </a:solidFill>
              </a:defRPr>
            </a:lvl1pPr>
          </a:lstStyle>
          <a:p>
            <a:pPr lvl="0"/>
            <a:r>
              <a:rPr lang="en-US" noProof="0"/>
              <a:t>Click icon to add picture</a:t>
            </a:r>
          </a:p>
        </p:txBody>
      </p:sp>
      <p:sp>
        <p:nvSpPr>
          <p:cNvPr id="11" name="Espace réservé de la date 9"/>
          <p:cNvSpPr>
            <a:spLocks noGrp="1"/>
          </p:cNvSpPr>
          <p:nvPr>
            <p:ph type="dt" sz="half" idx="20"/>
          </p:nvPr>
        </p:nvSpPr>
        <p:spPr/>
        <p:txBody>
          <a:bodyPr/>
          <a:lstStyle>
            <a:lvl1pPr>
              <a:defRPr/>
            </a:lvl1pPr>
          </a:lstStyle>
          <a:p>
            <a:pPr>
              <a:defRPr/>
            </a:pPr>
            <a:r>
              <a:rPr lang="en-US">
                <a:solidFill>
                  <a:prstClr val="white">
                    <a:alpha val="0"/>
                  </a:prstClr>
                </a:solidFill>
              </a:rPr>
              <a:t>Date</a:t>
            </a:r>
          </a:p>
        </p:txBody>
      </p:sp>
      <p:sp>
        <p:nvSpPr>
          <p:cNvPr id="12" name="Espace réservé du numéro de diapositive 10"/>
          <p:cNvSpPr>
            <a:spLocks noGrp="1"/>
          </p:cNvSpPr>
          <p:nvPr>
            <p:ph type="sldNum" sz="quarter" idx="21"/>
          </p:nvPr>
        </p:nvSpPr>
        <p:spPr/>
        <p:txBody>
          <a:bodyPr/>
          <a:lstStyle>
            <a:lvl1pPr>
              <a:defRPr sz="100">
                <a:solidFill>
                  <a:schemeClr val="bg1">
                    <a:alpha val="0"/>
                  </a:schemeClr>
                </a:solidFill>
              </a:defRPr>
            </a:lvl1pPr>
          </a:lstStyle>
          <a:p>
            <a:pPr>
              <a:defRPr/>
            </a:pPr>
            <a:r>
              <a:rPr lang="en-US">
                <a:solidFill>
                  <a:prstClr val="white">
                    <a:alpha val="0"/>
                  </a:prstClr>
                </a:solidFill>
              </a:rPr>
              <a:t>Page: </a:t>
            </a:r>
            <a:fld id="{168EB3F5-198F-4211-80D0-E690EB6CEA77}" type="slidenum">
              <a:rPr lang="en-US">
                <a:solidFill>
                  <a:prstClr val="white">
                    <a:alpha val="0"/>
                  </a:prstClr>
                </a:solidFill>
              </a:rPr>
              <a:pPr>
                <a:defRPr/>
              </a:pPr>
              <a:t>‹#›</a:t>
            </a:fld>
            <a:endParaRPr lang="en-US">
              <a:solidFill>
                <a:prstClr val="white">
                  <a:alpha val="0"/>
                </a:prstClr>
              </a:solidFill>
            </a:endParaRPr>
          </a:p>
        </p:txBody>
      </p:sp>
      <p:sp>
        <p:nvSpPr>
          <p:cNvPr id="14" name="Espace réservé du pied de page 11"/>
          <p:cNvSpPr>
            <a:spLocks noGrp="1"/>
          </p:cNvSpPr>
          <p:nvPr>
            <p:ph type="ftr" sz="quarter" idx="22"/>
          </p:nvPr>
        </p:nvSpPr>
        <p:spPr>
          <a:xfrm>
            <a:off x="468313" y="523875"/>
            <a:ext cx="4824412" cy="360363"/>
          </a:xfrm>
        </p:spPr>
        <p:txBody>
          <a:bodyPr/>
          <a:lstStyle>
            <a:lvl1pPr algn="l">
              <a:defRPr sz="1800" b="0">
                <a:solidFill>
                  <a:schemeClr val="bg1"/>
                </a:solidFill>
              </a:defRPr>
            </a:lvl1pPr>
          </a:lstStyle>
          <a:p>
            <a:pPr>
              <a:defRPr/>
            </a:pPr>
            <a:r>
              <a:rPr lang="en-US">
                <a:solidFill>
                  <a:prstClr val="white"/>
                </a:solidFill>
              </a:rPr>
              <a:t>#</a:t>
            </a:r>
            <a:r>
              <a:rPr lang="en-US" err="1">
                <a:solidFill>
                  <a:prstClr val="white"/>
                </a:solidFill>
              </a:rPr>
              <a:t>vaccineswork</a:t>
            </a:r>
            <a:endParaRPr lang="en-US">
              <a:solidFill>
                <a:prstClr val="white"/>
              </a:solidFill>
            </a:endParaRPr>
          </a:p>
        </p:txBody>
      </p:sp>
    </p:spTree>
    <p:extLst>
      <p:ext uri="{BB962C8B-B14F-4D97-AF65-F5344CB8AC3E}">
        <p14:creationId xmlns:p14="http://schemas.microsoft.com/office/powerpoint/2010/main" val="1829787011"/>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userDrawn="1">
  <p:cSld name="Text and Visual">
    <p:spTree>
      <p:nvGrpSpPr>
        <p:cNvPr id="1" name=""/>
        <p:cNvGrpSpPr/>
        <p:nvPr/>
      </p:nvGrpSpPr>
      <p:grpSpPr>
        <a:xfrm>
          <a:off x="0" y="0"/>
          <a:ext cx="0" cy="0"/>
          <a:chOff x="0" y="0"/>
          <a:chExt cx="0" cy="0"/>
        </a:xfrm>
      </p:grpSpPr>
      <p:sp>
        <p:nvSpPr>
          <p:cNvPr id="2" name="Title 1"/>
          <p:cNvSpPr>
            <a:spLocks noGrp="1"/>
          </p:cNvSpPr>
          <p:nvPr>
            <p:ph type="title"/>
          </p:nvPr>
        </p:nvSpPr>
        <p:spPr>
          <a:xfrm>
            <a:off x="973138" y="225211"/>
            <a:ext cx="7207249" cy="697999"/>
          </a:xfrm>
        </p:spPr>
        <p:txBody>
          <a:bodyPr/>
          <a:lstStyle/>
          <a:p>
            <a:r>
              <a:rPr lang="en-US"/>
              <a:t>Click to edit Master title style</a:t>
            </a:r>
          </a:p>
        </p:txBody>
      </p:sp>
      <p:sp>
        <p:nvSpPr>
          <p:cNvPr id="4" name="Content Placeholder 3"/>
          <p:cNvSpPr>
            <a:spLocks noGrp="1"/>
          </p:cNvSpPr>
          <p:nvPr>
            <p:ph sz="half" idx="2"/>
          </p:nvPr>
        </p:nvSpPr>
        <p:spPr>
          <a:xfrm>
            <a:off x="3425825" y="2302159"/>
            <a:ext cx="4754564" cy="2541673"/>
          </a:xfrm>
        </p:spPr>
        <p:txBody>
          <a:bodyPr/>
          <a:lstStyle>
            <a:lvl1pPr>
              <a:defRPr sz="1600"/>
            </a:lvl1pPr>
            <a:lvl2pPr marL="457200" indent="0">
              <a:buNone/>
              <a:defRPr sz="1600"/>
            </a:lvl2pPr>
            <a:lvl3pPr marL="914400" indent="0">
              <a:buNone/>
              <a:defRPr sz="1600"/>
            </a:lvl3pPr>
            <a:lvl4pPr marL="1371600" indent="0">
              <a:buNone/>
              <a:defRPr sz="1600"/>
            </a:lvl4pPr>
            <a:lvl5pPr marL="1828800" indent="0">
              <a:buNone/>
              <a:defRPr sz="16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p:cNvSpPr>
            <a:spLocks noGrp="1"/>
          </p:cNvSpPr>
          <p:nvPr>
            <p:ph type="pic" sz="quarter" idx="13"/>
          </p:nvPr>
        </p:nvSpPr>
        <p:spPr>
          <a:xfrm>
            <a:off x="973138" y="1247776"/>
            <a:ext cx="2300287" cy="3450384"/>
          </a:xfrm>
        </p:spPr>
        <p:txBody>
          <a:bodyPr rtlCol="0">
            <a:noAutofit/>
          </a:bodyPr>
          <a:lstStyle/>
          <a:p>
            <a:pPr lvl="0"/>
            <a:endParaRPr lang="en-US" noProof="0"/>
          </a:p>
        </p:txBody>
      </p:sp>
      <p:sp>
        <p:nvSpPr>
          <p:cNvPr id="10" name="Content Placeholder 3"/>
          <p:cNvSpPr>
            <a:spLocks noGrp="1"/>
          </p:cNvSpPr>
          <p:nvPr>
            <p:ph sz="half" idx="14"/>
          </p:nvPr>
        </p:nvSpPr>
        <p:spPr>
          <a:xfrm>
            <a:off x="3425825" y="1241426"/>
            <a:ext cx="4754564" cy="879316"/>
          </a:xfrm>
        </p:spPr>
        <p:txBody>
          <a:bodyPr/>
          <a:lstStyle>
            <a:lvl1pPr marL="0" indent="0">
              <a:buNone/>
              <a:defRPr sz="1600">
                <a:solidFill>
                  <a:srgbClr val="005CB9"/>
                </a:solidFill>
              </a:defRPr>
            </a:lvl1pPr>
            <a:lvl2pPr marL="457200" indent="0">
              <a:buNone/>
              <a:defRPr sz="1400">
                <a:solidFill>
                  <a:srgbClr val="005CB9"/>
                </a:solidFill>
              </a:defRPr>
            </a:lvl2pPr>
            <a:lvl3pPr marL="914400" indent="0">
              <a:buNone/>
              <a:defRPr sz="1400">
                <a:solidFill>
                  <a:srgbClr val="005CB9"/>
                </a:solidFill>
              </a:defRPr>
            </a:lvl3pPr>
            <a:lvl4pPr marL="1371600" indent="0">
              <a:buNone/>
              <a:defRPr sz="1400">
                <a:solidFill>
                  <a:srgbClr val="005CB9"/>
                </a:solidFill>
              </a:defRPr>
            </a:lvl4pPr>
            <a:lvl5pPr marL="1828800" indent="0">
              <a:buNone/>
              <a:defRPr sz="1400">
                <a:solidFill>
                  <a:srgbClr val="005CB9"/>
                </a:solidFill>
              </a:defRPr>
            </a:lvl5pPr>
            <a:lvl6pPr>
              <a:defRPr sz="1800"/>
            </a:lvl6pPr>
            <a:lvl7pPr>
              <a:defRPr sz="1800"/>
            </a:lvl7pPr>
            <a:lvl8pPr>
              <a:defRPr sz="1800"/>
            </a:lvl8pPr>
            <a:lvl9pPr>
              <a:defRPr sz="1800"/>
            </a:lvl9pPr>
          </a:lstStyle>
          <a:p>
            <a:pPr lvl="0"/>
            <a:r>
              <a:rPr lang="en-US"/>
              <a:t>Click to edit Master text styles</a:t>
            </a:r>
          </a:p>
        </p:txBody>
      </p:sp>
      <p:sp>
        <p:nvSpPr>
          <p:cNvPr id="6" name="Footer Placeholder 5"/>
          <p:cNvSpPr>
            <a:spLocks noGrp="1"/>
          </p:cNvSpPr>
          <p:nvPr>
            <p:ph type="ftr" sz="quarter" idx="15"/>
          </p:nvPr>
        </p:nvSpPr>
        <p:spPr/>
        <p:txBody>
          <a:bodyPr/>
          <a:lstStyle>
            <a:lvl1pPr>
              <a:defRPr/>
            </a:lvl1pPr>
          </a:lstStyle>
          <a:p>
            <a:pPr>
              <a:defRPr/>
            </a:pPr>
            <a:r>
              <a:rPr lang="en-US">
                <a:solidFill>
                  <a:srgbClr val="005CB9"/>
                </a:solidFill>
              </a:rPr>
              <a:t>Basic facts about </a:t>
            </a:r>
            <a:r>
              <a:rPr lang="en-US" err="1">
                <a:solidFill>
                  <a:srgbClr val="005CB9"/>
                </a:solidFill>
              </a:rPr>
              <a:t>Gavi</a:t>
            </a:r>
            <a:r>
              <a:rPr lang="en-US">
                <a:solidFill>
                  <a:srgbClr val="005CB9"/>
                </a:solidFill>
              </a:rPr>
              <a:t> the Vaccine Alliance</a:t>
            </a:r>
          </a:p>
        </p:txBody>
      </p:sp>
      <p:sp>
        <p:nvSpPr>
          <p:cNvPr id="7" name="Slide Number Placeholder 6"/>
          <p:cNvSpPr>
            <a:spLocks noGrp="1"/>
          </p:cNvSpPr>
          <p:nvPr>
            <p:ph type="sldNum" sz="quarter" idx="16"/>
          </p:nvPr>
        </p:nvSpPr>
        <p:spPr/>
        <p:txBody>
          <a:bodyPr/>
          <a:lstStyle>
            <a:lvl1pPr algn="ctr">
              <a:defRPr/>
            </a:lvl1pPr>
          </a:lstStyle>
          <a:p>
            <a:pPr>
              <a:defRPr/>
            </a:pPr>
            <a:fld id="{FFE8DD00-E6C1-42A5-A44D-4115350A5429}" type="slidenum">
              <a:rPr lang="en-US">
                <a:solidFill>
                  <a:srgbClr val="343434"/>
                </a:solidFill>
              </a:rPr>
              <a:pPr>
                <a:defRPr/>
              </a:pPr>
              <a:t>‹#›</a:t>
            </a:fld>
            <a:endParaRPr lang="en-US">
              <a:solidFill>
                <a:srgbClr val="343434"/>
              </a:solidFill>
            </a:endParaRPr>
          </a:p>
        </p:txBody>
      </p:sp>
    </p:spTree>
    <p:extLst>
      <p:ext uri="{BB962C8B-B14F-4D97-AF65-F5344CB8AC3E}">
        <p14:creationId xmlns:p14="http://schemas.microsoft.com/office/powerpoint/2010/main" val="1431589501"/>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userDrawn="1">
  <p:cSld name="Text&amp;4_Blocks_Layout">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p:txBody>
          <a:bodyPr/>
          <a:lstStyle/>
          <a:p>
            <a:r>
              <a:rPr lang="en-GB" noProof="0"/>
              <a:t>TITLE</a:t>
            </a:r>
          </a:p>
        </p:txBody>
      </p:sp>
      <p:sp>
        <p:nvSpPr>
          <p:cNvPr id="10" name="Espace réservé du texte 9"/>
          <p:cNvSpPr>
            <a:spLocks noGrp="1"/>
          </p:cNvSpPr>
          <p:nvPr>
            <p:ph type="body" sz="quarter" idx="13" hasCustomPrompt="1"/>
          </p:nvPr>
        </p:nvSpPr>
        <p:spPr bwMode="gray">
          <a:xfrm>
            <a:off x="935038" y="1304924"/>
            <a:ext cx="7345362" cy="936626"/>
          </a:xfrm>
        </p:spPr>
        <p:txBody>
          <a:body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8" name="Espace réservé de la date 7"/>
          <p:cNvSpPr>
            <a:spLocks noGrp="1"/>
          </p:cNvSpPr>
          <p:nvPr>
            <p:ph type="dt" sz="half" idx="14"/>
          </p:nvPr>
        </p:nvSpPr>
        <p:spPr bwMode="gray"/>
        <p:txBody>
          <a:bodyPr/>
          <a:lstStyle/>
          <a:p>
            <a:r>
              <a:rPr lang="en-US">
                <a:solidFill>
                  <a:prstClr val="white">
                    <a:alpha val="0"/>
                  </a:prstClr>
                </a:solidFill>
              </a:rPr>
              <a:t>Date</a:t>
            </a:r>
            <a:endParaRPr lang="en-GB">
              <a:solidFill>
                <a:prstClr val="white">
                  <a:alpha val="0"/>
                </a:prstClr>
              </a:solidFill>
            </a:endParaRPr>
          </a:p>
        </p:txBody>
      </p:sp>
      <p:sp>
        <p:nvSpPr>
          <p:cNvPr id="9" name="Espace réservé du numéro de diapositive 8"/>
          <p:cNvSpPr>
            <a:spLocks noGrp="1"/>
          </p:cNvSpPr>
          <p:nvPr>
            <p:ph type="sldNum" sz="quarter" idx="15"/>
          </p:nvPr>
        </p:nvSpPr>
        <p:spPr bwMode="gray"/>
        <p:txBody>
          <a:bodyPr/>
          <a:lstStyle/>
          <a:p>
            <a:fld id="{733122C9-A0B9-462F-8757-0847AD287B63}" type="slidenum">
              <a:rPr lang="en-GB" smtClean="0">
                <a:solidFill>
                  <a:srgbClr val="343434"/>
                </a:solidFill>
              </a:rPr>
              <a:pPr/>
              <a:t>‹#›</a:t>
            </a:fld>
            <a:endParaRPr lang="en-GB">
              <a:solidFill>
                <a:srgbClr val="343434"/>
              </a:solidFill>
            </a:endParaRPr>
          </a:p>
        </p:txBody>
      </p:sp>
      <p:sp>
        <p:nvSpPr>
          <p:cNvPr id="11" name="Espace réservé du pied de page 10"/>
          <p:cNvSpPr>
            <a:spLocks noGrp="1"/>
          </p:cNvSpPr>
          <p:nvPr>
            <p:ph type="ftr" sz="quarter" idx="16"/>
          </p:nvPr>
        </p:nvSpPr>
        <p:spPr bwMode="gray"/>
        <p:txBody>
          <a:bodyPr/>
          <a:lstStyle/>
          <a:p>
            <a:r>
              <a:rPr lang="en-GB">
                <a:solidFill>
                  <a:srgbClr val="005CB9"/>
                </a:solidFill>
              </a:rPr>
              <a:t>#vaccineswork</a:t>
            </a:r>
          </a:p>
        </p:txBody>
      </p:sp>
      <p:sp>
        <p:nvSpPr>
          <p:cNvPr id="21" name="Espace réservé du texte 9"/>
          <p:cNvSpPr>
            <a:spLocks noGrp="1"/>
          </p:cNvSpPr>
          <p:nvPr>
            <p:ph type="body" sz="quarter" idx="19" hasCustomPrompt="1"/>
          </p:nvPr>
        </p:nvSpPr>
        <p:spPr bwMode="gray">
          <a:xfrm>
            <a:off x="935038" y="2241550"/>
            <a:ext cx="3564000" cy="324000"/>
          </a:xfrm>
          <a:solidFill>
            <a:schemeClr val="accent1"/>
          </a:solidFill>
          <a:ln w="9525">
            <a:solidFill>
              <a:schemeClr val="accent1"/>
            </a:solidFill>
          </a:ln>
        </p:spPr>
        <p:txBody>
          <a:bodyPr anchor="ctr" anchorCtr="0"/>
          <a:lstStyle>
            <a:lvl1pPr algn="ctr">
              <a:lnSpc>
                <a:spcPct val="100000"/>
              </a:lnSpc>
              <a:defRPr>
                <a:solidFill>
                  <a:schemeClr val="bg1"/>
                </a:solidFill>
              </a:defRPr>
            </a:lvl1pPr>
          </a:lstStyle>
          <a:p>
            <a:pPr lvl="0"/>
            <a:r>
              <a:rPr lang="en-GB" noProof="0"/>
              <a:t>Text level 1</a:t>
            </a:r>
          </a:p>
        </p:txBody>
      </p:sp>
      <p:sp>
        <p:nvSpPr>
          <p:cNvPr id="22" name="Espace réservé du texte 9"/>
          <p:cNvSpPr>
            <a:spLocks noGrp="1"/>
          </p:cNvSpPr>
          <p:nvPr>
            <p:ph type="body" sz="quarter" idx="20" hasCustomPrompt="1"/>
          </p:nvPr>
        </p:nvSpPr>
        <p:spPr bwMode="gray">
          <a:xfrm>
            <a:off x="935038" y="2565550"/>
            <a:ext cx="3564000" cy="1350000"/>
          </a:xfrm>
          <a:ln w="9525">
            <a:solidFill>
              <a:schemeClr val="accent1"/>
            </a:solidFill>
          </a:ln>
        </p:spPr>
        <p:txBody>
          <a:bodyPr tIns="72000"/>
          <a:lstStyle>
            <a:lvl1pPr marL="324000" indent="-180000">
              <a:lnSpc>
                <a:spcPct val="100000"/>
              </a:lnSpc>
              <a:spcBef>
                <a:spcPts val="300"/>
              </a:spcBef>
              <a:buClr>
                <a:schemeClr val="accent3"/>
              </a:buClr>
              <a:buFont typeface="Arial" pitchFamily="34" charset="0"/>
              <a:buChar char="•"/>
              <a:defRPr sz="1800">
                <a:solidFill>
                  <a:schemeClr val="tx1"/>
                </a:solidFill>
              </a:defRPr>
            </a:lvl1pPr>
            <a:lvl2pPr marL="504000">
              <a:buClr>
                <a:schemeClr val="tx1"/>
              </a:buClr>
              <a:defRPr sz="1600" b="0"/>
            </a:lvl2pPr>
            <a:lvl3pPr indent="0">
              <a:buNone/>
              <a:defRPr/>
            </a:lvl3pPr>
            <a:lvl4pPr marL="684000" indent="-180000">
              <a:buClr>
                <a:schemeClr val="tx1"/>
              </a:buClr>
              <a:buFont typeface="Arial" pitchFamily="34" charset="0"/>
              <a:buChar char="•"/>
              <a:defRPr sz="1400"/>
            </a:lvl4pPr>
          </a:lstStyle>
          <a:p>
            <a:pPr lvl="0"/>
            <a:r>
              <a:rPr lang="en-GB" noProof="0"/>
              <a:t>Text level 2</a:t>
            </a:r>
          </a:p>
          <a:p>
            <a:pPr lvl="1"/>
            <a:r>
              <a:rPr lang="en-GB" noProof="0"/>
              <a:t>Text level 3</a:t>
            </a:r>
          </a:p>
          <a:p>
            <a:pPr lvl="2"/>
            <a:r>
              <a:rPr lang="en-GB" noProof="0"/>
              <a:t>Text level 4</a:t>
            </a:r>
          </a:p>
          <a:p>
            <a:pPr lvl="3"/>
            <a:r>
              <a:rPr lang="en-GB" noProof="0"/>
              <a:t>Text level 5</a:t>
            </a:r>
          </a:p>
        </p:txBody>
      </p:sp>
      <p:sp>
        <p:nvSpPr>
          <p:cNvPr id="23" name="Espace réservé du texte 9"/>
          <p:cNvSpPr>
            <a:spLocks noGrp="1"/>
          </p:cNvSpPr>
          <p:nvPr>
            <p:ph type="body" sz="quarter" idx="21" hasCustomPrompt="1"/>
          </p:nvPr>
        </p:nvSpPr>
        <p:spPr bwMode="gray">
          <a:xfrm>
            <a:off x="4716400" y="2241550"/>
            <a:ext cx="3564000" cy="324000"/>
          </a:xfrm>
          <a:solidFill>
            <a:schemeClr val="accent2"/>
          </a:solidFill>
          <a:ln w="9525">
            <a:solidFill>
              <a:schemeClr val="accent2"/>
            </a:solidFill>
          </a:ln>
        </p:spPr>
        <p:txBody>
          <a:bodyPr anchor="ctr" anchorCtr="0"/>
          <a:lstStyle>
            <a:lvl1pPr algn="ctr">
              <a:lnSpc>
                <a:spcPct val="100000"/>
              </a:lnSpc>
              <a:defRPr>
                <a:solidFill>
                  <a:schemeClr val="bg1"/>
                </a:solidFill>
              </a:defRPr>
            </a:lvl1pPr>
          </a:lstStyle>
          <a:p>
            <a:pPr lvl="0"/>
            <a:r>
              <a:rPr lang="en-GB" noProof="0"/>
              <a:t>Text level 1</a:t>
            </a:r>
          </a:p>
        </p:txBody>
      </p:sp>
      <p:sp>
        <p:nvSpPr>
          <p:cNvPr id="24" name="Espace réservé du texte 9"/>
          <p:cNvSpPr>
            <a:spLocks noGrp="1"/>
          </p:cNvSpPr>
          <p:nvPr>
            <p:ph type="body" sz="quarter" idx="22" hasCustomPrompt="1"/>
          </p:nvPr>
        </p:nvSpPr>
        <p:spPr bwMode="gray">
          <a:xfrm>
            <a:off x="4716400" y="2565550"/>
            <a:ext cx="3564000" cy="1350000"/>
          </a:xfrm>
          <a:ln w="9525">
            <a:solidFill>
              <a:schemeClr val="accent2"/>
            </a:solidFill>
          </a:ln>
        </p:spPr>
        <p:txBody>
          <a:bodyPr tIns="72000"/>
          <a:lstStyle>
            <a:lvl1pPr marL="324000" indent="-180000">
              <a:lnSpc>
                <a:spcPct val="100000"/>
              </a:lnSpc>
              <a:spcBef>
                <a:spcPts val="300"/>
              </a:spcBef>
              <a:buClr>
                <a:schemeClr val="accent3"/>
              </a:buClr>
              <a:buFont typeface="Arial" pitchFamily="34" charset="0"/>
              <a:buChar char="•"/>
              <a:defRPr sz="1800">
                <a:solidFill>
                  <a:schemeClr val="tx1"/>
                </a:solidFill>
              </a:defRPr>
            </a:lvl1pPr>
            <a:lvl2pPr marL="504000">
              <a:buClr>
                <a:schemeClr val="tx1"/>
              </a:buClr>
              <a:defRPr sz="1600" b="0"/>
            </a:lvl2pPr>
            <a:lvl3pPr indent="0">
              <a:buNone/>
              <a:defRPr/>
            </a:lvl3pPr>
            <a:lvl4pPr marL="684000" indent="-180000">
              <a:buClr>
                <a:schemeClr val="tx1"/>
              </a:buClr>
              <a:buFont typeface="Arial" pitchFamily="34" charset="0"/>
              <a:buChar char="•"/>
              <a:defRPr sz="1400"/>
            </a:lvl4pPr>
          </a:lstStyle>
          <a:p>
            <a:pPr lvl="0"/>
            <a:r>
              <a:rPr lang="en-GB" noProof="0"/>
              <a:t>Text level 2</a:t>
            </a:r>
          </a:p>
          <a:p>
            <a:pPr lvl="1"/>
            <a:r>
              <a:rPr lang="en-GB" noProof="0"/>
              <a:t>Text level 3</a:t>
            </a:r>
          </a:p>
          <a:p>
            <a:pPr lvl="2"/>
            <a:r>
              <a:rPr lang="en-GB" noProof="0"/>
              <a:t>Text level 4</a:t>
            </a:r>
          </a:p>
          <a:p>
            <a:pPr lvl="3"/>
            <a:r>
              <a:rPr lang="en-GB" noProof="0"/>
              <a:t>Text level 5</a:t>
            </a:r>
          </a:p>
        </p:txBody>
      </p:sp>
      <p:sp>
        <p:nvSpPr>
          <p:cNvPr id="25" name="Espace réservé du texte 9"/>
          <p:cNvSpPr>
            <a:spLocks noGrp="1"/>
          </p:cNvSpPr>
          <p:nvPr>
            <p:ph type="body" sz="quarter" idx="23" hasCustomPrompt="1"/>
          </p:nvPr>
        </p:nvSpPr>
        <p:spPr bwMode="gray">
          <a:xfrm>
            <a:off x="935038" y="4131488"/>
            <a:ext cx="3564000" cy="324000"/>
          </a:xfrm>
          <a:solidFill>
            <a:schemeClr val="accent3"/>
          </a:solidFill>
          <a:ln w="9525">
            <a:solidFill>
              <a:schemeClr val="accent3"/>
            </a:solidFill>
          </a:ln>
        </p:spPr>
        <p:txBody>
          <a:bodyPr anchor="ctr" anchorCtr="0"/>
          <a:lstStyle>
            <a:lvl1pPr algn="ctr">
              <a:lnSpc>
                <a:spcPct val="100000"/>
              </a:lnSpc>
              <a:defRPr>
                <a:solidFill>
                  <a:schemeClr val="bg1"/>
                </a:solidFill>
              </a:defRPr>
            </a:lvl1pPr>
          </a:lstStyle>
          <a:p>
            <a:pPr lvl="0"/>
            <a:r>
              <a:rPr lang="en-GB" noProof="0"/>
              <a:t>Text level 1</a:t>
            </a:r>
          </a:p>
        </p:txBody>
      </p:sp>
      <p:sp>
        <p:nvSpPr>
          <p:cNvPr id="26" name="Espace réservé du texte 9"/>
          <p:cNvSpPr>
            <a:spLocks noGrp="1"/>
          </p:cNvSpPr>
          <p:nvPr>
            <p:ph type="body" sz="quarter" idx="24" hasCustomPrompt="1"/>
          </p:nvPr>
        </p:nvSpPr>
        <p:spPr bwMode="gray">
          <a:xfrm>
            <a:off x="935038" y="4455488"/>
            <a:ext cx="3564000" cy="1350000"/>
          </a:xfrm>
          <a:ln w="9525">
            <a:solidFill>
              <a:schemeClr val="accent3"/>
            </a:solidFill>
          </a:ln>
        </p:spPr>
        <p:txBody>
          <a:bodyPr tIns="72000"/>
          <a:lstStyle>
            <a:lvl1pPr marL="324000" indent="-180000">
              <a:lnSpc>
                <a:spcPct val="100000"/>
              </a:lnSpc>
              <a:spcBef>
                <a:spcPts val="300"/>
              </a:spcBef>
              <a:buClr>
                <a:schemeClr val="accent3"/>
              </a:buClr>
              <a:buFont typeface="Arial" pitchFamily="34" charset="0"/>
              <a:buChar char="•"/>
              <a:defRPr sz="1800">
                <a:solidFill>
                  <a:schemeClr val="tx1"/>
                </a:solidFill>
              </a:defRPr>
            </a:lvl1pPr>
            <a:lvl2pPr marL="504000">
              <a:buClr>
                <a:schemeClr val="tx1"/>
              </a:buClr>
              <a:defRPr sz="1600" b="0"/>
            </a:lvl2pPr>
            <a:lvl3pPr indent="0">
              <a:buNone/>
              <a:defRPr/>
            </a:lvl3pPr>
            <a:lvl4pPr marL="684000" indent="-180000">
              <a:buClr>
                <a:schemeClr val="tx1"/>
              </a:buClr>
              <a:buFont typeface="Arial" pitchFamily="34" charset="0"/>
              <a:buChar char="•"/>
              <a:defRPr sz="1400"/>
            </a:lvl4pPr>
          </a:lstStyle>
          <a:p>
            <a:pPr lvl="0"/>
            <a:r>
              <a:rPr lang="en-GB" noProof="0"/>
              <a:t>Text level 2</a:t>
            </a:r>
          </a:p>
          <a:p>
            <a:pPr lvl="1"/>
            <a:r>
              <a:rPr lang="en-GB" noProof="0"/>
              <a:t>Text level 3</a:t>
            </a:r>
          </a:p>
          <a:p>
            <a:pPr lvl="2"/>
            <a:r>
              <a:rPr lang="en-GB" noProof="0"/>
              <a:t>Text level 4</a:t>
            </a:r>
          </a:p>
          <a:p>
            <a:pPr lvl="3"/>
            <a:r>
              <a:rPr lang="en-GB" noProof="0"/>
              <a:t>Text level 5</a:t>
            </a:r>
          </a:p>
        </p:txBody>
      </p:sp>
      <p:sp>
        <p:nvSpPr>
          <p:cNvPr id="27" name="Espace réservé du texte 9"/>
          <p:cNvSpPr>
            <a:spLocks noGrp="1"/>
          </p:cNvSpPr>
          <p:nvPr>
            <p:ph type="body" sz="quarter" idx="25" hasCustomPrompt="1"/>
          </p:nvPr>
        </p:nvSpPr>
        <p:spPr bwMode="gray">
          <a:xfrm>
            <a:off x="4716400" y="4131488"/>
            <a:ext cx="3564000" cy="324000"/>
          </a:xfrm>
          <a:solidFill>
            <a:schemeClr val="bg2"/>
          </a:solidFill>
          <a:ln w="9525">
            <a:solidFill>
              <a:schemeClr val="bg2"/>
            </a:solidFill>
          </a:ln>
        </p:spPr>
        <p:txBody>
          <a:bodyPr anchor="ctr" anchorCtr="0"/>
          <a:lstStyle>
            <a:lvl1pPr algn="ctr">
              <a:lnSpc>
                <a:spcPct val="100000"/>
              </a:lnSpc>
              <a:defRPr>
                <a:solidFill>
                  <a:schemeClr val="bg1"/>
                </a:solidFill>
              </a:defRPr>
            </a:lvl1pPr>
          </a:lstStyle>
          <a:p>
            <a:pPr lvl="0"/>
            <a:r>
              <a:rPr lang="en-GB" noProof="0"/>
              <a:t>Text level 1</a:t>
            </a:r>
          </a:p>
        </p:txBody>
      </p:sp>
      <p:sp>
        <p:nvSpPr>
          <p:cNvPr id="28" name="Espace réservé du texte 9"/>
          <p:cNvSpPr>
            <a:spLocks noGrp="1"/>
          </p:cNvSpPr>
          <p:nvPr>
            <p:ph type="body" sz="quarter" idx="26" hasCustomPrompt="1"/>
          </p:nvPr>
        </p:nvSpPr>
        <p:spPr bwMode="gray">
          <a:xfrm>
            <a:off x="4716400" y="4455488"/>
            <a:ext cx="3564000" cy="1350000"/>
          </a:xfrm>
          <a:ln w="9525">
            <a:solidFill>
              <a:schemeClr val="bg2"/>
            </a:solidFill>
          </a:ln>
        </p:spPr>
        <p:txBody>
          <a:bodyPr tIns="72000"/>
          <a:lstStyle>
            <a:lvl1pPr marL="324000" indent="-180000">
              <a:lnSpc>
                <a:spcPct val="100000"/>
              </a:lnSpc>
              <a:spcBef>
                <a:spcPts val="300"/>
              </a:spcBef>
              <a:buClr>
                <a:schemeClr val="accent3"/>
              </a:buClr>
              <a:buFont typeface="Arial" pitchFamily="34" charset="0"/>
              <a:buChar char="•"/>
              <a:defRPr sz="1800">
                <a:solidFill>
                  <a:schemeClr val="tx1"/>
                </a:solidFill>
              </a:defRPr>
            </a:lvl1pPr>
            <a:lvl2pPr marL="504000">
              <a:buClr>
                <a:schemeClr val="tx1"/>
              </a:buClr>
              <a:defRPr sz="1600" b="0"/>
            </a:lvl2pPr>
            <a:lvl3pPr indent="0">
              <a:buNone/>
              <a:defRPr/>
            </a:lvl3pPr>
            <a:lvl4pPr marL="684000" indent="-180000">
              <a:buClr>
                <a:schemeClr val="tx1"/>
              </a:buClr>
              <a:buFont typeface="Arial" pitchFamily="34" charset="0"/>
              <a:buChar char="•"/>
              <a:defRPr sz="1400"/>
            </a:lvl4pPr>
          </a:lstStyle>
          <a:p>
            <a:pPr lvl="0"/>
            <a:r>
              <a:rPr lang="en-GB" noProof="0"/>
              <a:t>Text level 2</a:t>
            </a:r>
          </a:p>
          <a:p>
            <a:pPr lvl="1"/>
            <a:r>
              <a:rPr lang="en-GB" noProof="0"/>
              <a:t>Text level 3</a:t>
            </a:r>
          </a:p>
          <a:p>
            <a:pPr lvl="2"/>
            <a:r>
              <a:rPr lang="en-GB" noProof="0"/>
              <a:t>Text level 4</a:t>
            </a:r>
          </a:p>
          <a:p>
            <a:pPr lvl="3"/>
            <a:r>
              <a:rPr lang="en-GB" noProof="0"/>
              <a:t>Text level 5</a:t>
            </a:r>
          </a:p>
        </p:txBody>
      </p:sp>
    </p:spTree>
    <p:extLst>
      <p:ext uri="{BB962C8B-B14F-4D97-AF65-F5344CB8AC3E}">
        <p14:creationId xmlns:p14="http://schemas.microsoft.com/office/powerpoint/2010/main" val="1575910924"/>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647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0" y="0"/>
                        <a:ext cx="158750" cy="158750"/>
                      </a:xfrm>
                      <a:prstGeom prst="rect">
                        <a:avLst/>
                      </a:prstGeom>
                    </p:spPr>
                  </p:pic>
                </p:oleObj>
              </mc:Fallback>
            </mc:AlternateContent>
          </a:graphicData>
        </a:graphic>
      </p:graphicFrame>
      <p:pic>
        <p:nvPicPr>
          <p:cNvPr id="17" name="Image 20" descr="FD_1_L254.png"/>
          <p:cNvPicPr>
            <a:picLocks/>
          </p:cNvPicPr>
          <p:nvPr userDrawn="1"/>
        </p:nvPicPr>
        <p:blipFill>
          <a:blip r:embed="rId6" cstate="print"/>
          <a:stretch>
            <a:fillRect/>
          </a:stretch>
        </p:blipFill>
        <p:spPr bwMode="ltGray">
          <a:xfrm>
            <a:off x="1" y="-7257"/>
            <a:ext cx="9144000" cy="5157788"/>
          </a:xfrm>
          <a:prstGeom prst="rect">
            <a:avLst/>
          </a:prstGeom>
        </p:spPr>
      </p:pic>
      <p:sp>
        <p:nvSpPr>
          <p:cNvPr id="13314" name="Rectangle 1026"/>
          <p:cNvSpPr>
            <a:spLocks noGrp="1" noChangeArrowheads="1"/>
          </p:cNvSpPr>
          <p:nvPr>
            <p:ph type="ctrTitle"/>
          </p:nvPr>
        </p:nvSpPr>
        <p:spPr bwMode="auto">
          <a:xfrm>
            <a:off x="468313" y="2419696"/>
            <a:ext cx="3842430" cy="861774"/>
          </a:xfrm>
          <a:prstGeom prst="rect">
            <a:avLst/>
          </a:prstGeom>
        </p:spPr>
        <p:txBody>
          <a:bodyPr wrap="square" anchor="b">
            <a:spAutoFit/>
          </a:bodyPr>
          <a:lstStyle>
            <a:lvl1pPr>
              <a:defRPr sz="2800" b="1" cap="none" baseline="0">
                <a:solidFill>
                  <a:schemeClr val="bg1"/>
                </a:solidFill>
                <a:latin typeface="+mj-lt"/>
                <a:ea typeface="Arial Unicode MS" pitchFamily="34" charset="-128"/>
                <a:cs typeface="Arial Unicode MS" pitchFamily="34" charset="-128"/>
              </a:defRPr>
            </a:lvl1pPr>
          </a:lstStyle>
          <a:p>
            <a:pPr lvl="0"/>
            <a:r>
              <a:rPr lang="en-US" noProof="0"/>
              <a:t>Click to edit Master title style</a:t>
            </a:r>
          </a:p>
        </p:txBody>
      </p:sp>
      <p:sp>
        <p:nvSpPr>
          <p:cNvPr id="13315" name="Rectangle 1027"/>
          <p:cNvSpPr>
            <a:spLocks noGrp="1" noChangeArrowheads="1"/>
          </p:cNvSpPr>
          <p:nvPr>
            <p:ph type="subTitle" idx="1"/>
          </p:nvPr>
        </p:nvSpPr>
        <p:spPr bwMode="auto">
          <a:xfrm>
            <a:off x="468313" y="3529963"/>
            <a:ext cx="3842430" cy="307777"/>
          </a:xfrm>
        </p:spPr>
        <p:txBody>
          <a:bodyPr wrap="square">
            <a:spAutoFit/>
          </a:bodyPr>
          <a:lstStyle>
            <a:lvl1pPr>
              <a:defRPr sz="2000" cap="none" baseline="0">
                <a:solidFill>
                  <a:schemeClr val="bg1"/>
                </a:solidFill>
                <a:latin typeface="+mj-lt"/>
                <a:ea typeface="Arial Unicode MS" pitchFamily="34" charset="-128"/>
                <a:cs typeface="Arial Unicode MS" pitchFamily="34" charset="-128"/>
              </a:defRPr>
            </a:lvl1pPr>
          </a:lstStyle>
          <a:p>
            <a:pPr lvl="0"/>
            <a:r>
              <a:rPr lang="en-US" noProof="0"/>
              <a:t>Click to edit Master subtitle style</a:t>
            </a:r>
          </a:p>
        </p:txBody>
      </p:sp>
      <p:grpSp>
        <p:nvGrpSpPr>
          <p:cNvPr id="27" name="McK Title Elements" hidden="1"/>
          <p:cNvGrpSpPr/>
          <p:nvPr userDrawn="1"/>
        </p:nvGrpSpPr>
        <p:grpSpPr bwMode="auto">
          <a:xfrm>
            <a:off x="468313" y="4255594"/>
            <a:ext cx="4038942" cy="484340"/>
            <a:chOff x="1037261" y="5350609"/>
            <a:chExt cx="4038942" cy="484340"/>
          </a:xfrm>
        </p:grpSpPr>
        <p:sp>
          <p:nvSpPr>
            <p:cNvPr id="9" name="McK Document type"/>
            <p:cNvSpPr txBox="1">
              <a:spLocks noChangeArrowheads="1"/>
            </p:cNvSpPr>
            <p:nvPr/>
          </p:nvSpPr>
          <p:spPr bwMode="auto">
            <a:xfrm>
              <a:off x="1037261" y="5350609"/>
              <a:ext cx="4038942" cy="215444"/>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00">
                  <a:solidFill>
                    <a:srgbClr val="FFFFFF"/>
                  </a:solidFill>
                  <a:latin typeface="Arial"/>
                  <a:cs typeface="Arial" charset="0"/>
                </a:rPr>
                <a:t>Document type</a:t>
              </a:r>
            </a:p>
          </p:txBody>
        </p:sp>
        <p:sp>
          <p:nvSpPr>
            <p:cNvPr id="10" name="McK Date"/>
            <p:cNvSpPr txBox="1">
              <a:spLocks noChangeArrowheads="1"/>
            </p:cNvSpPr>
            <p:nvPr/>
          </p:nvSpPr>
          <p:spPr bwMode="auto">
            <a:xfrm>
              <a:off x="1037261" y="5619505"/>
              <a:ext cx="4038942" cy="215444"/>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00">
                  <a:solidFill>
                    <a:srgbClr val="FFFFFF"/>
                  </a:solidFill>
                  <a:latin typeface="Arial"/>
                  <a:cs typeface="Arial" charset="0"/>
                </a:rPr>
                <a:t>Date</a:t>
              </a:r>
            </a:p>
          </p:txBody>
        </p:sp>
      </p:grpSp>
      <p:pic>
        <p:nvPicPr>
          <p:cNvPr id="21" name="Image 19" descr="Bas_couv.png"/>
          <p:cNvPicPr>
            <a:picLocks noChangeAspect="1"/>
          </p:cNvPicPr>
          <p:nvPr userDrawn="1"/>
        </p:nvPicPr>
        <p:blipFill>
          <a:blip r:embed="rId7" cstate="print"/>
          <a:srcRect r="60243" b="722"/>
          <a:stretch>
            <a:fillRect/>
          </a:stretch>
        </p:blipFill>
        <p:spPr bwMode="auto">
          <a:xfrm>
            <a:off x="0" y="5172520"/>
            <a:ext cx="3635375" cy="1685480"/>
          </a:xfrm>
          <a:prstGeom prst="rect">
            <a:avLst/>
          </a:prstGeom>
        </p:spPr>
      </p:pic>
      <p:sp>
        <p:nvSpPr>
          <p:cNvPr id="20" name="Rectangle 19"/>
          <p:cNvSpPr/>
          <p:nvPr userDrawn="1"/>
        </p:nvSpPr>
        <p:spPr bwMode="auto">
          <a:xfrm>
            <a:off x="468313" y="3391895"/>
            <a:ext cx="2448000" cy="25200"/>
          </a:xfrm>
          <a:prstGeom prst="rect">
            <a:avLst/>
          </a:prstGeom>
          <a:solidFill>
            <a:srgbClr val="95D600"/>
          </a:solidFill>
          <a:ln w="25400" cap="flat" cmpd="sng" algn="ctr">
            <a:noFill/>
            <a:prstDash val="solid"/>
          </a:ln>
          <a:effectLst/>
        </p:spPr>
        <p:txBody>
          <a:bodyPr rtlCol="0" anchor="ctr"/>
          <a:lstStyle/>
          <a:p>
            <a:pPr algn="ctr">
              <a:defRPr/>
            </a:pPr>
            <a:endParaRPr lang="en-US" kern="0">
              <a:solidFill>
                <a:sysClr val="window" lastClr="FFFFFF"/>
              </a:solidFill>
              <a:cs typeface="Arial" charset="0"/>
            </a:endParaRPr>
          </a:p>
        </p:txBody>
      </p:sp>
      <p:sp>
        <p:nvSpPr>
          <p:cNvPr id="23" name="Rectangle 22"/>
          <p:cNvSpPr/>
          <p:nvPr userDrawn="1"/>
        </p:nvSpPr>
        <p:spPr bwMode="auto">
          <a:xfrm>
            <a:off x="8105977" y="6354202"/>
            <a:ext cx="767838" cy="153888"/>
          </a:xfrm>
          <a:prstGeom prst="rect">
            <a:avLst/>
          </a:prstGeom>
          <a:noFill/>
          <a:ln w="25400" cap="flat" cmpd="sng" algn="ctr">
            <a:noFill/>
            <a:prstDash val="solid"/>
          </a:ln>
          <a:effectLst/>
        </p:spPr>
        <p:txBody>
          <a:bodyPr wrap="none" lIns="0" tIns="0" rIns="0" bIns="0" rtlCol="0" anchor="t" anchorCtr="0">
            <a:spAutoFit/>
          </a:bodyPr>
          <a:lstStyle/>
          <a:p>
            <a:pPr algn="r">
              <a:defRPr/>
            </a:pPr>
            <a:r>
              <a:rPr lang="en-US" sz="1000" kern="0">
                <a:solidFill>
                  <a:srgbClr val="95D600"/>
                </a:solidFill>
                <a:cs typeface="Arial" charset="0"/>
              </a:rPr>
              <a:t>www.gavi.org</a:t>
            </a:r>
          </a:p>
        </p:txBody>
      </p:sp>
      <p:pic>
        <p:nvPicPr>
          <p:cNvPr id="17541" name="Picture 133"/>
          <p:cNvPicPr>
            <a:picLocks noChangeAspect="1" noChangeArrowheads="1"/>
          </p:cNvPicPr>
          <p:nvPr userDrawn="1"/>
        </p:nvPicPr>
        <p:blipFill rotWithShape="1">
          <a:blip r:embed="rId8">
            <a:extLst>
              <a:ext uri="{28A0092B-C50C-407E-A947-70E740481C1C}">
                <a14:useLocalDpi xmlns:a14="http://schemas.microsoft.com/office/drawing/2010/main" val="0"/>
              </a:ext>
            </a:extLst>
          </a:blip>
          <a:srcRect l="76616" t="42028" r="1467" b="15943"/>
          <a:stretch/>
        </p:blipFill>
        <p:spPr bwMode="auto">
          <a:xfrm>
            <a:off x="7743514" y="6190069"/>
            <a:ext cx="1139826" cy="164133"/>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pic>
        <p:nvPicPr>
          <p:cNvPr id="22" name="Picture Placeholder 12"/>
          <p:cNvPicPr>
            <a:picLocks noChangeAspect="1"/>
          </p:cNvPicPr>
          <p:nvPr userDrawn="1"/>
        </p:nvPicPr>
        <p:blipFill>
          <a:blip r:embed="rId9" cstate="print">
            <a:extLst>
              <a:ext uri="{28A0092B-C50C-407E-A947-70E740481C1C}">
                <a14:useLocalDpi xmlns:a14="http://schemas.microsoft.com/office/drawing/2010/main" val="0"/>
              </a:ext>
            </a:extLst>
          </a:blip>
          <a:srcRect l="18213" r="18213"/>
          <a:stretch>
            <a:fillRect/>
          </a:stretch>
        </p:blipFill>
        <p:spPr bwMode="ltGray">
          <a:xfrm>
            <a:off x="4192588" y="-11869"/>
            <a:ext cx="4951412" cy="5162400"/>
          </a:xfrm>
          <a:custGeom>
            <a:avLst/>
            <a:gdLst>
              <a:gd name="connsiteX0" fmla="*/ 0 w 3851275"/>
              <a:gd name="connsiteY0" fmla="*/ 0 h 5157788"/>
              <a:gd name="connsiteX1" fmla="*/ 3851275 w 3851275"/>
              <a:gd name="connsiteY1" fmla="*/ 0 h 5157788"/>
              <a:gd name="connsiteX2" fmla="*/ 3851275 w 3851275"/>
              <a:gd name="connsiteY2" fmla="*/ 5157788 h 5157788"/>
              <a:gd name="connsiteX3" fmla="*/ 0 w 3851275"/>
              <a:gd name="connsiteY3" fmla="*/ 5157788 h 5157788"/>
              <a:gd name="connsiteX4" fmla="*/ 0 w 3851275"/>
              <a:gd name="connsiteY4"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0 w 3851275"/>
              <a:gd name="connsiteY3" fmla="*/ 5157788 h 5157788"/>
              <a:gd name="connsiteX4" fmla="*/ 1692275 w 3851275"/>
              <a:gd name="connsiteY4" fmla="*/ 0 h 5157788"/>
              <a:gd name="connsiteX0" fmla="*/ 0 w 2159000"/>
              <a:gd name="connsiteY0" fmla="*/ 0 h 5157788"/>
              <a:gd name="connsiteX1" fmla="*/ 2159000 w 2159000"/>
              <a:gd name="connsiteY1" fmla="*/ 0 h 5157788"/>
              <a:gd name="connsiteX2" fmla="*/ 2159000 w 2159000"/>
              <a:gd name="connsiteY2" fmla="*/ 5157788 h 5157788"/>
              <a:gd name="connsiteX3" fmla="*/ 0 w 2159000"/>
              <a:gd name="connsiteY3" fmla="*/ 5157788 h 5157788"/>
              <a:gd name="connsiteX4" fmla="*/ 0 w 2159000"/>
              <a:gd name="connsiteY4" fmla="*/ 0 h 5157788"/>
              <a:gd name="connsiteX0" fmla="*/ 2625271 w 4784271"/>
              <a:gd name="connsiteY0" fmla="*/ 0 h 5157788"/>
              <a:gd name="connsiteX1" fmla="*/ 4784271 w 4784271"/>
              <a:gd name="connsiteY1" fmla="*/ 0 h 5157788"/>
              <a:gd name="connsiteX2" fmla="*/ 4784271 w 4784271"/>
              <a:gd name="connsiteY2" fmla="*/ 5157788 h 5157788"/>
              <a:gd name="connsiteX3" fmla="*/ 2625271 w 4784271"/>
              <a:gd name="connsiteY3" fmla="*/ 5157788 h 5157788"/>
              <a:gd name="connsiteX4" fmla="*/ 2625271 w 4784271"/>
              <a:gd name="connsiteY4" fmla="*/ 0 h 5157788"/>
              <a:gd name="connsiteX0" fmla="*/ 2625271 w 4784271"/>
              <a:gd name="connsiteY0" fmla="*/ 0 h 5157788"/>
              <a:gd name="connsiteX1" fmla="*/ 4784271 w 4784271"/>
              <a:gd name="connsiteY1" fmla="*/ 0 h 5157788"/>
              <a:gd name="connsiteX2" fmla="*/ 4784271 w 4784271"/>
              <a:gd name="connsiteY2" fmla="*/ 5157788 h 5157788"/>
              <a:gd name="connsiteX3" fmla="*/ 2625271 w 4784271"/>
              <a:gd name="connsiteY3" fmla="*/ 5157788 h 5157788"/>
              <a:gd name="connsiteX4" fmla="*/ 2625271 w 4784271"/>
              <a:gd name="connsiteY4" fmla="*/ 0 h 5157788"/>
              <a:gd name="connsiteX0" fmla="*/ 3568576 w 5727576"/>
              <a:gd name="connsiteY0" fmla="*/ 0 h 5157788"/>
              <a:gd name="connsiteX1" fmla="*/ 5727576 w 5727576"/>
              <a:gd name="connsiteY1" fmla="*/ 0 h 5157788"/>
              <a:gd name="connsiteX2" fmla="*/ 5727576 w 5727576"/>
              <a:gd name="connsiteY2" fmla="*/ 5157788 h 5157788"/>
              <a:gd name="connsiteX3" fmla="*/ 3568576 w 5727576"/>
              <a:gd name="connsiteY3" fmla="*/ 5157788 h 5157788"/>
              <a:gd name="connsiteX4" fmla="*/ 3568576 w 5727576"/>
              <a:gd name="connsiteY4" fmla="*/ 0 h 5157788"/>
              <a:gd name="connsiteX0" fmla="*/ 3306355 w 5465355"/>
              <a:gd name="connsiteY0" fmla="*/ 0 h 5157788"/>
              <a:gd name="connsiteX1" fmla="*/ 5465355 w 5465355"/>
              <a:gd name="connsiteY1" fmla="*/ 0 h 5157788"/>
              <a:gd name="connsiteX2" fmla="*/ 5465355 w 5465355"/>
              <a:gd name="connsiteY2" fmla="*/ 5157788 h 5157788"/>
              <a:gd name="connsiteX3" fmla="*/ 3306355 w 5465355"/>
              <a:gd name="connsiteY3" fmla="*/ 5157788 h 5157788"/>
              <a:gd name="connsiteX4" fmla="*/ 3306355 w 5465355"/>
              <a:gd name="connsiteY4" fmla="*/ 0 h 5157788"/>
              <a:gd name="connsiteX0" fmla="*/ 1416957 w 3575957"/>
              <a:gd name="connsiteY0" fmla="*/ 0 h 5157788"/>
              <a:gd name="connsiteX1" fmla="*/ 3575957 w 3575957"/>
              <a:gd name="connsiteY1" fmla="*/ 0 h 5157788"/>
              <a:gd name="connsiteX2" fmla="*/ 3575957 w 3575957"/>
              <a:gd name="connsiteY2" fmla="*/ 5157788 h 5157788"/>
              <a:gd name="connsiteX3" fmla="*/ 1416957 w 3575957"/>
              <a:gd name="connsiteY3" fmla="*/ 5157788 h 5157788"/>
              <a:gd name="connsiteX4" fmla="*/ 0 w 3575957"/>
              <a:gd name="connsiteY4" fmla="*/ 3339193 h 5157788"/>
              <a:gd name="connsiteX5" fmla="*/ 1416957 w 3575957"/>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6017419"/>
              <a:gd name="connsiteX1" fmla="*/ 3851275 w 3851275"/>
              <a:gd name="connsiteY1" fmla="*/ 0 h 6017419"/>
              <a:gd name="connsiteX2" fmla="*/ 3851275 w 3851275"/>
              <a:gd name="connsiteY2" fmla="*/ 5157788 h 6017419"/>
              <a:gd name="connsiteX3" fmla="*/ 1692275 w 3851275"/>
              <a:gd name="connsiteY3" fmla="*/ 5157788 h 6017419"/>
              <a:gd name="connsiteX4" fmla="*/ 0 w 3851275"/>
              <a:gd name="connsiteY4" fmla="*/ 3284984 h 6017419"/>
              <a:gd name="connsiteX5" fmla="*/ 1692275 w 3851275"/>
              <a:gd name="connsiteY5" fmla="*/ 0 h 6017419"/>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429000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429000 h 5157788"/>
              <a:gd name="connsiteX5" fmla="*/ 1710871 w 3869871"/>
              <a:gd name="connsiteY5" fmla="*/ 0 h 5157788"/>
              <a:gd name="connsiteX0" fmla="*/ 1704975 w 3863975"/>
              <a:gd name="connsiteY0" fmla="*/ 0 h 5157788"/>
              <a:gd name="connsiteX1" fmla="*/ 3863975 w 3863975"/>
              <a:gd name="connsiteY1" fmla="*/ 0 h 5157788"/>
              <a:gd name="connsiteX2" fmla="*/ 3863975 w 3863975"/>
              <a:gd name="connsiteY2" fmla="*/ 5157788 h 5157788"/>
              <a:gd name="connsiteX3" fmla="*/ 1704975 w 3863975"/>
              <a:gd name="connsiteY3" fmla="*/ 5157788 h 5157788"/>
              <a:gd name="connsiteX4" fmla="*/ 12700 w 3863975"/>
              <a:gd name="connsiteY4" fmla="*/ 3429000 h 5157788"/>
              <a:gd name="connsiteX5" fmla="*/ 1704975 w 3863975"/>
              <a:gd name="connsiteY5" fmla="*/ 0 h 5157788"/>
              <a:gd name="connsiteX0" fmla="*/ 1707243 w 3866243"/>
              <a:gd name="connsiteY0" fmla="*/ 0 h 5157788"/>
              <a:gd name="connsiteX1" fmla="*/ 3866243 w 3866243"/>
              <a:gd name="connsiteY1" fmla="*/ 0 h 5157788"/>
              <a:gd name="connsiteX2" fmla="*/ 3866243 w 3866243"/>
              <a:gd name="connsiteY2" fmla="*/ 5157788 h 5157788"/>
              <a:gd name="connsiteX3" fmla="*/ 1707243 w 3866243"/>
              <a:gd name="connsiteY3" fmla="*/ 5157788 h 5157788"/>
              <a:gd name="connsiteX4" fmla="*/ 14968 w 3866243"/>
              <a:gd name="connsiteY4" fmla="*/ 3429000 h 5157788"/>
              <a:gd name="connsiteX5" fmla="*/ 1707243 w 3866243"/>
              <a:gd name="connsiteY5" fmla="*/ 0 h 5157788"/>
              <a:gd name="connsiteX0" fmla="*/ 1130447 w 3866243"/>
              <a:gd name="connsiteY0" fmla="*/ 0 h 5157788"/>
              <a:gd name="connsiteX1" fmla="*/ 3866243 w 3866243"/>
              <a:gd name="connsiteY1" fmla="*/ 0 h 5157788"/>
              <a:gd name="connsiteX2" fmla="*/ 3866243 w 3866243"/>
              <a:gd name="connsiteY2" fmla="*/ 5157788 h 5157788"/>
              <a:gd name="connsiteX3" fmla="*/ 1707243 w 3866243"/>
              <a:gd name="connsiteY3" fmla="*/ 5157788 h 5157788"/>
              <a:gd name="connsiteX4" fmla="*/ 14968 w 3866243"/>
              <a:gd name="connsiteY4" fmla="*/ 3429000 h 5157788"/>
              <a:gd name="connsiteX5" fmla="*/ 1130447 w 3866243"/>
              <a:gd name="connsiteY5" fmla="*/ 0 h 5157788"/>
              <a:gd name="connsiteX0" fmla="*/ 2746143 w 5481939"/>
              <a:gd name="connsiteY0" fmla="*/ 0 h 5157788"/>
              <a:gd name="connsiteX1" fmla="*/ 5481939 w 5481939"/>
              <a:gd name="connsiteY1" fmla="*/ 0 h 5157788"/>
              <a:gd name="connsiteX2" fmla="*/ 5481939 w 5481939"/>
              <a:gd name="connsiteY2" fmla="*/ 5157788 h 5157788"/>
              <a:gd name="connsiteX3" fmla="*/ 585903 w 5481939"/>
              <a:gd name="connsiteY3" fmla="*/ 5153180 h 5157788"/>
              <a:gd name="connsiteX4" fmla="*/ 1630664 w 5481939"/>
              <a:gd name="connsiteY4" fmla="*/ 3429000 h 5157788"/>
              <a:gd name="connsiteX5" fmla="*/ 2746143 w 5481939"/>
              <a:gd name="connsiteY5" fmla="*/ 0 h 5157788"/>
              <a:gd name="connsiteX0" fmla="*/ 2746143 w 5481939"/>
              <a:gd name="connsiteY0" fmla="*/ 0 h 5157788"/>
              <a:gd name="connsiteX1" fmla="*/ 5481939 w 5481939"/>
              <a:gd name="connsiteY1" fmla="*/ 0 h 5157788"/>
              <a:gd name="connsiteX2" fmla="*/ 5481939 w 5481939"/>
              <a:gd name="connsiteY2" fmla="*/ 5157788 h 5157788"/>
              <a:gd name="connsiteX3" fmla="*/ 585903 w 5481939"/>
              <a:gd name="connsiteY3" fmla="*/ 5153180 h 5157788"/>
              <a:gd name="connsiteX4" fmla="*/ 1630664 w 5481939"/>
              <a:gd name="connsiteY4" fmla="*/ 3429000 h 5157788"/>
              <a:gd name="connsiteX5" fmla="*/ 2746143 w 548193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3574235 w 6310031"/>
              <a:gd name="connsiteY0" fmla="*/ 0 h 5157788"/>
              <a:gd name="connsiteX1" fmla="*/ 6310031 w 6310031"/>
              <a:gd name="connsiteY1" fmla="*/ 0 h 5157788"/>
              <a:gd name="connsiteX2" fmla="*/ 6310031 w 6310031"/>
              <a:gd name="connsiteY2" fmla="*/ 5157788 h 5157788"/>
              <a:gd name="connsiteX3" fmla="*/ 585903 w 6310031"/>
              <a:gd name="connsiteY3" fmla="*/ 5153180 h 5157788"/>
              <a:gd name="connsiteX4" fmla="*/ 1738031 w 6310031"/>
              <a:gd name="connsiteY4" fmla="*/ 3389965 h 5157788"/>
              <a:gd name="connsiteX5" fmla="*/ 3574235 w 6310031"/>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296143 w 5724128"/>
              <a:gd name="connsiteY4" fmla="*/ 3461908 h 5157788"/>
              <a:gd name="connsiteX5" fmla="*/ 2988332 w 5724128"/>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1188132 w 5760132"/>
              <a:gd name="connsiteY4" fmla="*/ 3425937 h 5157788"/>
              <a:gd name="connsiteX5" fmla="*/ 3024336 w 5760132"/>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2736304 w 5760132"/>
              <a:gd name="connsiteY4" fmla="*/ 3461908 h 5157788"/>
              <a:gd name="connsiteX5" fmla="*/ 3024336 w 5760132"/>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2736304 w 5760132"/>
              <a:gd name="connsiteY4" fmla="*/ 3461908 h 5157788"/>
              <a:gd name="connsiteX5" fmla="*/ 3024336 w 5760132"/>
              <a:gd name="connsiteY5" fmla="*/ 0 h 5157788"/>
              <a:gd name="connsiteX0" fmla="*/ 2160240 w 4896036"/>
              <a:gd name="connsiteY0" fmla="*/ 0 h 5157788"/>
              <a:gd name="connsiteX1" fmla="*/ 4896036 w 4896036"/>
              <a:gd name="connsiteY1" fmla="*/ 0 h 5157788"/>
              <a:gd name="connsiteX2" fmla="*/ 4896036 w 4896036"/>
              <a:gd name="connsiteY2" fmla="*/ 5157788 h 5157788"/>
              <a:gd name="connsiteX3" fmla="*/ 0 w 4896036"/>
              <a:gd name="connsiteY3" fmla="*/ 5153180 h 5157788"/>
              <a:gd name="connsiteX4" fmla="*/ 1872208 w 4896036"/>
              <a:gd name="connsiteY4" fmla="*/ 3461908 h 5157788"/>
              <a:gd name="connsiteX5" fmla="*/ 2160240 w 4896036"/>
              <a:gd name="connsiteY5" fmla="*/ 0 h 5157788"/>
              <a:gd name="connsiteX0" fmla="*/ 2232248 w 4968044"/>
              <a:gd name="connsiteY0" fmla="*/ 0 h 5157788"/>
              <a:gd name="connsiteX1" fmla="*/ 4968044 w 4968044"/>
              <a:gd name="connsiteY1" fmla="*/ 0 h 5157788"/>
              <a:gd name="connsiteX2" fmla="*/ 4968044 w 4968044"/>
              <a:gd name="connsiteY2" fmla="*/ 5157788 h 5157788"/>
              <a:gd name="connsiteX3" fmla="*/ 0 w 4968044"/>
              <a:gd name="connsiteY3" fmla="*/ 5153180 h 5157788"/>
              <a:gd name="connsiteX4" fmla="*/ 1944216 w 4968044"/>
              <a:gd name="connsiteY4" fmla="*/ 3461908 h 5157788"/>
              <a:gd name="connsiteX5" fmla="*/ 2232248 w 4968044"/>
              <a:gd name="connsiteY5" fmla="*/ 0 h 5157788"/>
              <a:gd name="connsiteX0" fmla="*/ 2207679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207679 w 4943475"/>
              <a:gd name="connsiteY5" fmla="*/ 0 h 5157788"/>
              <a:gd name="connsiteX0" fmla="*/ 2963763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963763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092200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71575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343583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675731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675731 w 4943475"/>
              <a:gd name="connsiteY5" fmla="*/ 0 h 5157788"/>
              <a:gd name="connsiteX0" fmla="*/ 2675731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675731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9672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19672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51412" h="5157788">
                <a:moveTo>
                  <a:pt x="2706687" y="0"/>
                </a:moveTo>
                <a:lnTo>
                  <a:pt x="4951412" y="0"/>
                </a:lnTo>
                <a:lnTo>
                  <a:pt x="4951412" y="5157788"/>
                </a:lnTo>
                <a:lnTo>
                  <a:pt x="0" y="5153180"/>
                </a:lnTo>
                <a:cubicBezTo>
                  <a:pt x="84411" y="4542509"/>
                  <a:pt x="183041" y="4024723"/>
                  <a:pt x="1243508" y="2562613"/>
                </a:cubicBezTo>
                <a:cubicBezTo>
                  <a:pt x="1867447" y="1704780"/>
                  <a:pt x="2665955" y="709265"/>
                  <a:pt x="2706687" y="0"/>
                </a:cubicBezTo>
                <a:close/>
              </a:path>
            </a:pathLst>
          </a:custGeom>
          <a:solidFill>
            <a:srgbClr val="878787"/>
          </a:solidFill>
          <a:ln w="3175">
            <a:noFill/>
          </a:ln>
        </p:spPr>
      </p:pic>
    </p:spTree>
    <p:extLst>
      <p:ext uri="{BB962C8B-B14F-4D97-AF65-F5344CB8AC3E}">
        <p14:creationId xmlns:p14="http://schemas.microsoft.com/office/powerpoint/2010/main" val="184570424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_Contents_Layout">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p:txBody>
          <a:bodyPr/>
          <a:lstStyle/>
          <a:p>
            <a:r>
              <a:rPr lang="en-US" noProof="0"/>
              <a:t>TITLE</a:t>
            </a:r>
          </a:p>
        </p:txBody>
      </p:sp>
      <p:sp>
        <p:nvSpPr>
          <p:cNvPr id="3" name="Espace réservé du contenu 2"/>
          <p:cNvSpPr>
            <a:spLocks noGrp="1"/>
          </p:cNvSpPr>
          <p:nvPr>
            <p:ph idx="1" hasCustomPrompt="1"/>
          </p:nvPr>
        </p:nvSpPr>
        <p:spPr bwMode="gray">
          <a:xfrm>
            <a:off x="935038" y="1304924"/>
            <a:ext cx="3564000" cy="2250000"/>
          </a:xfrm>
        </p:spPr>
        <p:txBody>
          <a:bodyPr/>
          <a:lstStyle>
            <a:lvl2pPr>
              <a:defRPr/>
            </a:lvl2pPr>
            <a:lvl3pPr>
              <a:defRPr/>
            </a:lvl3pPr>
            <a:lvl4pPr>
              <a:defRPr baseline="0"/>
            </a:lvl4pPr>
            <a:lvl5pPr>
              <a:defRPr/>
            </a:lvl5pPr>
          </a:lstStyle>
          <a:p>
            <a:pPr lvl="0"/>
            <a:r>
              <a:rPr lang="en-US" noProof="0"/>
              <a:t>Text level 1</a:t>
            </a:r>
          </a:p>
          <a:p>
            <a:pPr lvl="1"/>
            <a:r>
              <a:rPr lang="en-US" noProof="0"/>
              <a:t>Text level 2</a:t>
            </a:r>
          </a:p>
          <a:p>
            <a:pPr lvl="2"/>
            <a:r>
              <a:rPr lang="en-US" noProof="0"/>
              <a:t>Text level 3</a:t>
            </a:r>
          </a:p>
          <a:p>
            <a:pPr lvl="3"/>
            <a:r>
              <a:rPr lang="en-US" noProof="0"/>
              <a:t>Text level 4</a:t>
            </a:r>
          </a:p>
          <a:p>
            <a:pPr lvl="4"/>
            <a:r>
              <a:rPr lang="en-US" noProof="0"/>
              <a:t>Text level 5</a:t>
            </a:r>
          </a:p>
        </p:txBody>
      </p:sp>
      <p:sp>
        <p:nvSpPr>
          <p:cNvPr id="7" name="Espace réservé de la date 6"/>
          <p:cNvSpPr>
            <a:spLocks noGrp="1"/>
          </p:cNvSpPr>
          <p:nvPr>
            <p:ph type="dt" sz="half" idx="10"/>
          </p:nvPr>
        </p:nvSpPr>
        <p:spPr bwMode="gray"/>
        <p:txBody>
          <a:bodyPr/>
          <a:lstStyle/>
          <a:p>
            <a:r>
              <a:rPr lang="en-US" noProof="0"/>
              <a:t>Date</a:t>
            </a:r>
          </a:p>
        </p:txBody>
      </p:sp>
      <p:sp>
        <p:nvSpPr>
          <p:cNvPr id="8" name="Espace réservé du numéro de diapositive 7"/>
          <p:cNvSpPr>
            <a:spLocks noGrp="1"/>
          </p:cNvSpPr>
          <p:nvPr>
            <p:ph type="sldNum" sz="quarter" idx="11"/>
          </p:nvPr>
        </p:nvSpPr>
        <p:spPr bwMode="gray"/>
        <p:txBody>
          <a:bodyPr/>
          <a:lstStyle/>
          <a:p>
            <a:pPr algn="l"/>
            <a:fld id="{733122C9-A0B9-462F-8757-0847AD287B63}" type="slidenum">
              <a:rPr lang="en-US" noProof="0" smtClean="0"/>
              <a:pPr algn="l"/>
              <a:t>‹#›</a:t>
            </a:fld>
            <a:endParaRPr lang="en-US" noProof="0"/>
          </a:p>
        </p:txBody>
      </p:sp>
      <p:sp>
        <p:nvSpPr>
          <p:cNvPr id="11" name="Espace réservé du pied de page 10"/>
          <p:cNvSpPr>
            <a:spLocks noGrp="1"/>
          </p:cNvSpPr>
          <p:nvPr>
            <p:ph type="ftr" sz="quarter" idx="12"/>
          </p:nvPr>
        </p:nvSpPr>
        <p:spPr bwMode="gray"/>
        <p:txBody>
          <a:bodyPr/>
          <a:lstStyle/>
          <a:p>
            <a:r>
              <a:rPr lang="en-US" noProof="0"/>
              <a:t>#add your hashtag</a:t>
            </a:r>
          </a:p>
        </p:txBody>
      </p:sp>
      <p:sp>
        <p:nvSpPr>
          <p:cNvPr id="9" name="Espace réservé du contenu 2"/>
          <p:cNvSpPr>
            <a:spLocks noGrp="1"/>
          </p:cNvSpPr>
          <p:nvPr>
            <p:ph idx="13" hasCustomPrompt="1"/>
          </p:nvPr>
        </p:nvSpPr>
        <p:spPr bwMode="gray">
          <a:xfrm>
            <a:off x="4716400" y="1304925"/>
            <a:ext cx="3564000" cy="2250000"/>
          </a:xfrm>
        </p:spPr>
        <p:txBody>
          <a:bodyPr/>
          <a:lstStyle>
            <a:lvl2pPr>
              <a:defRPr/>
            </a:lvl2pPr>
            <a:lvl3pPr>
              <a:defRPr/>
            </a:lvl3pPr>
            <a:lvl4pPr>
              <a:defRPr baseline="0"/>
            </a:lvl4pPr>
            <a:lvl5pPr>
              <a:defRPr/>
            </a:lvl5pPr>
          </a:lstStyle>
          <a:p>
            <a:pPr lvl="0"/>
            <a:r>
              <a:rPr lang="en-US" noProof="0"/>
              <a:t>Text level 1</a:t>
            </a:r>
          </a:p>
          <a:p>
            <a:pPr lvl="1"/>
            <a:r>
              <a:rPr lang="en-US" noProof="0"/>
              <a:t>Text level 2</a:t>
            </a:r>
          </a:p>
          <a:p>
            <a:pPr lvl="2"/>
            <a:r>
              <a:rPr lang="en-US" noProof="0"/>
              <a:t>Text level 3</a:t>
            </a:r>
          </a:p>
          <a:p>
            <a:pPr lvl="3"/>
            <a:r>
              <a:rPr lang="en-US" noProof="0"/>
              <a:t>Text level 4</a:t>
            </a:r>
          </a:p>
          <a:p>
            <a:pPr lvl="4"/>
            <a:r>
              <a:rPr lang="en-US" noProof="0"/>
              <a:t>Text level 5</a:t>
            </a:r>
          </a:p>
        </p:txBody>
      </p:sp>
      <p:sp>
        <p:nvSpPr>
          <p:cNvPr id="13" name="Espace réservé du contenu 2"/>
          <p:cNvSpPr>
            <a:spLocks noGrp="1"/>
          </p:cNvSpPr>
          <p:nvPr>
            <p:ph idx="14" hasCustomPrompt="1"/>
          </p:nvPr>
        </p:nvSpPr>
        <p:spPr bwMode="gray">
          <a:xfrm>
            <a:off x="935038" y="3771388"/>
            <a:ext cx="3564000" cy="2250000"/>
          </a:xfrm>
        </p:spPr>
        <p:txBody>
          <a:bodyPr/>
          <a:lstStyle>
            <a:lvl2pPr>
              <a:defRPr/>
            </a:lvl2pPr>
            <a:lvl3pPr>
              <a:defRPr/>
            </a:lvl3pPr>
            <a:lvl4pPr>
              <a:defRPr baseline="0"/>
            </a:lvl4pPr>
            <a:lvl5pPr>
              <a:defRPr/>
            </a:lvl5pPr>
          </a:lstStyle>
          <a:p>
            <a:pPr lvl="0"/>
            <a:r>
              <a:rPr lang="en-US" noProof="0"/>
              <a:t>Text level 1</a:t>
            </a:r>
          </a:p>
          <a:p>
            <a:pPr lvl="1"/>
            <a:r>
              <a:rPr lang="en-US" noProof="0"/>
              <a:t>Text level 2</a:t>
            </a:r>
          </a:p>
          <a:p>
            <a:pPr lvl="2"/>
            <a:r>
              <a:rPr lang="en-US" noProof="0"/>
              <a:t>Text level 3</a:t>
            </a:r>
          </a:p>
          <a:p>
            <a:pPr lvl="3"/>
            <a:r>
              <a:rPr lang="en-US" noProof="0"/>
              <a:t>Text level 4</a:t>
            </a:r>
          </a:p>
          <a:p>
            <a:pPr lvl="4"/>
            <a:r>
              <a:rPr lang="en-US" noProof="0"/>
              <a:t>Text level 5</a:t>
            </a:r>
          </a:p>
        </p:txBody>
      </p:sp>
      <p:sp>
        <p:nvSpPr>
          <p:cNvPr id="14" name="Espace réservé du contenu 2"/>
          <p:cNvSpPr>
            <a:spLocks noGrp="1"/>
          </p:cNvSpPr>
          <p:nvPr>
            <p:ph idx="15" hasCustomPrompt="1"/>
          </p:nvPr>
        </p:nvSpPr>
        <p:spPr bwMode="gray">
          <a:xfrm>
            <a:off x="4716400" y="3771388"/>
            <a:ext cx="3564000" cy="2250000"/>
          </a:xfrm>
        </p:spPr>
        <p:txBody>
          <a:bodyPr/>
          <a:lstStyle>
            <a:lvl2pPr>
              <a:defRPr/>
            </a:lvl2pPr>
            <a:lvl3pPr>
              <a:defRPr/>
            </a:lvl3pPr>
            <a:lvl4pPr>
              <a:defRPr baseline="0"/>
            </a:lvl4pPr>
            <a:lvl5pPr>
              <a:defRPr/>
            </a:lvl5pPr>
          </a:lstStyle>
          <a:p>
            <a:pPr lvl="0"/>
            <a:r>
              <a:rPr lang="en-US" noProof="0"/>
              <a:t>Text level 1</a:t>
            </a:r>
          </a:p>
          <a:p>
            <a:pPr lvl="1"/>
            <a:r>
              <a:rPr lang="en-US" noProof="0"/>
              <a:t>Text level 2</a:t>
            </a:r>
          </a:p>
          <a:p>
            <a:pPr lvl="2"/>
            <a:r>
              <a:rPr lang="en-US" noProof="0"/>
              <a:t>Text level 3</a:t>
            </a:r>
          </a:p>
          <a:p>
            <a:pPr lvl="3"/>
            <a:r>
              <a:rPr lang="en-US" noProof="0"/>
              <a:t>Text level 4</a:t>
            </a:r>
          </a:p>
          <a:p>
            <a:pPr lvl="4"/>
            <a:r>
              <a:rPr lang="en-US" noProof="0"/>
              <a:t>Text level 5</a:t>
            </a:r>
          </a:p>
        </p:txBody>
      </p:sp>
    </p:spTree>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itle Only">
    <p:bg bwMode="auto">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750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McK 2. Slide Title"/>
          <p:cNvSpPr>
            <a:spLocks noGrp="1"/>
          </p:cNvSpPr>
          <p:nvPr>
            <p:ph type="title"/>
          </p:nvPr>
        </p:nvSpPr>
        <p:spPr bwMode="auto"/>
        <p:txBody>
          <a:bodyPr/>
          <a:lstStyle>
            <a:lvl1pPr>
              <a:defRPr>
                <a:latin typeface="+mj-lt"/>
                <a:ea typeface="Arial Unicode MS" pitchFamily="34" charset="-128"/>
                <a:cs typeface="Arial Unicode MS" pitchFamily="34" charset="-128"/>
              </a:defRPr>
            </a:lvl1pPr>
          </a:lstStyle>
          <a:p>
            <a:r>
              <a:rPr lang="en-US"/>
              <a:t>Click to edit Master title style</a:t>
            </a:r>
          </a:p>
        </p:txBody>
      </p:sp>
    </p:spTree>
    <p:extLst>
      <p:ext uri="{BB962C8B-B14F-4D97-AF65-F5344CB8AC3E}">
        <p14:creationId xmlns:p14="http://schemas.microsoft.com/office/powerpoint/2010/main" val="229101824"/>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8526"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fr-FR"/>
          </a:p>
        </p:txBody>
      </p:sp>
    </p:spTree>
    <p:extLst>
      <p:ext uri="{BB962C8B-B14F-4D97-AF65-F5344CB8AC3E}">
        <p14:creationId xmlns:p14="http://schemas.microsoft.com/office/powerpoint/2010/main" val="938707006"/>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6" name="Rectangle 5"/>
          <p:cNvSpPr/>
          <p:nvPr userDrawn="1"/>
        </p:nvSpPr>
        <p:spPr>
          <a:xfrm>
            <a:off x="673769" y="2237868"/>
            <a:ext cx="3585410" cy="3838073"/>
          </a:xfrm>
          <a:prstGeom prst="rect">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1600" err="1">
              <a:solidFill>
                <a:srgbClr val="FFFFFF"/>
              </a:solidFill>
            </a:endParaRPr>
          </a:p>
        </p:txBody>
      </p:sp>
      <p:cxnSp>
        <p:nvCxnSpPr>
          <p:cNvPr id="4" name="Straight Connector 3"/>
          <p:cNvCxnSpPr/>
          <p:nvPr userDrawn="1"/>
        </p:nvCxnSpPr>
        <p:spPr>
          <a:xfrm>
            <a:off x="673769" y="2153652"/>
            <a:ext cx="3585410" cy="0"/>
          </a:xfrm>
          <a:prstGeom prst="line">
            <a:avLst/>
          </a:prstGeom>
          <a:ln w="38100">
            <a:solidFill>
              <a:srgbClr val="003870"/>
            </a:solidFill>
          </a:ln>
        </p:spPr>
        <p:style>
          <a:lnRef idx="1">
            <a:schemeClr val="accent1"/>
          </a:lnRef>
          <a:fillRef idx="0">
            <a:schemeClr val="accent1"/>
          </a:fillRef>
          <a:effectRef idx="0">
            <a:schemeClr val="accent1"/>
          </a:effectRef>
          <a:fontRef idx="minor">
            <a:schemeClr val="tx1"/>
          </a:fontRef>
        </p:style>
      </p:cxnSp>
      <p:sp>
        <p:nvSpPr>
          <p:cNvPr id="8" name="Rectangle 7"/>
          <p:cNvSpPr/>
          <p:nvPr userDrawn="1"/>
        </p:nvSpPr>
        <p:spPr>
          <a:xfrm>
            <a:off x="673769" y="1624263"/>
            <a:ext cx="3585410" cy="529389"/>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1600" err="1">
              <a:solidFill>
                <a:srgbClr val="FFFFFF"/>
              </a:solidFill>
            </a:endParaRPr>
          </a:p>
        </p:txBody>
      </p:sp>
      <p:sp>
        <p:nvSpPr>
          <p:cNvPr id="10" name="Rectangle 9"/>
          <p:cNvSpPr/>
          <p:nvPr userDrawn="1"/>
        </p:nvSpPr>
        <p:spPr>
          <a:xfrm>
            <a:off x="4884822" y="2237868"/>
            <a:ext cx="3585410" cy="3838073"/>
          </a:xfrm>
          <a:prstGeom prst="rect">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1600" err="1">
              <a:solidFill>
                <a:srgbClr val="FFFFFF"/>
              </a:solidFill>
            </a:endParaRPr>
          </a:p>
        </p:txBody>
      </p:sp>
      <p:cxnSp>
        <p:nvCxnSpPr>
          <p:cNvPr id="12" name="Straight Connector 11"/>
          <p:cNvCxnSpPr/>
          <p:nvPr userDrawn="1"/>
        </p:nvCxnSpPr>
        <p:spPr>
          <a:xfrm>
            <a:off x="4884822" y="2153652"/>
            <a:ext cx="3585410" cy="0"/>
          </a:xfrm>
          <a:prstGeom prst="line">
            <a:avLst/>
          </a:prstGeom>
          <a:ln w="38100">
            <a:solidFill>
              <a:srgbClr val="003870"/>
            </a:solidFill>
          </a:ln>
        </p:spPr>
        <p:style>
          <a:lnRef idx="1">
            <a:schemeClr val="accent1"/>
          </a:lnRef>
          <a:fillRef idx="0">
            <a:schemeClr val="accent1"/>
          </a:fillRef>
          <a:effectRef idx="0">
            <a:schemeClr val="accent1"/>
          </a:effectRef>
          <a:fontRef idx="minor">
            <a:schemeClr val="tx1"/>
          </a:fontRef>
        </p:style>
      </p:cxnSp>
      <p:sp>
        <p:nvSpPr>
          <p:cNvPr id="13" name="Rectangle 12"/>
          <p:cNvSpPr/>
          <p:nvPr userDrawn="1"/>
        </p:nvSpPr>
        <p:spPr>
          <a:xfrm>
            <a:off x="4884822" y="1624263"/>
            <a:ext cx="3585410" cy="529389"/>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1600" err="1">
              <a:solidFill>
                <a:srgbClr val="FFFFFF"/>
              </a:solidFill>
            </a:endParaRPr>
          </a:p>
        </p:txBody>
      </p:sp>
    </p:spTree>
    <p:extLst>
      <p:ext uri="{BB962C8B-B14F-4D97-AF65-F5344CB8AC3E}">
        <p14:creationId xmlns:p14="http://schemas.microsoft.com/office/powerpoint/2010/main" val="4056961962"/>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graphicFrame>
        <p:nvGraphicFramePr>
          <p:cNvPr id="3" name="Table 2"/>
          <p:cNvGraphicFramePr>
            <a:graphicFrameLocks noGrp="1"/>
          </p:cNvGraphicFramePr>
          <p:nvPr userDrawn="1">
            <p:extLst/>
          </p:nvPr>
        </p:nvGraphicFramePr>
        <p:xfrm>
          <a:off x="436084" y="1397000"/>
          <a:ext cx="8271832" cy="4486439"/>
        </p:xfrm>
        <a:graphic>
          <a:graphicData uri="http://schemas.openxmlformats.org/drawingml/2006/table">
            <a:tbl>
              <a:tblPr firstRow="1" bandRow="1">
                <a:tableStyleId>{5C22544A-7EE6-4342-B048-85BDC9FD1C3A}</a:tableStyleId>
              </a:tblPr>
              <a:tblGrid>
                <a:gridCol w="1460452">
                  <a:extLst>
                    <a:ext uri="{9D8B030D-6E8A-4147-A177-3AD203B41FA5}">
                      <a16:colId xmlns:a16="http://schemas.microsoft.com/office/drawing/2014/main" xmlns="" val="20000"/>
                    </a:ext>
                  </a:extLst>
                </a:gridCol>
                <a:gridCol w="242393">
                  <a:extLst>
                    <a:ext uri="{9D8B030D-6E8A-4147-A177-3AD203B41FA5}">
                      <a16:colId xmlns:a16="http://schemas.microsoft.com/office/drawing/2014/main" xmlns="" val="20001"/>
                    </a:ext>
                  </a:extLst>
                </a:gridCol>
                <a:gridCol w="1460452">
                  <a:extLst>
                    <a:ext uri="{9D8B030D-6E8A-4147-A177-3AD203B41FA5}">
                      <a16:colId xmlns:a16="http://schemas.microsoft.com/office/drawing/2014/main" xmlns="" val="20002"/>
                    </a:ext>
                  </a:extLst>
                </a:gridCol>
                <a:gridCol w="242393">
                  <a:extLst>
                    <a:ext uri="{9D8B030D-6E8A-4147-A177-3AD203B41FA5}">
                      <a16:colId xmlns:a16="http://schemas.microsoft.com/office/drawing/2014/main" xmlns="" val="20003"/>
                    </a:ext>
                  </a:extLst>
                </a:gridCol>
                <a:gridCol w="1460452">
                  <a:extLst>
                    <a:ext uri="{9D8B030D-6E8A-4147-A177-3AD203B41FA5}">
                      <a16:colId xmlns:a16="http://schemas.microsoft.com/office/drawing/2014/main" xmlns="" val="20004"/>
                    </a:ext>
                  </a:extLst>
                </a:gridCol>
                <a:gridCol w="242393">
                  <a:extLst>
                    <a:ext uri="{9D8B030D-6E8A-4147-A177-3AD203B41FA5}">
                      <a16:colId xmlns:a16="http://schemas.microsoft.com/office/drawing/2014/main" xmlns="" val="20005"/>
                    </a:ext>
                  </a:extLst>
                </a:gridCol>
                <a:gridCol w="1460452">
                  <a:extLst>
                    <a:ext uri="{9D8B030D-6E8A-4147-A177-3AD203B41FA5}">
                      <a16:colId xmlns:a16="http://schemas.microsoft.com/office/drawing/2014/main" xmlns="" val="20006"/>
                    </a:ext>
                  </a:extLst>
                </a:gridCol>
                <a:gridCol w="242393">
                  <a:extLst>
                    <a:ext uri="{9D8B030D-6E8A-4147-A177-3AD203B41FA5}">
                      <a16:colId xmlns:a16="http://schemas.microsoft.com/office/drawing/2014/main" xmlns="" val="20007"/>
                    </a:ext>
                  </a:extLst>
                </a:gridCol>
                <a:gridCol w="1460452">
                  <a:extLst>
                    <a:ext uri="{9D8B030D-6E8A-4147-A177-3AD203B41FA5}">
                      <a16:colId xmlns:a16="http://schemas.microsoft.com/office/drawing/2014/main" xmlns="" val="20008"/>
                    </a:ext>
                  </a:extLst>
                </a:gridCol>
              </a:tblGrid>
              <a:tr h="536023">
                <a:tc>
                  <a:txBody>
                    <a:bodyPr/>
                    <a:lstStyle/>
                    <a:p>
                      <a:endParaRPr lang="en-GB"/>
                    </a:p>
                  </a:txBody>
                  <a:tcPr>
                    <a:lnB w="38100" cap="flat" cmpd="sng" algn="ctr">
                      <a:solidFill>
                        <a:srgbClr val="003870"/>
                      </a:solidFill>
                      <a:prstDash val="solid"/>
                      <a:round/>
                      <a:headEnd type="none" w="med" len="med"/>
                      <a:tailEnd type="none" w="med" len="med"/>
                    </a:lnB>
                    <a:noFill/>
                  </a:tcPr>
                </a:tc>
                <a:tc>
                  <a:txBody>
                    <a:bodyPr/>
                    <a:lstStyle/>
                    <a:p>
                      <a:endParaRPr lang="en-GB" sz="300"/>
                    </a:p>
                  </a:txBody>
                  <a:tcPr>
                    <a:noFill/>
                  </a:tcPr>
                </a:tc>
                <a:tc>
                  <a:txBody>
                    <a:bodyPr/>
                    <a:lstStyle/>
                    <a:p>
                      <a:endParaRPr lang="en-GB"/>
                    </a:p>
                  </a:txBody>
                  <a:tcPr>
                    <a:lnB w="38100" cap="flat" cmpd="sng" algn="ctr">
                      <a:solidFill>
                        <a:srgbClr val="003870"/>
                      </a:solidFill>
                      <a:prstDash val="solid"/>
                      <a:round/>
                      <a:headEnd type="none" w="med" len="med"/>
                      <a:tailEnd type="none" w="med" len="med"/>
                    </a:lnB>
                    <a:noFill/>
                  </a:tcPr>
                </a:tc>
                <a:tc>
                  <a:txBody>
                    <a:bodyPr/>
                    <a:lstStyle/>
                    <a:p>
                      <a:endParaRPr lang="en-GB"/>
                    </a:p>
                  </a:txBody>
                  <a:tcPr>
                    <a:noFill/>
                  </a:tcPr>
                </a:tc>
                <a:tc>
                  <a:txBody>
                    <a:bodyPr/>
                    <a:lstStyle/>
                    <a:p>
                      <a:endParaRPr lang="en-GB"/>
                    </a:p>
                  </a:txBody>
                  <a:tcPr>
                    <a:lnB w="38100" cap="flat" cmpd="sng" algn="ctr">
                      <a:solidFill>
                        <a:srgbClr val="003870"/>
                      </a:solidFill>
                      <a:prstDash val="solid"/>
                      <a:round/>
                      <a:headEnd type="none" w="med" len="med"/>
                      <a:tailEnd type="none" w="med" len="med"/>
                    </a:lnB>
                    <a:noFill/>
                  </a:tcPr>
                </a:tc>
                <a:tc>
                  <a:txBody>
                    <a:bodyPr/>
                    <a:lstStyle/>
                    <a:p>
                      <a:endParaRPr lang="en-GB"/>
                    </a:p>
                  </a:txBody>
                  <a:tcPr>
                    <a:noFill/>
                  </a:tcPr>
                </a:tc>
                <a:tc>
                  <a:txBody>
                    <a:bodyPr/>
                    <a:lstStyle/>
                    <a:p>
                      <a:endParaRPr lang="en-GB"/>
                    </a:p>
                  </a:txBody>
                  <a:tcPr>
                    <a:lnB w="38100" cap="flat" cmpd="sng" algn="ctr">
                      <a:solidFill>
                        <a:srgbClr val="003870"/>
                      </a:solidFill>
                      <a:prstDash val="solid"/>
                      <a:round/>
                      <a:headEnd type="none" w="med" len="med"/>
                      <a:tailEnd type="none" w="med" len="med"/>
                    </a:lnB>
                    <a:noFill/>
                  </a:tcPr>
                </a:tc>
                <a:tc>
                  <a:txBody>
                    <a:bodyPr/>
                    <a:lstStyle/>
                    <a:p>
                      <a:endParaRPr lang="en-GB"/>
                    </a:p>
                  </a:txBody>
                  <a:tcPr>
                    <a:noFill/>
                  </a:tcPr>
                </a:tc>
                <a:tc>
                  <a:txBody>
                    <a:bodyPr/>
                    <a:lstStyle/>
                    <a:p>
                      <a:endParaRPr lang="en-GB"/>
                    </a:p>
                  </a:txBody>
                  <a:tcPr>
                    <a:lnB w="38100" cap="flat" cmpd="sng" algn="ctr">
                      <a:solidFill>
                        <a:srgbClr val="003870"/>
                      </a:solidFill>
                      <a:prstDash val="solid"/>
                      <a:round/>
                      <a:headEnd type="none" w="med" len="med"/>
                      <a:tailEnd type="none" w="med" len="med"/>
                    </a:lnB>
                    <a:noFill/>
                  </a:tcPr>
                </a:tc>
                <a:extLst>
                  <a:ext uri="{0D108BD9-81ED-4DB2-BD59-A6C34878D82A}">
                    <a16:rowId xmlns:a16="http://schemas.microsoft.com/office/drawing/2014/main" xmlns="" val="10000"/>
                  </a:ext>
                </a:extLst>
              </a:tr>
              <a:tr h="198255">
                <a:tc>
                  <a:txBody>
                    <a:bodyPr/>
                    <a:lstStyle/>
                    <a:p>
                      <a:endParaRPr lang="en-GB" sz="300"/>
                    </a:p>
                  </a:txBody>
                  <a:tcPr>
                    <a:lnT w="38100" cap="flat" cmpd="sng" algn="ctr">
                      <a:solidFill>
                        <a:srgbClr val="003870"/>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a:txBody>
                    <a:bodyPr/>
                    <a:lstStyle/>
                    <a:p>
                      <a:endParaRPr lang="en-GB" sz="300"/>
                    </a:p>
                  </a:txBody>
                  <a:tcPr>
                    <a:noFill/>
                  </a:tcPr>
                </a:tc>
                <a:tc>
                  <a:txBody>
                    <a:bodyPr/>
                    <a:lstStyle/>
                    <a:p>
                      <a:endParaRPr lang="en-GB" sz="300"/>
                    </a:p>
                  </a:txBody>
                  <a:tcPr>
                    <a:lnT w="38100" cap="flat" cmpd="sng" algn="ctr">
                      <a:solidFill>
                        <a:srgbClr val="003870"/>
                      </a:solidFill>
                      <a:prstDash val="solid"/>
                      <a:round/>
                      <a:headEnd type="none" w="med" len="med"/>
                      <a:tailEnd type="none" w="med" len="med"/>
                    </a:lnT>
                    <a:noFill/>
                  </a:tcPr>
                </a:tc>
                <a:tc>
                  <a:txBody>
                    <a:bodyPr/>
                    <a:lstStyle/>
                    <a:p>
                      <a:endParaRPr lang="en-GB" sz="300"/>
                    </a:p>
                  </a:txBody>
                  <a:tcPr>
                    <a:noFill/>
                  </a:tcPr>
                </a:tc>
                <a:tc>
                  <a:txBody>
                    <a:bodyPr/>
                    <a:lstStyle/>
                    <a:p>
                      <a:endParaRPr lang="en-GB" sz="300"/>
                    </a:p>
                  </a:txBody>
                  <a:tcPr>
                    <a:lnT w="38100" cap="flat" cmpd="sng" algn="ctr">
                      <a:solidFill>
                        <a:srgbClr val="003870"/>
                      </a:solidFill>
                      <a:prstDash val="solid"/>
                      <a:round/>
                      <a:headEnd type="none" w="med" len="med"/>
                      <a:tailEnd type="none" w="med" len="med"/>
                    </a:lnT>
                    <a:noFill/>
                  </a:tcPr>
                </a:tc>
                <a:tc>
                  <a:txBody>
                    <a:bodyPr/>
                    <a:lstStyle/>
                    <a:p>
                      <a:endParaRPr lang="en-GB" sz="300"/>
                    </a:p>
                  </a:txBody>
                  <a:tcPr>
                    <a:noFill/>
                  </a:tcPr>
                </a:tc>
                <a:tc>
                  <a:txBody>
                    <a:bodyPr/>
                    <a:lstStyle/>
                    <a:p>
                      <a:endParaRPr lang="en-GB" sz="300"/>
                    </a:p>
                  </a:txBody>
                  <a:tcPr>
                    <a:lnT w="38100" cap="flat" cmpd="sng" algn="ctr">
                      <a:solidFill>
                        <a:srgbClr val="003870"/>
                      </a:solidFill>
                      <a:prstDash val="solid"/>
                      <a:round/>
                      <a:headEnd type="none" w="med" len="med"/>
                      <a:tailEnd type="none" w="med" len="med"/>
                    </a:lnT>
                    <a:noFill/>
                  </a:tcPr>
                </a:tc>
                <a:tc>
                  <a:txBody>
                    <a:bodyPr/>
                    <a:lstStyle/>
                    <a:p>
                      <a:endParaRPr lang="en-GB" sz="300"/>
                    </a:p>
                  </a:txBody>
                  <a:tcPr>
                    <a:noFill/>
                  </a:tcPr>
                </a:tc>
                <a:tc>
                  <a:txBody>
                    <a:bodyPr/>
                    <a:lstStyle/>
                    <a:p>
                      <a:endParaRPr lang="en-GB" sz="300"/>
                    </a:p>
                  </a:txBody>
                  <a:tcPr>
                    <a:lnT w="38100" cap="flat" cmpd="sng" algn="ctr">
                      <a:solidFill>
                        <a:srgbClr val="003870"/>
                      </a:solidFill>
                      <a:prstDash val="solid"/>
                      <a:round/>
                      <a:headEnd type="none" w="med" len="med"/>
                      <a:tailEnd type="none" w="med" len="med"/>
                    </a:lnT>
                    <a:noFill/>
                  </a:tcPr>
                </a:tc>
                <a:extLst>
                  <a:ext uri="{0D108BD9-81ED-4DB2-BD59-A6C34878D82A}">
                    <a16:rowId xmlns:a16="http://schemas.microsoft.com/office/drawing/2014/main" xmlns="" val="10001"/>
                  </a:ext>
                </a:extLst>
              </a:tr>
              <a:tr h="536023">
                <a:tc>
                  <a:txBody>
                    <a:bodyPr/>
                    <a:lstStyle/>
                    <a:p>
                      <a:endParaRPr lang="en-GB"/>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003870"/>
                    </a:solidFill>
                  </a:tcPr>
                </a:tc>
                <a:tc>
                  <a:txBody>
                    <a:bodyPr/>
                    <a:lstStyle/>
                    <a:p>
                      <a:endParaRPr lang="en-GB" sz="300"/>
                    </a:p>
                  </a:txBody>
                  <a:tcPr>
                    <a:lnL w="38100" cap="flat" cmpd="sng" algn="ctr">
                      <a:solidFill>
                        <a:schemeClr val="bg1"/>
                      </a:solidFill>
                      <a:prstDash val="solid"/>
                      <a:round/>
                      <a:headEnd type="none" w="med" len="med"/>
                      <a:tailEnd type="none" w="med" len="med"/>
                    </a:lnL>
                    <a:lnB w="12700" cap="flat" cmpd="sng" algn="ctr">
                      <a:solidFill>
                        <a:schemeClr val="accent6">
                          <a:lumMod val="40000"/>
                          <a:lumOff val="60000"/>
                        </a:schemeClr>
                      </a:solidFill>
                      <a:prstDash val="dash"/>
                      <a:round/>
                      <a:headEnd type="none" w="med" len="med"/>
                      <a:tailEnd type="none" w="med" len="med"/>
                    </a:lnB>
                    <a:noFill/>
                  </a:tcPr>
                </a:tc>
                <a:tc>
                  <a:txBody>
                    <a:bodyPr/>
                    <a:lstStyle/>
                    <a:p>
                      <a:endParaRPr lang="en-GB"/>
                    </a:p>
                  </a:txBody>
                  <a:tcPr>
                    <a:lnB w="12700" cap="flat" cmpd="sng" algn="ctr">
                      <a:solidFill>
                        <a:schemeClr val="accent6">
                          <a:lumMod val="40000"/>
                          <a:lumOff val="60000"/>
                        </a:schemeClr>
                      </a:solidFill>
                      <a:prstDash val="dash"/>
                      <a:round/>
                      <a:headEnd type="none" w="med" len="med"/>
                      <a:tailEnd type="none" w="med" len="med"/>
                    </a:lnB>
                    <a:noFill/>
                  </a:tcPr>
                </a:tc>
                <a:tc>
                  <a:txBody>
                    <a:bodyPr/>
                    <a:lstStyle/>
                    <a:p>
                      <a:endParaRPr lang="en-GB"/>
                    </a:p>
                  </a:txBody>
                  <a:tcPr>
                    <a:lnB w="12700" cap="flat" cmpd="sng" algn="ctr">
                      <a:solidFill>
                        <a:schemeClr val="accent6">
                          <a:lumMod val="40000"/>
                          <a:lumOff val="60000"/>
                        </a:schemeClr>
                      </a:solidFill>
                      <a:prstDash val="dash"/>
                      <a:round/>
                      <a:headEnd type="none" w="med" len="med"/>
                      <a:tailEnd type="none" w="med" len="med"/>
                    </a:lnB>
                    <a:noFill/>
                  </a:tcPr>
                </a:tc>
                <a:tc>
                  <a:txBody>
                    <a:bodyPr/>
                    <a:lstStyle/>
                    <a:p>
                      <a:endParaRPr lang="en-GB"/>
                    </a:p>
                  </a:txBody>
                  <a:tcPr>
                    <a:lnB w="12700" cap="flat" cmpd="sng" algn="ctr">
                      <a:solidFill>
                        <a:schemeClr val="accent6">
                          <a:lumMod val="40000"/>
                          <a:lumOff val="60000"/>
                        </a:schemeClr>
                      </a:solidFill>
                      <a:prstDash val="dash"/>
                      <a:round/>
                      <a:headEnd type="none" w="med" len="med"/>
                      <a:tailEnd type="none" w="med" len="med"/>
                    </a:lnB>
                    <a:noFill/>
                  </a:tcPr>
                </a:tc>
                <a:tc>
                  <a:txBody>
                    <a:bodyPr/>
                    <a:lstStyle/>
                    <a:p>
                      <a:endParaRPr lang="en-GB"/>
                    </a:p>
                  </a:txBody>
                  <a:tcPr>
                    <a:lnB w="12700" cap="flat" cmpd="sng" algn="ctr">
                      <a:solidFill>
                        <a:schemeClr val="accent6">
                          <a:lumMod val="40000"/>
                          <a:lumOff val="60000"/>
                        </a:schemeClr>
                      </a:solidFill>
                      <a:prstDash val="dash"/>
                      <a:round/>
                      <a:headEnd type="none" w="med" len="med"/>
                      <a:tailEnd type="none" w="med" len="med"/>
                    </a:lnB>
                    <a:noFill/>
                  </a:tcPr>
                </a:tc>
                <a:tc>
                  <a:txBody>
                    <a:bodyPr/>
                    <a:lstStyle/>
                    <a:p>
                      <a:endParaRPr lang="en-GB"/>
                    </a:p>
                  </a:txBody>
                  <a:tcPr>
                    <a:lnB w="12700" cap="flat" cmpd="sng" algn="ctr">
                      <a:solidFill>
                        <a:schemeClr val="accent6">
                          <a:lumMod val="40000"/>
                          <a:lumOff val="60000"/>
                        </a:schemeClr>
                      </a:solidFill>
                      <a:prstDash val="dash"/>
                      <a:round/>
                      <a:headEnd type="none" w="med" len="med"/>
                      <a:tailEnd type="none" w="med" len="med"/>
                    </a:lnB>
                    <a:noFill/>
                  </a:tcPr>
                </a:tc>
                <a:tc>
                  <a:txBody>
                    <a:bodyPr/>
                    <a:lstStyle/>
                    <a:p>
                      <a:endParaRPr lang="en-GB"/>
                    </a:p>
                  </a:txBody>
                  <a:tcPr>
                    <a:lnB w="12700" cap="flat" cmpd="sng" algn="ctr">
                      <a:solidFill>
                        <a:schemeClr val="accent6">
                          <a:lumMod val="40000"/>
                          <a:lumOff val="60000"/>
                        </a:schemeClr>
                      </a:solidFill>
                      <a:prstDash val="dash"/>
                      <a:round/>
                      <a:headEnd type="none" w="med" len="med"/>
                      <a:tailEnd type="none" w="med" len="med"/>
                    </a:lnB>
                    <a:noFill/>
                  </a:tcPr>
                </a:tc>
                <a:tc>
                  <a:txBody>
                    <a:bodyPr/>
                    <a:lstStyle/>
                    <a:p>
                      <a:endParaRPr lang="en-GB"/>
                    </a:p>
                  </a:txBody>
                  <a:tcPr>
                    <a:lnB w="12700" cap="flat" cmpd="sng" algn="ctr">
                      <a:solidFill>
                        <a:schemeClr val="accent6">
                          <a:lumMod val="40000"/>
                          <a:lumOff val="60000"/>
                        </a:schemeClr>
                      </a:solidFill>
                      <a:prstDash val="dash"/>
                      <a:round/>
                      <a:headEnd type="none" w="med" len="med"/>
                      <a:tailEnd type="none" w="med" len="med"/>
                    </a:lnB>
                    <a:noFill/>
                  </a:tcPr>
                </a:tc>
                <a:extLst>
                  <a:ext uri="{0D108BD9-81ED-4DB2-BD59-A6C34878D82A}">
                    <a16:rowId xmlns:a16="http://schemas.microsoft.com/office/drawing/2014/main" xmlns="" val="10002"/>
                  </a:ext>
                </a:extLst>
              </a:tr>
              <a:tr h="536023">
                <a:tc>
                  <a:txBody>
                    <a:bodyPr/>
                    <a:lstStyle/>
                    <a:p>
                      <a:endParaRPr lang="en-GB"/>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003870"/>
                    </a:solidFill>
                  </a:tcPr>
                </a:tc>
                <a:tc>
                  <a:txBody>
                    <a:bodyPr/>
                    <a:lstStyle/>
                    <a:p>
                      <a:endParaRPr lang="en-GB" sz="300"/>
                    </a:p>
                  </a:txBody>
                  <a:tcPr>
                    <a:lnL w="38100" cap="flat" cmpd="sng" algn="ctr">
                      <a:solidFill>
                        <a:schemeClr val="bg1"/>
                      </a:solidFill>
                      <a:prstDash val="solid"/>
                      <a:round/>
                      <a:headEnd type="none" w="med" len="med"/>
                      <a:tailEnd type="none" w="med" len="med"/>
                    </a:lnL>
                    <a:lnT w="12700" cap="flat" cmpd="sng" algn="ctr">
                      <a:solidFill>
                        <a:schemeClr val="accent6">
                          <a:lumMod val="40000"/>
                          <a:lumOff val="60000"/>
                        </a:schemeClr>
                      </a:solidFill>
                      <a:prstDash val="dash"/>
                      <a:round/>
                      <a:headEnd type="none" w="med" len="med"/>
                      <a:tailEnd type="none" w="med" len="med"/>
                    </a:lnT>
                    <a:lnB w="12700" cap="flat" cmpd="sng" algn="ctr">
                      <a:solidFill>
                        <a:schemeClr val="accent6">
                          <a:lumMod val="40000"/>
                          <a:lumOff val="60000"/>
                        </a:schemeClr>
                      </a:solidFill>
                      <a:prstDash val="dash"/>
                      <a:round/>
                      <a:headEnd type="none" w="med" len="med"/>
                      <a:tailEnd type="none" w="med" len="med"/>
                    </a:lnB>
                    <a:noFill/>
                  </a:tcPr>
                </a:tc>
                <a:tc>
                  <a:txBody>
                    <a:bodyPr/>
                    <a:lstStyle/>
                    <a:p>
                      <a:endParaRPr lang="en-GB"/>
                    </a:p>
                  </a:txBody>
                  <a:tcPr>
                    <a:lnT w="12700" cap="flat" cmpd="sng" algn="ctr">
                      <a:solidFill>
                        <a:schemeClr val="accent6">
                          <a:lumMod val="40000"/>
                          <a:lumOff val="60000"/>
                        </a:schemeClr>
                      </a:solidFill>
                      <a:prstDash val="dash"/>
                      <a:round/>
                      <a:headEnd type="none" w="med" len="med"/>
                      <a:tailEnd type="none" w="med" len="med"/>
                    </a:lnT>
                    <a:lnB w="12700" cap="flat" cmpd="sng" algn="ctr">
                      <a:solidFill>
                        <a:schemeClr val="accent6">
                          <a:lumMod val="40000"/>
                          <a:lumOff val="60000"/>
                        </a:schemeClr>
                      </a:solidFill>
                      <a:prstDash val="dash"/>
                      <a:round/>
                      <a:headEnd type="none" w="med" len="med"/>
                      <a:tailEnd type="none" w="med" len="med"/>
                    </a:lnB>
                    <a:noFill/>
                  </a:tcPr>
                </a:tc>
                <a:tc>
                  <a:txBody>
                    <a:bodyPr/>
                    <a:lstStyle/>
                    <a:p>
                      <a:endParaRPr lang="en-GB"/>
                    </a:p>
                  </a:txBody>
                  <a:tcPr>
                    <a:lnT w="12700" cap="flat" cmpd="sng" algn="ctr">
                      <a:solidFill>
                        <a:schemeClr val="accent6">
                          <a:lumMod val="40000"/>
                          <a:lumOff val="60000"/>
                        </a:schemeClr>
                      </a:solidFill>
                      <a:prstDash val="dash"/>
                      <a:round/>
                      <a:headEnd type="none" w="med" len="med"/>
                      <a:tailEnd type="none" w="med" len="med"/>
                    </a:lnT>
                    <a:lnB w="12700" cap="flat" cmpd="sng" algn="ctr">
                      <a:solidFill>
                        <a:schemeClr val="accent6">
                          <a:lumMod val="40000"/>
                          <a:lumOff val="60000"/>
                        </a:schemeClr>
                      </a:solidFill>
                      <a:prstDash val="dash"/>
                      <a:round/>
                      <a:headEnd type="none" w="med" len="med"/>
                      <a:tailEnd type="none" w="med" len="med"/>
                    </a:lnB>
                    <a:noFill/>
                  </a:tcPr>
                </a:tc>
                <a:tc>
                  <a:txBody>
                    <a:bodyPr/>
                    <a:lstStyle/>
                    <a:p>
                      <a:endParaRPr lang="en-GB"/>
                    </a:p>
                  </a:txBody>
                  <a:tcPr>
                    <a:lnT w="12700" cap="flat" cmpd="sng" algn="ctr">
                      <a:solidFill>
                        <a:schemeClr val="accent6">
                          <a:lumMod val="40000"/>
                          <a:lumOff val="60000"/>
                        </a:schemeClr>
                      </a:solidFill>
                      <a:prstDash val="dash"/>
                      <a:round/>
                      <a:headEnd type="none" w="med" len="med"/>
                      <a:tailEnd type="none" w="med" len="med"/>
                    </a:lnT>
                    <a:lnB w="12700" cap="flat" cmpd="sng" algn="ctr">
                      <a:solidFill>
                        <a:schemeClr val="accent6">
                          <a:lumMod val="40000"/>
                          <a:lumOff val="60000"/>
                        </a:schemeClr>
                      </a:solidFill>
                      <a:prstDash val="dash"/>
                      <a:round/>
                      <a:headEnd type="none" w="med" len="med"/>
                      <a:tailEnd type="none" w="med" len="med"/>
                    </a:lnB>
                    <a:noFill/>
                  </a:tcPr>
                </a:tc>
                <a:tc>
                  <a:txBody>
                    <a:bodyPr/>
                    <a:lstStyle/>
                    <a:p>
                      <a:endParaRPr lang="en-GB"/>
                    </a:p>
                  </a:txBody>
                  <a:tcPr>
                    <a:lnT w="12700" cap="flat" cmpd="sng" algn="ctr">
                      <a:solidFill>
                        <a:schemeClr val="accent6">
                          <a:lumMod val="40000"/>
                          <a:lumOff val="60000"/>
                        </a:schemeClr>
                      </a:solidFill>
                      <a:prstDash val="dash"/>
                      <a:round/>
                      <a:headEnd type="none" w="med" len="med"/>
                      <a:tailEnd type="none" w="med" len="med"/>
                    </a:lnT>
                    <a:lnB w="12700" cap="flat" cmpd="sng" algn="ctr">
                      <a:solidFill>
                        <a:schemeClr val="accent6">
                          <a:lumMod val="40000"/>
                          <a:lumOff val="60000"/>
                        </a:schemeClr>
                      </a:solidFill>
                      <a:prstDash val="dash"/>
                      <a:round/>
                      <a:headEnd type="none" w="med" len="med"/>
                      <a:tailEnd type="none" w="med" len="med"/>
                    </a:lnB>
                    <a:noFill/>
                  </a:tcPr>
                </a:tc>
                <a:tc>
                  <a:txBody>
                    <a:bodyPr/>
                    <a:lstStyle/>
                    <a:p>
                      <a:endParaRPr lang="en-GB"/>
                    </a:p>
                  </a:txBody>
                  <a:tcPr>
                    <a:lnT w="12700" cap="flat" cmpd="sng" algn="ctr">
                      <a:solidFill>
                        <a:schemeClr val="accent6">
                          <a:lumMod val="40000"/>
                          <a:lumOff val="60000"/>
                        </a:schemeClr>
                      </a:solidFill>
                      <a:prstDash val="dash"/>
                      <a:round/>
                      <a:headEnd type="none" w="med" len="med"/>
                      <a:tailEnd type="none" w="med" len="med"/>
                    </a:lnT>
                    <a:lnB w="12700" cap="flat" cmpd="sng" algn="ctr">
                      <a:solidFill>
                        <a:schemeClr val="accent6">
                          <a:lumMod val="40000"/>
                          <a:lumOff val="60000"/>
                        </a:schemeClr>
                      </a:solidFill>
                      <a:prstDash val="dash"/>
                      <a:round/>
                      <a:headEnd type="none" w="med" len="med"/>
                      <a:tailEnd type="none" w="med" len="med"/>
                    </a:lnB>
                    <a:noFill/>
                  </a:tcPr>
                </a:tc>
                <a:tc>
                  <a:txBody>
                    <a:bodyPr/>
                    <a:lstStyle/>
                    <a:p>
                      <a:endParaRPr lang="en-GB"/>
                    </a:p>
                  </a:txBody>
                  <a:tcPr>
                    <a:lnT w="12700" cap="flat" cmpd="sng" algn="ctr">
                      <a:solidFill>
                        <a:schemeClr val="accent6">
                          <a:lumMod val="40000"/>
                          <a:lumOff val="60000"/>
                        </a:schemeClr>
                      </a:solidFill>
                      <a:prstDash val="dash"/>
                      <a:round/>
                      <a:headEnd type="none" w="med" len="med"/>
                      <a:tailEnd type="none" w="med" len="med"/>
                    </a:lnT>
                    <a:lnB w="12700" cap="flat" cmpd="sng" algn="ctr">
                      <a:solidFill>
                        <a:schemeClr val="accent6">
                          <a:lumMod val="40000"/>
                          <a:lumOff val="60000"/>
                        </a:schemeClr>
                      </a:solidFill>
                      <a:prstDash val="dash"/>
                      <a:round/>
                      <a:headEnd type="none" w="med" len="med"/>
                      <a:tailEnd type="none" w="med" len="med"/>
                    </a:lnB>
                    <a:noFill/>
                  </a:tcPr>
                </a:tc>
                <a:tc>
                  <a:txBody>
                    <a:bodyPr/>
                    <a:lstStyle/>
                    <a:p>
                      <a:endParaRPr lang="en-GB"/>
                    </a:p>
                  </a:txBody>
                  <a:tcPr>
                    <a:lnT w="12700" cap="flat" cmpd="sng" algn="ctr">
                      <a:solidFill>
                        <a:schemeClr val="accent6">
                          <a:lumMod val="40000"/>
                          <a:lumOff val="60000"/>
                        </a:schemeClr>
                      </a:solidFill>
                      <a:prstDash val="dash"/>
                      <a:round/>
                      <a:headEnd type="none" w="med" len="med"/>
                      <a:tailEnd type="none" w="med" len="med"/>
                    </a:lnT>
                    <a:lnB w="12700" cap="flat" cmpd="sng" algn="ctr">
                      <a:solidFill>
                        <a:schemeClr val="accent6">
                          <a:lumMod val="40000"/>
                          <a:lumOff val="60000"/>
                        </a:schemeClr>
                      </a:solidFill>
                      <a:prstDash val="dash"/>
                      <a:round/>
                      <a:headEnd type="none" w="med" len="med"/>
                      <a:tailEnd type="none" w="med" len="med"/>
                    </a:lnB>
                    <a:noFill/>
                  </a:tcPr>
                </a:tc>
                <a:extLst>
                  <a:ext uri="{0D108BD9-81ED-4DB2-BD59-A6C34878D82A}">
                    <a16:rowId xmlns:a16="http://schemas.microsoft.com/office/drawing/2014/main" xmlns="" val="10003"/>
                  </a:ext>
                </a:extLst>
              </a:tr>
              <a:tr h="536023">
                <a:tc>
                  <a:txBody>
                    <a:bodyPr/>
                    <a:lstStyle/>
                    <a:p>
                      <a:endParaRPr lang="en-GB"/>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003870"/>
                    </a:solidFill>
                  </a:tcPr>
                </a:tc>
                <a:tc>
                  <a:txBody>
                    <a:bodyPr/>
                    <a:lstStyle/>
                    <a:p>
                      <a:endParaRPr lang="en-GB" sz="300"/>
                    </a:p>
                  </a:txBody>
                  <a:tcPr>
                    <a:lnL w="38100" cap="flat" cmpd="sng" algn="ctr">
                      <a:solidFill>
                        <a:schemeClr val="bg1"/>
                      </a:solidFill>
                      <a:prstDash val="solid"/>
                      <a:round/>
                      <a:headEnd type="none" w="med" len="med"/>
                      <a:tailEnd type="none" w="med" len="med"/>
                    </a:lnL>
                    <a:lnT w="12700" cap="flat" cmpd="sng" algn="ctr">
                      <a:solidFill>
                        <a:schemeClr val="accent6">
                          <a:lumMod val="40000"/>
                          <a:lumOff val="60000"/>
                        </a:schemeClr>
                      </a:solidFill>
                      <a:prstDash val="dash"/>
                      <a:round/>
                      <a:headEnd type="none" w="med" len="med"/>
                      <a:tailEnd type="none" w="med" len="med"/>
                    </a:lnT>
                    <a:lnB w="12700" cap="flat" cmpd="sng" algn="ctr">
                      <a:solidFill>
                        <a:schemeClr val="accent6">
                          <a:lumMod val="40000"/>
                          <a:lumOff val="60000"/>
                        </a:schemeClr>
                      </a:solidFill>
                      <a:prstDash val="dash"/>
                      <a:round/>
                      <a:headEnd type="none" w="med" len="med"/>
                      <a:tailEnd type="none" w="med" len="med"/>
                    </a:lnB>
                    <a:noFill/>
                  </a:tcPr>
                </a:tc>
                <a:tc>
                  <a:txBody>
                    <a:bodyPr/>
                    <a:lstStyle/>
                    <a:p>
                      <a:endParaRPr lang="en-GB"/>
                    </a:p>
                  </a:txBody>
                  <a:tcPr>
                    <a:lnT w="12700" cap="flat" cmpd="sng" algn="ctr">
                      <a:solidFill>
                        <a:schemeClr val="accent6">
                          <a:lumMod val="40000"/>
                          <a:lumOff val="60000"/>
                        </a:schemeClr>
                      </a:solidFill>
                      <a:prstDash val="dash"/>
                      <a:round/>
                      <a:headEnd type="none" w="med" len="med"/>
                      <a:tailEnd type="none" w="med" len="med"/>
                    </a:lnT>
                    <a:lnB w="12700" cap="flat" cmpd="sng" algn="ctr">
                      <a:solidFill>
                        <a:schemeClr val="accent6">
                          <a:lumMod val="40000"/>
                          <a:lumOff val="60000"/>
                        </a:schemeClr>
                      </a:solidFill>
                      <a:prstDash val="dash"/>
                      <a:round/>
                      <a:headEnd type="none" w="med" len="med"/>
                      <a:tailEnd type="none" w="med" len="med"/>
                    </a:lnB>
                    <a:noFill/>
                  </a:tcPr>
                </a:tc>
                <a:tc>
                  <a:txBody>
                    <a:bodyPr/>
                    <a:lstStyle/>
                    <a:p>
                      <a:endParaRPr lang="en-GB"/>
                    </a:p>
                  </a:txBody>
                  <a:tcPr>
                    <a:lnT w="12700" cap="flat" cmpd="sng" algn="ctr">
                      <a:solidFill>
                        <a:schemeClr val="accent6">
                          <a:lumMod val="40000"/>
                          <a:lumOff val="60000"/>
                        </a:schemeClr>
                      </a:solidFill>
                      <a:prstDash val="dash"/>
                      <a:round/>
                      <a:headEnd type="none" w="med" len="med"/>
                      <a:tailEnd type="none" w="med" len="med"/>
                    </a:lnT>
                    <a:lnB w="12700" cap="flat" cmpd="sng" algn="ctr">
                      <a:solidFill>
                        <a:schemeClr val="accent6">
                          <a:lumMod val="40000"/>
                          <a:lumOff val="60000"/>
                        </a:schemeClr>
                      </a:solidFill>
                      <a:prstDash val="dash"/>
                      <a:round/>
                      <a:headEnd type="none" w="med" len="med"/>
                      <a:tailEnd type="none" w="med" len="med"/>
                    </a:lnB>
                    <a:noFill/>
                  </a:tcPr>
                </a:tc>
                <a:tc>
                  <a:txBody>
                    <a:bodyPr/>
                    <a:lstStyle/>
                    <a:p>
                      <a:endParaRPr lang="en-GB"/>
                    </a:p>
                  </a:txBody>
                  <a:tcPr>
                    <a:lnT w="12700" cap="flat" cmpd="sng" algn="ctr">
                      <a:solidFill>
                        <a:schemeClr val="accent6">
                          <a:lumMod val="40000"/>
                          <a:lumOff val="60000"/>
                        </a:schemeClr>
                      </a:solidFill>
                      <a:prstDash val="dash"/>
                      <a:round/>
                      <a:headEnd type="none" w="med" len="med"/>
                      <a:tailEnd type="none" w="med" len="med"/>
                    </a:lnT>
                    <a:lnB w="12700" cap="flat" cmpd="sng" algn="ctr">
                      <a:solidFill>
                        <a:schemeClr val="accent6">
                          <a:lumMod val="40000"/>
                          <a:lumOff val="60000"/>
                        </a:schemeClr>
                      </a:solidFill>
                      <a:prstDash val="dash"/>
                      <a:round/>
                      <a:headEnd type="none" w="med" len="med"/>
                      <a:tailEnd type="none" w="med" len="med"/>
                    </a:lnB>
                    <a:noFill/>
                  </a:tcPr>
                </a:tc>
                <a:tc>
                  <a:txBody>
                    <a:bodyPr/>
                    <a:lstStyle/>
                    <a:p>
                      <a:endParaRPr lang="en-GB"/>
                    </a:p>
                  </a:txBody>
                  <a:tcPr>
                    <a:lnT w="12700" cap="flat" cmpd="sng" algn="ctr">
                      <a:solidFill>
                        <a:schemeClr val="accent6">
                          <a:lumMod val="40000"/>
                          <a:lumOff val="60000"/>
                        </a:schemeClr>
                      </a:solidFill>
                      <a:prstDash val="dash"/>
                      <a:round/>
                      <a:headEnd type="none" w="med" len="med"/>
                      <a:tailEnd type="none" w="med" len="med"/>
                    </a:lnT>
                    <a:lnB w="12700" cap="flat" cmpd="sng" algn="ctr">
                      <a:solidFill>
                        <a:schemeClr val="accent6">
                          <a:lumMod val="40000"/>
                          <a:lumOff val="60000"/>
                        </a:schemeClr>
                      </a:solidFill>
                      <a:prstDash val="dash"/>
                      <a:round/>
                      <a:headEnd type="none" w="med" len="med"/>
                      <a:tailEnd type="none" w="med" len="med"/>
                    </a:lnB>
                    <a:noFill/>
                  </a:tcPr>
                </a:tc>
                <a:tc>
                  <a:txBody>
                    <a:bodyPr/>
                    <a:lstStyle/>
                    <a:p>
                      <a:endParaRPr lang="en-GB"/>
                    </a:p>
                  </a:txBody>
                  <a:tcPr>
                    <a:lnT w="12700" cap="flat" cmpd="sng" algn="ctr">
                      <a:solidFill>
                        <a:schemeClr val="accent6">
                          <a:lumMod val="40000"/>
                          <a:lumOff val="60000"/>
                        </a:schemeClr>
                      </a:solidFill>
                      <a:prstDash val="dash"/>
                      <a:round/>
                      <a:headEnd type="none" w="med" len="med"/>
                      <a:tailEnd type="none" w="med" len="med"/>
                    </a:lnT>
                    <a:lnB w="12700" cap="flat" cmpd="sng" algn="ctr">
                      <a:solidFill>
                        <a:schemeClr val="accent6">
                          <a:lumMod val="40000"/>
                          <a:lumOff val="60000"/>
                        </a:schemeClr>
                      </a:solidFill>
                      <a:prstDash val="dash"/>
                      <a:round/>
                      <a:headEnd type="none" w="med" len="med"/>
                      <a:tailEnd type="none" w="med" len="med"/>
                    </a:lnB>
                    <a:noFill/>
                  </a:tcPr>
                </a:tc>
                <a:tc>
                  <a:txBody>
                    <a:bodyPr/>
                    <a:lstStyle/>
                    <a:p>
                      <a:endParaRPr lang="en-GB"/>
                    </a:p>
                  </a:txBody>
                  <a:tcPr>
                    <a:lnT w="12700" cap="flat" cmpd="sng" algn="ctr">
                      <a:solidFill>
                        <a:schemeClr val="accent6">
                          <a:lumMod val="40000"/>
                          <a:lumOff val="60000"/>
                        </a:schemeClr>
                      </a:solidFill>
                      <a:prstDash val="dash"/>
                      <a:round/>
                      <a:headEnd type="none" w="med" len="med"/>
                      <a:tailEnd type="none" w="med" len="med"/>
                    </a:lnT>
                    <a:lnB w="12700" cap="flat" cmpd="sng" algn="ctr">
                      <a:solidFill>
                        <a:schemeClr val="accent6">
                          <a:lumMod val="40000"/>
                          <a:lumOff val="60000"/>
                        </a:schemeClr>
                      </a:solidFill>
                      <a:prstDash val="dash"/>
                      <a:round/>
                      <a:headEnd type="none" w="med" len="med"/>
                      <a:tailEnd type="none" w="med" len="med"/>
                    </a:lnB>
                    <a:noFill/>
                  </a:tcPr>
                </a:tc>
                <a:tc>
                  <a:txBody>
                    <a:bodyPr/>
                    <a:lstStyle/>
                    <a:p>
                      <a:endParaRPr lang="en-GB"/>
                    </a:p>
                  </a:txBody>
                  <a:tcPr>
                    <a:lnT w="12700" cap="flat" cmpd="sng" algn="ctr">
                      <a:solidFill>
                        <a:schemeClr val="accent6">
                          <a:lumMod val="40000"/>
                          <a:lumOff val="60000"/>
                        </a:schemeClr>
                      </a:solidFill>
                      <a:prstDash val="dash"/>
                      <a:round/>
                      <a:headEnd type="none" w="med" len="med"/>
                      <a:tailEnd type="none" w="med" len="med"/>
                    </a:lnT>
                    <a:lnB w="12700" cap="flat" cmpd="sng" algn="ctr">
                      <a:solidFill>
                        <a:schemeClr val="accent6">
                          <a:lumMod val="40000"/>
                          <a:lumOff val="60000"/>
                        </a:schemeClr>
                      </a:solidFill>
                      <a:prstDash val="dash"/>
                      <a:round/>
                      <a:headEnd type="none" w="med" len="med"/>
                      <a:tailEnd type="none" w="med" len="med"/>
                    </a:lnB>
                    <a:noFill/>
                  </a:tcPr>
                </a:tc>
                <a:extLst>
                  <a:ext uri="{0D108BD9-81ED-4DB2-BD59-A6C34878D82A}">
                    <a16:rowId xmlns:a16="http://schemas.microsoft.com/office/drawing/2014/main" xmlns="" val="10004"/>
                  </a:ext>
                </a:extLst>
              </a:tr>
              <a:tr h="536023">
                <a:tc>
                  <a:txBody>
                    <a:bodyPr/>
                    <a:lstStyle/>
                    <a:p>
                      <a:endParaRPr lang="en-GB"/>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003870"/>
                    </a:solidFill>
                  </a:tcPr>
                </a:tc>
                <a:tc>
                  <a:txBody>
                    <a:bodyPr/>
                    <a:lstStyle/>
                    <a:p>
                      <a:endParaRPr lang="en-GB" sz="300"/>
                    </a:p>
                  </a:txBody>
                  <a:tcPr>
                    <a:lnL w="38100" cap="flat" cmpd="sng" algn="ctr">
                      <a:solidFill>
                        <a:schemeClr val="bg1"/>
                      </a:solidFill>
                      <a:prstDash val="solid"/>
                      <a:round/>
                      <a:headEnd type="none" w="med" len="med"/>
                      <a:tailEnd type="none" w="med" len="med"/>
                    </a:lnL>
                    <a:lnT w="12700" cap="flat" cmpd="sng" algn="ctr">
                      <a:solidFill>
                        <a:schemeClr val="accent6">
                          <a:lumMod val="40000"/>
                          <a:lumOff val="60000"/>
                        </a:schemeClr>
                      </a:solidFill>
                      <a:prstDash val="dash"/>
                      <a:round/>
                      <a:headEnd type="none" w="med" len="med"/>
                      <a:tailEnd type="none" w="med" len="med"/>
                    </a:lnT>
                    <a:lnB w="12700" cap="flat" cmpd="sng" algn="ctr">
                      <a:solidFill>
                        <a:schemeClr val="accent6">
                          <a:lumMod val="40000"/>
                          <a:lumOff val="60000"/>
                        </a:schemeClr>
                      </a:solidFill>
                      <a:prstDash val="dash"/>
                      <a:round/>
                      <a:headEnd type="none" w="med" len="med"/>
                      <a:tailEnd type="none" w="med" len="med"/>
                    </a:lnB>
                    <a:noFill/>
                  </a:tcPr>
                </a:tc>
                <a:tc>
                  <a:txBody>
                    <a:bodyPr/>
                    <a:lstStyle/>
                    <a:p>
                      <a:endParaRPr lang="en-GB"/>
                    </a:p>
                  </a:txBody>
                  <a:tcPr>
                    <a:lnT w="12700" cap="flat" cmpd="sng" algn="ctr">
                      <a:solidFill>
                        <a:schemeClr val="accent6">
                          <a:lumMod val="40000"/>
                          <a:lumOff val="60000"/>
                        </a:schemeClr>
                      </a:solidFill>
                      <a:prstDash val="dash"/>
                      <a:round/>
                      <a:headEnd type="none" w="med" len="med"/>
                      <a:tailEnd type="none" w="med" len="med"/>
                    </a:lnT>
                    <a:lnB w="12700" cap="flat" cmpd="sng" algn="ctr">
                      <a:solidFill>
                        <a:schemeClr val="accent6">
                          <a:lumMod val="40000"/>
                          <a:lumOff val="60000"/>
                        </a:schemeClr>
                      </a:solidFill>
                      <a:prstDash val="dash"/>
                      <a:round/>
                      <a:headEnd type="none" w="med" len="med"/>
                      <a:tailEnd type="none" w="med" len="med"/>
                    </a:lnB>
                    <a:noFill/>
                  </a:tcPr>
                </a:tc>
                <a:tc>
                  <a:txBody>
                    <a:bodyPr/>
                    <a:lstStyle/>
                    <a:p>
                      <a:endParaRPr lang="en-GB"/>
                    </a:p>
                  </a:txBody>
                  <a:tcPr>
                    <a:lnT w="12700" cap="flat" cmpd="sng" algn="ctr">
                      <a:solidFill>
                        <a:schemeClr val="accent6">
                          <a:lumMod val="40000"/>
                          <a:lumOff val="60000"/>
                        </a:schemeClr>
                      </a:solidFill>
                      <a:prstDash val="dash"/>
                      <a:round/>
                      <a:headEnd type="none" w="med" len="med"/>
                      <a:tailEnd type="none" w="med" len="med"/>
                    </a:lnT>
                    <a:lnB w="12700" cap="flat" cmpd="sng" algn="ctr">
                      <a:solidFill>
                        <a:schemeClr val="accent6">
                          <a:lumMod val="40000"/>
                          <a:lumOff val="60000"/>
                        </a:schemeClr>
                      </a:solidFill>
                      <a:prstDash val="dash"/>
                      <a:round/>
                      <a:headEnd type="none" w="med" len="med"/>
                      <a:tailEnd type="none" w="med" len="med"/>
                    </a:lnB>
                    <a:noFill/>
                  </a:tcPr>
                </a:tc>
                <a:tc>
                  <a:txBody>
                    <a:bodyPr/>
                    <a:lstStyle/>
                    <a:p>
                      <a:endParaRPr lang="en-GB"/>
                    </a:p>
                  </a:txBody>
                  <a:tcPr>
                    <a:lnT w="12700" cap="flat" cmpd="sng" algn="ctr">
                      <a:solidFill>
                        <a:schemeClr val="accent6">
                          <a:lumMod val="40000"/>
                          <a:lumOff val="60000"/>
                        </a:schemeClr>
                      </a:solidFill>
                      <a:prstDash val="dash"/>
                      <a:round/>
                      <a:headEnd type="none" w="med" len="med"/>
                      <a:tailEnd type="none" w="med" len="med"/>
                    </a:lnT>
                    <a:lnB w="12700" cap="flat" cmpd="sng" algn="ctr">
                      <a:solidFill>
                        <a:schemeClr val="accent6">
                          <a:lumMod val="40000"/>
                          <a:lumOff val="60000"/>
                        </a:schemeClr>
                      </a:solidFill>
                      <a:prstDash val="dash"/>
                      <a:round/>
                      <a:headEnd type="none" w="med" len="med"/>
                      <a:tailEnd type="none" w="med" len="med"/>
                    </a:lnB>
                    <a:noFill/>
                  </a:tcPr>
                </a:tc>
                <a:tc>
                  <a:txBody>
                    <a:bodyPr/>
                    <a:lstStyle/>
                    <a:p>
                      <a:endParaRPr lang="en-GB"/>
                    </a:p>
                  </a:txBody>
                  <a:tcPr>
                    <a:lnT w="12700" cap="flat" cmpd="sng" algn="ctr">
                      <a:solidFill>
                        <a:schemeClr val="accent6">
                          <a:lumMod val="40000"/>
                          <a:lumOff val="60000"/>
                        </a:schemeClr>
                      </a:solidFill>
                      <a:prstDash val="dash"/>
                      <a:round/>
                      <a:headEnd type="none" w="med" len="med"/>
                      <a:tailEnd type="none" w="med" len="med"/>
                    </a:lnT>
                    <a:lnB w="12700" cap="flat" cmpd="sng" algn="ctr">
                      <a:solidFill>
                        <a:schemeClr val="accent6">
                          <a:lumMod val="40000"/>
                          <a:lumOff val="60000"/>
                        </a:schemeClr>
                      </a:solidFill>
                      <a:prstDash val="dash"/>
                      <a:round/>
                      <a:headEnd type="none" w="med" len="med"/>
                      <a:tailEnd type="none" w="med" len="med"/>
                    </a:lnB>
                    <a:noFill/>
                  </a:tcPr>
                </a:tc>
                <a:tc>
                  <a:txBody>
                    <a:bodyPr/>
                    <a:lstStyle/>
                    <a:p>
                      <a:endParaRPr lang="en-GB"/>
                    </a:p>
                  </a:txBody>
                  <a:tcPr>
                    <a:lnT w="12700" cap="flat" cmpd="sng" algn="ctr">
                      <a:solidFill>
                        <a:schemeClr val="accent6">
                          <a:lumMod val="40000"/>
                          <a:lumOff val="60000"/>
                        </a:schemeClr>
                      </a:solidFill>
                      <a:prstDash val="dash"/>
                      <a:round/>
                      <a:headEnd type="none" w="med" len="med"/>
                      <a:tailEnd type="none" w="med" len="med"/>
                    </a:lnT>
                    <a:lnB w="12700" cap="flat" cmpd="sng" algn="ctr">
                      <a:solidFill>
                        <a:schemeClr val="accent6">
                          <a:lumMod val="40000"/>
                          <a:lumOff val="60000"/>
                        </a:schemeClr>
                      </a:solidFill>
                      <a:prstDash val="dash"/>
                      <a:round/>
                      <a:headEnd type="none" w="med" len="med"/>
                      <a:tailEnd type="none" w="med" len="med"/>
                    </a:lnB>
                    <a:noFill/>
                  </a:tcPr>
                </a:tc>
                <a:tc>
                  <a:txBody>
                    <a:bodyPr/>
                    <a:lstStyle/>
                    <a:p>
                      <a:endParaRPr lang="en-GB"/>
                    </a:p>
                  </a:txBody>
                  <a:tcPr>
                    <a:lnT w="12700" cap="flat" cmpd="sng" algn="ctr">
                      <a:solidFill>
                        <a:schemeClr val="accent6">
                          <a:lumMod val="40000"/>
                          <a:lumOff val="60000"/>
                        </a:schemeClr>
                      </a:solidFill>
                      <a:prstDash val="dash"/>
                      <a:round/>
                      <a:headEnd type="none" w="med" len="med"/>
                      <a:tailEnd type="none" w="med" len="med"/>
                    </a:lnT>
                    <a:lnB w="12700" cap="flat" cmpd="sng" algn="ctr">
                      <a:solidFill>
                        <a:schemeClr val="accent6">
                          <a:lumMod val="40000"/>
                          <a:lumOff val="60000"/>
                        </a:schemeClr>
                      </a:solidFill>
                      <a:prstDash val="dash"/>
                      <a:round/>
                      <a:headEnd type="none" w="med" len="med"/>
                      <a:tailEnd type="none" w="med" len="med"/>
                    </a:lnB>
                    <a:noFill/>
                  </a:tcPr>
                </a:tc>
                <a:tc>
                  <a:txBody>
                    <a:bodyPr/>
                    <a:lstStyle/>
                    <a:p>
                      <a:endParaRPr lang="en-GB"/>
                    </a:p>
                  </a:txBody>
                  <a:tcPr>
                    <a:lnT w="12700" cap="flat" cmpd="sng" algn="ctr">
                      <a:solidFill>
                        <a:schemeClr val="accent6">
                          <a:lumMod val="40000"/>
                          <a:lumOff val="60000"/>
                        </a:schemeClr>
                      </a:solidFill>
                      <a:prstDash val="dash"/>
                      <a:round/>
                      <a:headEnd type="none" w="med" len="med"/>
                      <a:tailEnd type="none" w="med" len="med"/>
                    </a:lnT>
                    <a:lnB w="12700" cap="flat" cmpd="sng" algn="ctr">
                      <a:solidFill>
                        <a:schemeClr val="accent6">
                          <a:lumMod val="40000"/>
                          <a:lumOff val="60000"/>
                        </a:schemeClr>
                      </a:solidFill>
                      <a:prstDash val="dash"/>
                      <a:round/>
                      <a:headEnd type="none" w="med" len="med"/>
                      <a:tailEnd type="none" w="med" len="med"/>
                    </a:lnB>
                    <a:noFill/>
                  </a:tcPr>
                </a:tc>
                <a:extLst>
                  <a:ext uri="{0D108BD9-81ED-4DB2-BD59-A6C34878D82A}">
                    <a16:rowId xmlns:a16="http://schemas.microsoft.com/office/drawing/2014/main" xmlns="" val="10005"/>
                  </a:ext>
                </a:extLst>
              </a:tr>
              <a:tr h="536023">
                <a:tc>
                  <a:txBody>
                    <a:bodyPr/>
                    <a:lstStyle/>
                    <a:p>
                      <a:endParaRPr lang="en-GB"/>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003870"/>
                    </a:solidFill>
                  </a:tcPr>
                </a:tc>
                <a:tc>
                  <a:txBody>
                    <a:bodyPr/>
                    <a:lstStyle/>
                    <a:p>
                      <a:endParaRPr lang="en-GB" sz="300"/>
                    </a:p>
                  </a:txBody>
                  <a:tcPr>
                    <a:lnL w="38100" cap="flat" cmpd="sng" algn="ctr">
                      <a:solidFill>
                        <a:schemeClr val="bg1"/>
                      </a:solidFill>
                      <a:prstDash val="solid"/>
                      <a:round/>
                      <a:headEnd type="none" w="med" len="med"/>
                      <a:tailEnd type="none" w="med" len="med"/>
                    </a:lnL>
                    <a:lnT w="12700" cap="flat" cmpd="sng" algn="ctr">
                      <a:solidFill>
                        <a:schemeClr val="accent6">
                          <a:lumMod val="40000"/>
                          <a:lumOff val="60000"/>
                        </a:schemeClr>
                      </a:solidFill>
                      <a:prstDash val="dash"/>
                      <a:round/>
                      <a:headEnd type="none" w="med" len="med"/>
                      <a:tailEnd type="none" w="med" len="med"/>
                    </a:lnT>
                    <a:lnB w="12700" cap="flat" cmpd="sng" algn="ctr">
                      <a:solidFill>
                        <a:schemeClr val="accent6">
                          <a:lumMod val="40000"/>
                          <a:lumOff val="60000"/>
                        </a:schemeClr>
                      </a:solidFill>
                      <a:prstDash val="dash"/>
                      <a:round/>
                      <a:headEnd type="none" w="med" len="med"/>
                      <a:tailEnd type="none" w="med" len="med"/>
                    </a:lnB>
                    <a:noFill/>
                  </a:tcPr>
                </a:tc>
                <a:tc>
                  <a:txBody>
                    <a:bodyPr/>
                    <a:lstStyle/>
                    <a:p>
                      <a:endParaRPr lang="en-GB"/>
                    </a:p>
                  </a:txBody>
                  <a:tcPr>
                    <a:lnT w="12700" cap="flat" cmpd="sng" algn="ctr">
                      <a:solidFill>
                        <a:schemeClr val="accent6">
                          <a:lumMod val="40000"/>
                          <a:lumOff val="60000"/>
                        </a:schemeClr>
                      </a:solidFill>
                      <a:prstDash val="dash"/>
                      <a:round/>
                      <a:headEnd type="none" w="med" len="med"/>
                      <a:tailEnd type="none" w="med" len="med"/>
                    </a:lnT>
                    <a:lnB w="12700" cap="flat" cmpd="sng" algn="ctr">
                      <a:solidFill>
                        <a:schemeClr val="accent6">
                          <a:lumMod val="40000"/>
                          <a:lumOff val="60000"/>
                        </a:schemeClr>
                      </a:solidFill>
                      <a:prstDash val="dash"/>
                      <a:round/>
                      <a:headEnd type="none" w="med" len="med"/>
                      <a:tailEnd type="none" w="med" len="med"/>
                    </a:lnB>
                    <a:noFill/>
                  </a:tcPr>
                </a:tc>
                <a:tc>
                  <a:txBody>
                    <a:bodyPr/>
                    <a:lstStyle/>
                    <a:p>
                      <a:endParaRPr lang="en-GB"/>
                    </a:p>
                  </a:txBody>
                  <a:tcPr>
                    <a:lnT w="12700" cap="flat" cmpd="sng" algn="ctr">
                      <a:solidFill>
                        <a:schemeClr val="accent6">
                          <a:lumMod val="40000"/>
                          <a:lumOff val="60000"/>
                        </a:schemeClr>
                      </a:solidFill>
                      <a:prstDash val="dash"/>
                      <a:round/>
                      <a:headEnd type="none" w="med" len="med"/>
                      <a:tailEnd type="none" w="med" len="med"/>
                    </a:lnT>
                    <a:lnB w="12700" cap="flat" cmpd="sng" algn="ctr">
                      <a:solidFill>
                        <a:schemeClr val="accent6">
                          <a:lumMod val="40000"/>
                          <a:lumOff val="60000"/>
                        </a:schemeClr>
                      </a:solidFill>
                      <a:prstDash val="dash"/>
                      <a:round/>
                      <a:headEnd type="none" w="med" len="med"/>
                      <a:tailEnd type="none" w="med" len="med"/>
                    </a:lnB>
                    <a:noFill/>
                  </a:tcPr>
                </a:tc>
                <a:tc>
                  <a:txBody>
                    <a:bodyPr/>
                    <a:lstStyle/>
                    <a:p>
                      <a:endParaRPr lang="en-GB"/>
                    </a:p>
                  </a:txBody>
                  <a:tcPr>
                    <a:lnT w="12700" cap="flat" cmpd="sng" algn="ctr">
                      <a:solidFill>
                        <a:schemeClr val="accent6">
                          <a:lumMod val="40000"/>
                          <a:lumOff val="60000"/>
                        </a:schemeClr>
                      </a:solidFill>
                      <a:prstDash val="dash"/>
                      <a:round/>
                      <a:headEnd type="none" w="med" len="med"/>
                      <a:tailEnd type="none" w="med" len="med"/>
                    </a:lnT>
                    <a:lnB w="12700" cap="flat" cmpd="sng" algn="ctr">
                      <a:solidFill>
                        <a:schemeClr val="accent6">
                          <a:lumMod val="40000"/>
                          <a:lumOff val="60000"/>
                        </a:schemeClr>
                      </a:solidFill>
                      <a:prstDash val="dash"/>
                      <a:round/>
                      <a:headEnd type="none" w="med" len="med"/>
                      <a:tailEnd type="none" w="med" len="med"/>
                    </a:lnB>
                    <a:noFill/>
                  </a:tcPr>
                </a:tc>
                <a:tc>
                  <a:txBody>
                    <a:bodyPr/>
                    <a:lstStyle/>
                    <a:p>
                      <a:endParaRPr lang="en-GB"/>
                    </a:p>
                  </a:txBody>
                  <a:tcPr>
                    <a:lnT w="12700" cap="flat" cmpd="sng" algn="ctr">
                      <a:solidFill>
                        <a:schemeClr val="accent6">
                          <a:lumMod val="40000"/>
                          <a:lumOff val="60000"/>
                        </a:schemeClr>
                      </a:solidFill>
                      <a:prstDash val="dash"/>
                      <a:round/>
                      <a:headEnd type="none" w="med" len="med"/>
                      <a:tailEnd type="none" w="med" len="med"/>
                    </a:lnT>
                    <a:lnB w="12700" cap="flat" cmpd="sng" algn="ctr">
                      <a:solidFill>
                        <a:schemeClr val="accent6">
                          <a:lumMod val="40000"/>
                          <a:lumOff val="60000"/>
                        </a:schemeClr>
                      </a:solidFill>
                      <a:prstDash val="dash"/>
                      <a:round/>
                      <a:headEnd type="none" w="med" len="med"/>
                      <a:tailEnd type="none" w="med" len="med"/>
                    </a:lnB>
                    <a:noFill/>
                  </a:tcPr>
                </a:tc>
                <a:tc>
                  <a:txBody>
                    <a:bodyPr/>
                    <a:lstStyle/>
                    <a:p>
                      <a:endParaRPr lang="en-GB"/>
                    </a:p>
                  </a:txBody>
                  <a:tcPr>
                    <a:lnT w="12700" cap="flat" cmpd="sng" algn="ctr">
                      <a:solidFill>
                        <a:schemeClr val="accent6">
                          <a:lumMod val="40000"/>
                          <a:lumOff val="60000"/>
                        </a:schemeClr>
                      </a:solidFill>
                      <a:prstDash val="dash"/>
                      <a:round/>
                      <a:headEnd type="none" w="med" len="med"/>
                      <a:tailEnd type="none" w="med" len="med"/>
                    </a:lnT>
                    <a:lnB w="12700" cap="flat" cmpd="sng" algn="ctr">
                      <a:solidFill>
                        <a:schemeClr val="accent6">
                          <a:lumMod val="40000"/>
                          <a:lumOff val="60000"/>
                        </a:schemeClr>
                      </a:solidFill>
                      <a:prstDash val="dash"/>
                      <a:round/>
                      <a:headEnd type="none" w="med" len="med"/>
                      <a:tailEnd type="none" w="med" len="med"/>
                    </a:lnB>
                    <a:noFill/>
                  </a:tcPr>
                </a:tc>
                <a:tc>
                  <a:txBody>
                    <a:bodyPr/>
                    <a:lstStyle/>
                    <a:p>
                      <a:endParaRPr lang="en-GB"/>
                    </a:p>
                  </a:txBody>
                  <a:tcPr>
                    <a:lnT w="12700" cap="flat" cmpd="sng" algn="ctr">
                      <a:solidFill>
                        <a:schemeClr val="accent6">
                          <a:lumMod val="40000"/>
                          <a:lumOff val="60000"/>
                        </a:schemeClr>
                      </a:solidFill>
                      <a:prstDash val="dash"/>
                      <a:round/>
                      <a:headEnd type="none" w="med" len="med"/>
                      <a:tailEnd type="none" w="med" len="med"/>
                    </a:lnT>
                    <a:lnB w="12700" cap="flat" cmpd="sng" algn="ctr">
                      <a:solidFill>
                        <a:schemeClr val="accent6">
                          <a:lumMod val="40000"/>
                          <a:lumOff val="60000"/>
                        </a:schemeClr>
                      </a:solidFill>
                      <a:prstDash val="dash"/>
                      <a:round/>
                      <a:headEnd type="none" w="med" len="med"/>
                      <a:tailEnd type="none" w="med" len="med"/>
                    </a:lnB>
                    <a:noFill/>
                  </a:tcPr>
                </a:tc>
                <a:tc>
                  <a:txBody>
                    <a:bodyPr/>
                    <a:lstStyle/>
                    <a:p>
                      <a:endParaRPr lang="en-GB"/>
                    </a:p>
                  </a:txBody>
                  <a:tcPr>
                    <a:lnT w="12700" cap="flat" cmpd="sng" algn="ctr">
                      <a:solidFill>
                        <a:schemeClr val="accent6">
                          <a:lumMod val="40000"/>
                          <a:lumOff val="60000"/>
                        </a:schemeClr>
                      </a:solidFill>
                      <a:prstDash val="dash"/>
                      <a:round/>
                      <a:headEnd type="none" w="med" len="med"/>
                      <a:tailEnd type="none" w="med" len="med"/>
                    </a:lnT>
                    <a:lnB w="12700" cap="flat" cmpd="sng" algn="ctr">
                      <a:solidFill>
                        <a:schemeClr val="accent6">
                          <a:lumMod val="40000"/>
                          <a:lumOff val="60000"/>
                        </a:schemeClr>
                      </a:solidFill>
                      <a:prstDash val="dash"/>
                      <a:round/>
                      <a:headEnd type="none" w="med" len="med"/>
                      <a:tailEnd type="none" w="med" len="med"/>
                    </a:lnB>
                    <a:noFill/>
                  </a:tcPr>
                </a:tc>
                <a:extLst>
                  <a:ext uri="{0D108BD9-81ED-4DB2-BD59-A6C34878D82A}">
                    <a16:rowId xmlns:a16="http://schemas.microsoft.com/office/drawing/2014/main" xmlns="" val="10006"/>
                  </a:ext>
                </a:extLst>
              </a:tr>
              <a:tr h="536023">
                <a:tc>
                  <a:txBody>
                    <a:bodyPr/>
                    <a:lstStyle/>
                    <a:p>
                      <a:endParaRPr lang="en-GB"/>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003870"/>
                    </a:solidFill>
                  </a:tcPr>
                </a:tc>
                <a:tc>
                  <a:txBody>
                    <a:bodyPr/>
                    <a:lstStyle/>
                    <a:p>
                      <a:endParaRPr lang="en-GB" sz="300"/>
                    </a:p>
                  </a:txBody>
                  <a:tcPr>
                    <a:lnL w="38100" cap="flat" cmpd="sng" algn="ctr">
                      <a:solidFill>
                        <a:schemeClr val="bg1"/>
                      </a:solidFill>
                      <a:prstDash val="solid"/>
                      <a:round/>
                      <a:headEnd type="none" w="med" len="med"/>
                      <a:tailEnd type="none" w="med" len="med"/>
                    </a:lnL>
                    <a:lnT w="12700" cap="flat" cmpd="sng" algn="ctr">
                      <a:solidFill>
                        <a:schemeClr val="accent6">
                          <a:lumMod val="40000"/>
                          <a:lumOff val="60000"/>
                        </a:schemeClr>
                      </a:solidFill>
                      <a:prstDash val="dash"/>
                      <a:round/>
                      <a:headEnd type="none" w="med" len="med"/>
                      <a:tailEnd type="none" w="med" len="med"/>
                    </a:lnT>
                    <a:lnB w="12700" cap="flat" cmpd="sng" algn="ctr">
                      <a:solidFill>
                        <a:schemeClr val="accent6">
                          <a:lumMod val="40000"/>
                          <a:lumOff val="60000"/>
                        </a:schemeClr>
                      </a:solidFill>
                      <a:prstDash val="dash"/>
                      <a:round/>
                      <a:headEnd type="none" w="med" len="med"/>
                      <a:tailEnd type="none" w="med" len="med"/>
                    </a:lnB>
                    <a:noFill/>
                  </a:tcPr>
                </a:tc>
                <a:tc>
                  <a:txBody>
                    <a:bodyPr/>
                    <a:lstStyle/>
                    <a:p>
                      <a:endParaRPr lang="en-GB"/>
                    </a:p>
                  </a:txBody>
                  <a:tcPr>
                    <a:lnT w="12700" cap="flat" cmpd="sng" algn="ctr">
                      <a:solidFill>
                        <a:schemeClr val="accent6">
                          <a:lumMod val="40000"/>
                          <a:lumOff val="60000"/>
                        </a:schemeClr>
                      </a:solidFill>
                      <a:prstDash val="dash"/>
                      <a:round/>
                      <a:headEnd type="none" w="med" len="med"/>
                      <a:tailEnd type="none" w="med" len="med"/>
                    </a:lnT>
                    <a:lnB w="12700" cap="flat" cmpd="sng" algn="ctr">
                      <a:solidFill>
                        <a:schemeClr val="accent6">
                          <a:lumMod val="40000"/>
                          <a:lumOff val="60000"/>
                        </a:schemeClr>
                      </a:solidFill>
                      <a:prstDash val="dash"/>
                      <a:round/>
                      <a:headEnd type="none" w="med" len="med"/>
                      <a:tailEnd type="none" w="med" len="med"/>
                    </a:lnB>
                    <a:noFill/>
                  </a:tcPr>
                </a:tc>
                <a:tc>
                  <a:txBody>
                    <a:bodyPr/>
                    <a:lstStyle/>
                    <a:p>
                      <a:endParaRPr lang="en-GB"/>
                    </a:p>
                  </a:txBody>
                  <a:tcPr>
                    <a:lnT w="12700" cap="flat" cmpd="sng" algn="ctr">
                      <a:solidFill>
                        <a:schemeClr val="accent6">
                          <a:lumMod val="40000"/>
                          <a:lumOff val="60000"/>
                        </a:schemeClr>
                      </a:solidFill>
                      <a:prstDash val="dash"/>
                      <a:round/>
                      <a:headEnd type="none" w="med" len="med"/>
                      <a:tailEnd type="none" w="med" len="med"/>
                    </a:lnT>
                    <a:lnB w="12700" cap="flat" cmpd="sng" algn="ctr">
                      <a:solidFill>
                        <a:schemeClr val="accent6">
                          <a:lumMod val="40000"/>
                          <a:lumOff val="60000"/>
                        </a:schemeClr>
                      </a:solidFill>
                      <a:prstDash val="dash"/>
                      <a:round/>
                      <a:headEnd type="none" w="med" len="med"/>
                      <a:tailEnd type="none" w="med" len="med"/>
                    </a:lnB>
                    <a:noFill/>
                  </a:tcPr>
                </a:tc>
                <a:tc>
                  <a:txBody>
                    <a:bodyPr/>
                    <a:lstStyle/>
                    <a:p>
                      <a:endParaRPr lang="en-GB"/>
                    </a:p>
                  </a:txBody>
                  <a:tcPr>
                    <a:lnT w="12700" cap="flat" cmpd="sng" algn="ctr">
                      <a:solidFill>
                        <a:schemeClr val="accent6">
                          <a:lumMod val="40000"/>
                          <a:lumOff val="60000"/>
                        </a:schemeClr>
                      </a:solidFill>
                      <a:prstDash val="dash"/>
                      <a:round/>
                      <a:headEnd type="none" w="med" len="med"/>
                      <a:tailEnd type="none" w="med" len="med"/>
                    </a:lnT>
                    <a:lnB w="12700" cap="flat" cmpd="sng" algn="ctr">
                      <a:solidFill>
                        <a:schemeClr val="accent6">
                          <a:lumMod val="40000"/>
                          <a:lumOff val="60000"/>
                        </a:schemeClr>
                      </a:solidFill>
                      <a:prstDash val="dash"/>
                      <a:round/>
                      <a:headEnd type="none" w="med" len="med"/>
                      <a:tailEnd type="none" w="med" len="med"/>
                    </a:lnB>
                    <a:noFill/>
                  </a:tcPr>
                </a:tc>
                <a:tc>
                  <a:txBody>
                    <a:bodyPr/>
                    <a:lstStyle/>
                    <a:p>
                      <a:endParaRPr lang="en-GB"/>
                    </a:p>
                  </a:txBody>
                  <a:tcPr>
                    <a:lnT w="12700" cap="flat" cmpd="sng" algn="ctr">
                      <a:solidFill>
                        <a:schemeClr val="accent6">
                          <a:lumMod val="40000"/>
                          <a:lumOff val="60000"/>
                        </a:schemeClr>
                      </a:solidFill>
                      <a:prstDash val="dash"/>
                      <a:round/>
                      <a:headEnd type="none" w="med" len="med"/>
                      <a:tailEnd type="none" w="med" len="med"/>
                    </a:lnT>
                    <a:lnB w="12700" cap="flat" cmpd="sng" algn="ctr">
                      <a:solidFill>
                        <a:schemeClr val="accent6">
                          <a:lumMod val="40000"/>
                          <a:lumOff val="60000"/>
                        </a:schemeClr>
                      </a:solidFill>
                      <a:prstDash val="dash"/>
                      <a:round/>
                      <a:headEnd type="none" w="med" len="med"/>
                      <a:tailEnd type="none" w="med" len="med"/>
                    </a:lnB>
                    <a:noFill/>
                  </a:tcPr>
                </a:tc>
                <a:tc>
                  <a:txBody>
                    <a:bodyPr/>
                    <a:lstStyle/>
                    <a:p>
                      <a:endParaRPr lang="en-GB"/>
                    </a:p>
                  </a:txBody>
                  <a:tcPr>
                    <a:lnT w="12700" cap="flat" cmpd="sng" algn="ctr">
                      <a:solidFill>
                        <a:schemeClr val="accent6">
                          <a:lumMod val="40000"/>
                          <a:lumOff val="60000"/>
                        </a:schemeClr>
                      </a:solidFill>
                      <a:prstDash val="dash"/>
                      <a:round/>
                      <a:headEnd type="none" w="med" len="med"/>
                      <a:tailEnd type="none" w="med" len="med"/>
                    </a:lnT>
                    <a:lnB w="12700" cap="flat" cmpd="sng" algn="ctr">
                      <a:solidFill>
                        <a:schemeClr val="accent6">
                          <a:lumMod val="40000"/>
                          <a:lumOff val="60000"/>
                        </a:schemeClr>
                      </a:solidFill>
                      <a:prstDash val="dash"/>
                      <a:round/>
                      <a:headEnd type="none" w="med" len="med"/>
                      <a:tailEnd type="none" w="med" len="med"/>
                    </a:lnB>
                    <a:noFill/>
                  </a:tcPr>
                </a:tc>
                <a:tc>
                  <a:txBody>
                    <a:bodyPr/>
                    <a:lstStyle/>
                    <a:p>
                      <a:endParaRPr lang="en-GB"/>
                    </a:p>
                  </a:txBody>
                  <a:tcPr>
                    <a:lnT w="12700" cap="flat" cmpd="sng" algn="ctr">
                      <a:solidFill>
                        <a:schemeClr val="accent6">
                          <a:lumMod val="40000"/>
                          <a:lumOff val="60000"/>
                        </a:schemeClr>
                      </a:solidFill>
                      <a:prstDash val="dash"/>
                      <a:round/>
                      <a:headEnd type="none" w="med" len="med"/>
                      <a:tailEnd type="none" w="med" len="med"/>
                    </a:lnT>
                    <a:lnB w="12700" cap="flat" cmpd="sng" algn="ctr">
                      <a:solidFill>
                        <a:schemeClr val="accent6">
                          <a:lumMod val="40000"/>
                          <a:lumOff val="60000"/>
                        </a:schemeClr>
                      </a:solidFill>
                      <a:prstDash val="dash"/>
                      <a:round/>
                      <a:headEnd type="none" w="med" len="med"/>
                      <a:tailEnd type="none" w="med" len="med"/>
                    </a:lnB>
                    <a:noFill/>
                  </a:tcPr>
                </a:tc>
                <a:tc>
                  <a:txBody>
                    <a:bodyPr/>
                    <a:lstStyle/>
                    <a:p>
                      <a:endParaRPr lang="en-GB"/>
                    </a:p>
                  </a:txBody>
                  <a:tcPr>
                    <a:lnT w="12700" cap="flat" cmpd="sng" algn="ctr">
                      <a:solidFill>
                        <a:schemeClr val="accent6">
                          <a:lumMod val="40000"/>
                          <a:lumOff val="60000"/>
                        </a:schemeClr>
                      </a:solidFill>
                      <a:prstDash val="dash"/>
                      <a:round/>
                      <a:headEnd type="none" w="med" len="med"/>
                      <a:tailEnd type="none" w="med" len="med"/>
                    </a:lnT>
                    <a:lnB w="12700" cap="flat" cmpd="sng" algn="ctr">
                      <a:solidFill>
                        <a:schemeClr val="accent6">
                          <a:lumMod val="40000"/>
                          <a:lumOff val="60000"/>
                        </a:schemeClr>
                      </a:solidFill>
                      <a:prstDash val="dash"/>
                      <a:round/>
                      <a:headEnd type="none" w="med" len="med"/>
                      <a:tailEnd type="none" w="med" len="med"/>
                    </a:lnB>
                    <a:noFill/>
                  </a:tcPr>
                </a:tc>
                <a:extLst>
                  <a:ext uri="{0D108BD9-81ED-4DB2-BD59-A6C34878D82A}">
                    <a16:rowId xmlns:a16="http://schemas.microsoft.com/office/drawing/2014/main" xmlns="" val="10007"/>
                  </a:ext>
                </a:extLst>
              </a:tr>
              <a:tr h="536023">
                <a:tc>
                  <a:txBody>
                    <a:bodyPr/>
                    <a:lstStyle/>
                    <a:p>
                      <a:endParaRPr lang="en-GB"/>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003870"/>
                    </a:solidFill>
                  </a:tcPr>
                </a:tc>
                <a:tc>
                  <a:txBody>
                    <a:bodyPr/>
                    <a:lstStyle/>
                    <a:p>
                      <a:endParaRPr lang="en-GB" sz="300"/>
                    </a:p>
                  </a:txBody>
                  <a:tcPr>
                    <a:lnL w="38100" cap="flat" cmpd="sng" algn="ctr">
                      <a:solidFill>
                        <a:schemeClr val="bg1"/>
                      </a:solidFill>
                      <a:prstDash val="solid"/>
                      <a:round/>
                      <a:headEnd type="none" w="med" len="med"/>
                      <a:tailEnd type="none" w="med" len="med"/>
                    </a:lnL>
                    <a:lnT w="12700" cap="flat" cmpd="sng" algn="ctr">
                      <a:solidFill>
                        <a:schemeClr val="accent6">
                          <a:lumMod val="40000"/>
                          <a:lumOff val="60000"/>
                        </a:schemeClr>
                      </a:solidFill>
                      <a:prstDash val="dash"/>
                      <a:round/>
                      <a:headEnd type="none" w="med" len="med"/>
                      <a:tailEnd type="none" w="med" len="med"/>
                    </a:lnT>
                    <a:noFill/>
                  </a:tcPr>
                </a:tc>
                <a:tc>
                  <a:txBody>
                    <a:bodyPr/>
                    <a:lstStyle/>
                    <a:p>
                      <a:endParaRPr lang="en-GB"/>
                    </a:p>
                  </a:txBody>
                  <a:tcPr>
                    <a:lnT w="12700" cap="flat" cmpd="sng" algn="ctr">
                      <a:solidFill>
                        <a:schemeClr val="accent6">
                          <a:lumMod val="40000"/>
                          <a:lumOff val="60000"/>
                        </a:schemeClr>
                      </a:solidFill>
                      <a:prstDash val="dash"/>
                      <a:round/>
                      <a:headEnd type="none" w="med" len="med"/>
                      <a:tailEnd type="none" w="med" len="med"/>
                    </a:lnT>
                    <a:noFill/>
                  </a:tcPr>
                </a:tc>
                <a:tc>
                  <a:txBody>
                    <a:bodyPr/>
                    <a:lstStyle/>
                    <a:p>
                      <a:endParaRPr lang="en-GB"/>
                    </a:p>
                  </a:txBody>
                  <a:tcPr>
                    <a:lnT w="12700" cap="flat" cmpd="sng" algn="ctr">
                      <a:solidFill>
                        <a:schemeClr val="accent6">
                          <a:lumMod val="40000"/>
                          <a:lumOff val="60000"/>
                        </a:schemeClr>
                      </a:solidFill>
                      <a:prstDash val="dash"/>
                      <a:round/>
                      <a:headEnd type="none" w="med" len="med"/>
                      <a:tailEnd type="none" w="med" len="med"/>
                    </a:lnT>
                    <a:noFill/>
                  </a:tcPr>
                </a:tc>
                <a:tc>
                  <a:txBody>
                    <a:bodyPr/>
                    <a:lstStyle/>
                    <a:p>
                      <a:endParaRPr lang="en-GB"/>
                    </a:p>
                  </a:txBody>
                  <a:tcPr>
                    <a:lnT w="12700" cap="flat" cmpd="sng" algn="ctr">
                      <a:solidFill>
                        <a:schemeClr val="accent6">
                          <a:lumMod val="40000"/>
                          <a:lumOff val="60000"/>
                        </a:schemeClr>
                      </a:solidFill>
                      <a:prstDash val="dash"/>
                      <a:round/>
                      <a:headEnd type="none" w="med" len="med"/>
                      <a:tailEnd type="none" w="med" len="med"/>
                    </a:lnT>
                    <a:noFill/>
                  </a:tcPr>
                </a:tc>
                <a:tc>
                  <a:txBody>
                    <a:bodyPr/>
                    <a:lstStyle/>
                    <a:p>
                      <a:endParaRPr lang="en-GB"/>
                    </a:p>
                  </a:txBody>
                  <a:tcPr>
                    <a:lnT w="12700" cap="flat" cmpd="sng" algn="ctr">
                      <a:solidFill>
                        <a:schemeClr val="accent6">
                          <a:lumMod val="40000"/>
                          <a:lumOff val="60000"/>
                        </a:schemeClr>
                      </a:solidFill>
                      <a:prstDash val="dash"/>
                      <a:round/>
                      <a:headEnd type="none" w="med" len="med"/>
                      <a:tailEnd type="none" w="med" len="med"/>
                    </a:lnT>
                    <a:noFill/>
                  </a:tcPr>
                </a:tc>
                <a:tc>
                  <a:txBody>
                    <a:bodyPr/>
                    <a:lstStyle/>
                    <a:p>
                      <a:endParaRPr lang="en-GB"/>
                    </a:p>
                  </a:txBody>
                  <a:tcPr>
                    <a:lnT w="12700" cap="flat" cmpd="sng" algn="ctr">
                      <a:solidFill>
                        <a:schemeClr val="accent6">
                          <a:lumMod val="40000"/>
                          <a:lumOff val="60000"/>
                        </a:schemeClr>
                      </a:solidFill>
                      <a:prstDash val="dash"/>
                      <a:round/>
                      <a:headEnd type="none" w="med" len="med"/>
                      <a:tailEnd type="none" w="med" len="med"/>
                    </a:lnT>
                    <a:noFill/>
                  </a:tcPr>
                </a:tc>
                <a:tc>
                  <a:txBody>
                    <a:bodyPr/>
                    <a:lstStyle/>
                    <a:p>
                      <a:endParaRPr lang="en-GB"/>
                    </a:p>
                  </a:txBody>
                  <a:tcPr>
                    <a:lnT w="12700" cap="flat" cmpd="sng" algn="ctr">
                      <a:solidFill>
                        <a:schemeClr val="accent6">
                          <a:lumMod val="40000"/>
                          <a:lumOff val="60000"/>
                        </a:schemeClr>
                      </a:solidFill>
                      <a:prstDash val="dash"/>
                      <a:round/>
                      <a:headEnd type="none" w="med" len="med"/>
                      <a:tailEnd type="none" w="med" len="med"/>
                    </a:lnT>
                    <a:noFill/>
                  </a:tcPr>
                </a:tc>
                <a:tc>
                  <a:txBody>
                    <a:bodyPr/>
                    <a:lstStyle/>
                    <a:p>
                      <a:endParaRPr lang="en-GB"/>
                    </a:p>
                  </a:txBody>
                  <a:tcPr>
                    <a:lnT w="12700" cap="flat" cmpd="sng" algn="ctr">
                      <a:solidFill>
                        <a:schemeClr val="accent6">
                          <a:lumMod val="40000"/>
                          <a:lumOff val="60000"/>
                        </a:schemeClr>
                      </a:solidFill>
                      <a:prstDash val="dash"/>
                      <a:round/>
                      <a:headEnd type="none" w="med" len="med"/>
                      <a:tailEnd type="none" w="med" len="med"/>
                    </a:lnT>
                    <a:noFill/>
                  </a:tcPr>
                </a:tc>
                <a:extLst>
                  <a:ext uri="{0D108BD9-81ED-4DB2-BD59-A6C34878D82A}">
                    <a16:rowId xmlns:a16="http://schemas.microsoft.com/office/drawing/2014/main" xmlns="" val="10008"/>
                  </a:ext>
                </a:extLst>
              </a:tr>
            </a:tbl>
          </a:graphicData>
        </a:graphic>
      </p:graphicFrame>
    </p:spTree>
    <p:extLst>
      <p:ext uri="{BB962C8B-B14F-4D97-AF65-F5344CB8AC3E}">
        <p14:creationId xmlns:p14="http://schemas.microsoft.com/office/powerpoint/2010/main" val="1944537390"/>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userDrawn="1">
  <p:cSld name="Content_Layou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159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re 1"/>
          <p:cNvSpPr>
            <a:spLocks noGrp="1"/>
          </p:cNvSpPr>
          <p:nvPr>
            <p:ph type="title" hasCustomPrompt="1"/>
          </p:nvPr>
        </p:nvSpPr>
        <p:spPr bwMode="gray"/>
        <p:txBody>
          <a:bodyPr/>
          <a:lstStyle/>
          <a:p>
            <a:r>
              <a:rPr lang="en-GB" noProof="0"/>
              <a:t>TITLE</a:t>
            </a:r>
          </a:p>
        </p:txBody>
      </p:sp>
      <p:sp>
        <p:nvSpPr>
          <p:cNvPr id="3" name="Espace réservé du contenu 2"/>
          <p:cNvSpPr>
            <a:spLocks noGrp="1"/>
          </p:cNvSpPr>
          <p:nvPr>
            <p:ph idx="1" hasCustomPrompt="1"/>
          </p:nvPr>
        </p:nvSpPr>
        <p:spPr bwMode="gray">
          <a:xfrm>
            <a:off x="935038" y="1304925"/>
            <a:ext cx="7345362" cy="4716463"/>
          </a:xfrm>
        </p:spPr>
        <p:txBody>
          <a:bodyPr/>
          <a:lstStyle>
            <a:lvl2pPr>
              <a:defRPr/>
            </a:lvl2pPr>
            <a:lvl3pPr>
              <a:defRPr/>
            </a:lvl3pPr>
            <a:lvl4pPr>
              <a:defRPr baseline="0"/>
            </a:lvl4pPr>
            <a:lvl5pPr>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13" name="Espace réservé de la date 12"/>
          <p:cNvSpPr>
            <a:spLocks noGrp="1"/>
          </p:cNvSpPr>
          <p:nvPr>
            <p:ph type="dt" sz="half" idx="10"/>
          </p:nvPr>
        </p:nvSpPr>
        <p:spPr bwMode="gray">
          <a:xfrm>
            <a:off x="-1" y="6498000"/>
            <a:ext cx="935039" cy="360000"/>
          </a:xfrm>
          <a:prstGeom prst="rect">
            <a:avLst/>
          </a:prstGeom>
        </p:spPr>
        <p:txBody>
          <a:bodyPr/>
          <a:lstStyle/>
          <a:p>
            <a:pPr fontAlgn="base">
              <a:spcBef>
                <a:spcPct val="0"/>
              </a:spcBef>
              <a:spcAft>
                <a:spcPct val="0"/>
              </a:spcAft>
            </a:pPr>
            <a:endParaRPr lang="en-GB" sz="1600">
              <a:solidFill>
                <a:srgbClr val="000000"/>
              </a:solidFill>
              <a:cs typeface="Arial" charset="0"/>
            </a:endParaRPr>
          </a:p>
        </p:txBody>
      </p:sp>
      <p:sp>
        <p:nvSpPr>
          <p:cNvPr id="14" name="Espace réservé du numéro de diapositive 13"/>
          <p:cNvSpPr>
            <a:spLocks noGrp="1"/>
          </p:cNvSpPr>
          <p:nvPr>
            <p:ph type="sldNum" sz="quarter" idx="11"/>
          </p:nvPr>
        </p:nvSpPr>
        <p:spPr bwMode="gray">
          <a:xfrm>
            <a:off x="935038" y="6498000"/>
            <a:ext cx="900112" cy="360000"/>
          </a:xfrm>
          <a:prstGeom prst="rect">
            <a:avLst/>
          </a:prstGeom>
        </p:spPr>
        <p:txBody>
          <a:bodyPr/>
          <a:lstStyle/>
          <a:p>
            <a:pPr fontAlgn="base">
              <a:spcBef>
                <a:spcPct val="0"/>
              </a:spcBef>
              <a:spcAft>
                <a:spcPct val="0"/>
              </a:spcAft>
            </a:pPr>
            <a:fld id="{733122C9-A0B9-462F-8757-0847AD287B63}" type="slidenum">
              <a:rPr lang="en-GB" sz="1600" smtClean="0">
                <a:solidFill>
                  <a:srgbClr val="000000"/>
                </a:solidFill>
                <a:cs typeface="Arial" charset="0"/>
              </a:rPr>
              <a:pPr fontAlgn="base">
                <a:spcBef>
                  <a:spcPct val="0"/>
                </a:spcBef>
                <a:spcAft>
                  <a:spcPct val="0"/>
                </a:spcAft>
              </a:pPr>
              <a:t>‹#›</a:t>
            </a:fld>
            <a:endParaRPr lang="en-GB" sz="1600">
              <a:solidFill>
                <a:srgbClr val="000000"/>
              </a:solidFill>
              <a:cs typeface="Arial" charset="0"/>
            </a:endParaRPr>
          </a:p>
        </p:txBody>
      </p:sp>
      <p:sp>
        <p:nvSpPr>
          <p:cNvPr id="15" name="Espace réservé du pied de page 14"/>
          <p:cNvSpPr>
            <a:spLocks noGrp="1"/>
          </p:cNvSpPr>
          <p:nvPr>
            <p:ph type="ftr" sz="quarter" idx="12"/>
          </p:nvPr>
        </p:nvSpPr>
        <p:spPr bwMode="gray">
          <a:xfrm>
            <a:off x="2412000" y="6498000"/>
            <a:ext cx="4320000" cy="360000"/>
          </a:xfrm>
          <a:prstGeom prst="rect">
            <a:avLst/>
          </a:prstGeom>
        </p:spPr>
        <p:txBody>
          <a:bodyPr/>
          <a:lstStyle/>
          <a:p>
            <a:pPr fontAlgn="base">
              <a:spcBef>
                <a:spcPct val="0"/>
              </a:spcBef>
              <a:spcAft>
                <a:spcPct val="0"/>
              </a:spcAft>
            </a:pPr>
            <a:endParaRPr lang="en-GB" sz="1600">
              <a:solidFill>
                <a:srgbClr val="000000"/>
              </a:solidFill>
              <a:cs typeface="Arial" charset="0"/>
            </a:endParaRPr>
          </a:p>
        </p:txBody>
      </p:sp>
    </p:spTree>
    <p:extLst>
      <p:ext uri="{BB962C8B-B14F-4D97-AF65-F5344CB8AC3E}">
        <p14:creationId xmlns:p14="http://schemas.microsoft.com/office/powerpoint/2010/main" val="1469660470"/>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364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0" y="0"/>
                        <a:ext cx="158750" cy="158750"/>
                      </a:xfrm>
                      <a:prstGeom prst="rect">
                        <a:avLst/>
                      </a:prstGeom>
                    </p:spPr>
                  </p:pic>
                </p:oleObj>
              </mc:Fallback>
            </mc:AlternateContent>
          </a:graphicData>
        </a:graphic>
      </p:graphicFrame>
      <p:pic>
        <p:nvPicPr>
          <p:cNvPr id="17" name="Image 20" descr="FD_1_L254.png"/>
          <p:cNvPicPr>
            <a:picLocks/>
          </p:cNvPicPr>
          <p:nvPr userDrawn="1"/>
        </p:nvPicPr>
        <p:blipFill>
          <a:blip r:embed="rId6" cstate="print"/>
          <a:stretch>
            <a:fillRect/>
          </a:stretch>
        </p:blipFill>
        <p:spPr bwMode="ltGray">
          <a:xfrm>
            <a:off x="1" y="-7257"/>
            <a:ext cx="9144000" cy="5157788"/>
          </a:xfrm>
          <a:prstGeom prst="rect">
            <a:avLst/>
          </a:prstGeom>
        </p:spPr>
      </p:pic>
      <p:sp>
        <p:nvSpPr>
          <p:cNvPr id="13314" name="Rectangle 1026"/>
          <p:cNvSpPr>
            <a:spLocks noGrp="1" noChangeArrowheads="1"/>
          </p:cNvSpPr>
          <p:nvPr>
            <p:ph type="ctrTitle"/>
          </p:nvPr>
        </p:nvSpPr>
        <p:spPr bwMode="auto">
          <a:xfrm>
            <a:off x="468313" y="2419696"/>
            <a:ext cx="3842430" cy="861774"/>
          </a:xfrm>
          <a:prstGeom prst="rect">
            <a:avLst/>
          </a:prstGeom>
        </p:spPr>
        <p:txBody>
          <a:bodyPr wrap="square" anchor="b">
            <a:spAutoFit/>
          </a:bodyPr>
          <a:lstStyle>
            <a:lvl1pPr>
              <a:defRPr sz="2800" b="1" cap="none" baseline="0">
                <a:solidFill>
                  <a:schemeClr val="bg1"/>
                </a:solidFill>
                <a:latin typeface="+mj-lt"/>
                <a:ea typeface="Arial Unicode MS" pitchFamily="34" charset="-128"/>
                <a:cs typeface="Arial Unicode MS" pitchFamily="34" charset="-128"/>
              </a:defRPr>
            </a:lvl1pPr>
          </a:lstStyle>
          <a:p>
            <a:pPr lvl="0"/>
            <a:r>
              <a:rPr lang="en-US" noProof="0"/>
              <a:t>Click to edit Master title style</a:t>
            </a:r>
          </a:p>
        </p:txBody>
      </p:sp>
      <p:sp>
        <p:nvSpPr>
          <p:cNvPr id="13315" name="Rectangle 1027"/>
          <p:cNvSpPr>
            <a:spLocks noGrp="1" noChangeArrowheads="1"/>
          </p:cNvSpPr>
          <p:nvPr>
            <p:ph type="subTitle" idx="1"/>
          </p:nvPr>
        </p:nvSpPr>
        <p:spPr bwMode="auto">
          <a:xfrm>
            <a:off x="468313" y="3529963"/>
            <a:ext cx="3842430" cy="307777"/>
          </a:xfrm>
        </p:spPr>
        <p:txBody>
          <a:bodyPr wrap="square">
            <a:spAutoFit/>
          </a:bodyPr>
          <a:lstStyle>
            <a:lvl1pPr>
              <a:defRPr sz="2000" cap="none" baseline="0">
                <a:solidFill>
                  <a:schemeClr val="bg1"/>
                </a:solidFill>
                <a:latin typeface="+mj-lt"/>
                <a:ea typeface="Arial Unicode MS" pitchFamily="34" charset="-128"/>
                <a:cs typeface="Arial Unicode MS" pitchFamily="34" charset="-128"/>
              </a:defRPr>
            </a:lvl1pPr>
          </a:lstStyle>
          <a:p>
            <a:pPr lvl="0"/>
            <a:r>
              <a:rPr lang="en-US" noProof="0"/>
              <a:t>Click to edit Master subtitle style</a:t>
            </a:r>
          </a:p>
        </p:txBody>
      </p:sp>
      <p:grpSp>
        <p:nvGrpSpPr>
          <p:cNvPr id="27" name="McK Title Elements" hidden="1"/>
          <p:cNvGrpSpPr/>
          <p:nvPr userDrawn="1"/>
        </p:nvGrpSpPr>
        <p:grpSpPr bwMode="auto">
          <a:xfrm>
            <a:off x="468313" y="4255594"/>
            <a:ext cx="4038942" cy="484340"/>
            <a:chOff x="1037261" y="5350609"/>
            <a:chExt cx="4038942" cy="484340"/>
          </a:xfrm>
        </p:grpSpPr>
        <p:sp>
          <p:nvSpPr>
            <p:cNvPr id="9" name="McK Document type"/>
            <p:cNvSpPr txBox="1">
              <a:spLocks noChangeArrowheads="1"/>
            </p:cNvSpPr>
            <p:nvPr/>
          </p:nvSpPr>
          <p:spPr bwMode="auto">
            <a:xfrm>
              <a:off x="1037261" y="5350609"/>
              <a:ext cx="4038942" cy="215444"/>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00">
                  <a:solidFill>
                    <a:srgbClr val="FFFFFF"/>
                  </a:solidFill>
                  <a:latin typeface="Arial"/>
                  <a:cs typeface="Arial" charset="0"/>
                </a:rPr>
                <a:t>Document type</a:t>
              </a:r>
            </a:p>
          </p:txBody>
        </p:sp>
        <p:sp>
          <p:nvSpPr>
            <p:cNvPr id="10" name="McK Date"/>
            <p:cNvSpPr txBox="1">
              <a:spLocks noChangeArrowheads="1"/>
            </p:cNvSpPr>
            <p:nvPr/>
          </p:nvSpPr>
          <p:spPr bwMode="auto">
            <a:xfrm>
              <a:off x="1037261" y="5619505"/>
              <a:ext cx="4038942" cy="215444"/>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00">
                  <a:solidFill>
                    <a:srgbClr val="FFFFFF"/>
                  </a:solidFill>
                  <a:latin typeface="Arial"/>
                  <a:cs typeface="Arial" charset="0"/>
                </a:rPr>
                <a:t>Date</a:t>
              </a:r>
            </a:p>
          </p:txBody>
        </p:sp>
      </p:grpSp>
      <p:pic>
        <p:nvPicPr>
          <p:cNvPr id="21" name="Image 19" descr="Bas_couv.png"/>
          <p:cNvPicPr>
            <a:picLocks noChangeAspect="1"/>
          </p:cNvPicPr>
          <p:nvPr userDrawn="1"/>
        </p:nvPicPr>
        <p:blipFill>
          <a:blip r:embed="rId7" cstate="print"/>
          <a:srcRect r="60243" b="722"/>
          <a:stretch>
            <a:fillRect/>
          </a:stretch>
        </p:blipFill>
        <p:spPr bwMode="auto">
          <a:xfrm>
            <a:off x="0" y="5172520"/>
            <a:ext cx="3635375" cy="1685480"/>
          </a:xfrm>
          <a:prstGeom prst="rect">
            <a:avLst/>
          </a:prstGeom>
        </p:spPr>
      </p:pic>
      <p:sp>
        <p:nvSpPr>
          <p:cNvPr id="20" name="Rectangle 19"/>
          <p:cNvSpPr/>
          <p:nvPr userDrawn="1"/>
        </p:nvSpPr>
        <p:spPr bwMode="auto">
          <a:xfrm>
            <a:off x="468313" y="3391895"/>
            <a:ext cx="2448000" cy="25200"/>
          </a:xfrm>
          <a:prstGeom prst="rect">
            <a:avLst/>
          </a:prstGeom>
          <a:solidFill>
            <a:srgbClr val="95D600"/>
          </a:solidFill>
          <a:ln w="25400" cap="flat" cmpd="sng" algn="ctr">
            <a:noFill/>
            <a:prstDash val="solid"/>
          </a:ln>
          <a:effectLst/>
        </p:spPr>
        <p:txBody>
          <a:bodyPr rtlCol="0" anchor="ctr"/>
          <a:lstStyle/>
          <a:p>
            <a:pPr algn="ctr">
              <a:defRPr/>
            </a:pPr>
            <a:endParaRPr lang="en-US" kern="0">
              <a:solidFill>
                <a:sysClr val="window" lastClr="FFFFFF"/>
              </a:solidFill>
              <a:cs typeface="Arial" charset="0"/>
            </a:endParaRPr>
          </a:p>
        </p:txBody>
      </p:sp>
      <p:sp>
        <p:nvSpPr>
          <p:cNvPr id="23" name="Rectangle 22"/>
          <p:cNvSpPr/>
          <p:nvPr userDrawn="1"/>
        </p:nvSpPr>
        <p:spPr bwMode="auto">
          <a:xfrm>
            <a:off x="8105977" y="6354202"/>
            <a:ext cx="767838" cy="153888"/>
          </a:xfrm>
          <a:prstGeom prst="rect">
            <a:avLst/>
          </a:prstGeom>
          <a:noFill/>
          <a:ln w="25400" cap="flat" cmpd="sng" algn="ctr">
            <a:noFill/>
            <a:prstDash val="solid"/>
          </a:ln>
          <a:effectLst/>
        </p:spPr>
        <p:txBody>
          <a:bodyPr wrap="none" lIns="0" tIns="0" rIns="0" bIns="0" rtlCol="0" anchor="t" anchorCtr="0">
            <a:spAutoFit/>
          </a:bodyPr>
          <a:lstStyle/>
          <a:p>
            <a:pPr algn="r">
              <a:defRPr/>
            </a:pPr>
            <a:r>
              <a:rPr lang="en-US" sz="1000" kern="0">
                <a:solidFill>
                  <a:srgbClr val="95D600"/>
                </a:solidFill>
                <a:cs typeface="Arial" charset="0"/>
              </a:rPr>
              <a:t>www.gavi.org</a:t>
            </a:r>
          </a:p>
        </p:txBody>
      </p:sp>
      <p:pic>
        <p:nvPicPr>
          <p:cNvPr id="17541" name="Picture 133"/>
          <p:cNvPicPr>
            <a:picLocks noChangeAspect="1" noChangeArrowheads="1"/>
          </p:cNvPicPr>
          <p:nvPr userDrawn="1"/>
        </p:nvPicPr>
        <p:blipFill rotWithShape="1">
          <a:blip r:embed="rId8">
            <a:extLst>
              <a:ext uri="{28A0092B-C50C-407E-A947-70E740481C1C}">
                <a14:useLocalDpi xmlns:a14="http://schemas.microsoft.com/office/drawing/2010/main" val="0"/>
              </a:ext>
            </a:extLst>
          </a:blip>
          <a:srcRect l="76616" t="42028" r="1467" b="15943"/>
          <a:stretch/>
        </p:blipFill>
        <p:spPr bwMode="auto">
          <a:xfrm>
            <a:off x="7743514" y="6190069"/>
            <a:ext cx="1139826" cy="164133"/>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pic>
        <p:nvPicPr>
          <p:cNvPr id="22" name="Picture Placeholder 12"/>
          <p:cNvPicPr>
            <a:picLocks noChangeAspect="1"/>
          </p:cNvPicPr>
          <p:nvPr userDrawn="1"/>
        </p:nvPicPr>
        <p:blipFill>
          <a:blip r:embed="rId9" cstate="print">
            <a:extLst>
              <a:ext uri="{28A0092B-C50C-407E-A947-70E740481C1C}">
                <a14:useLocalDpi xmlns:a14="http://schemas.microsoft.com/office/drawing/2010/main" val="0"/>
              </a:ext>
            </a:extLst>
          </a:blip>
          <a:srcRect l="18213" r="18213"/>
          <a:stretch>
            <a:fillRect/>
          </a:stretch>
        </p:blipFill>
        <p:spPr bwMode="ltGray">
          <a:xfrm>
            <a:off x="4192588" y="-11869"/>
            <a:ext cx="4951412" cy="5162400"/>
          </a:xfrm>
          <a:custGeom>
            <a:avLst/>
            <a:gdLst>
              <a:gd name="connsiteX0" fmla="*/ 0 w 3851275"/>
              <a:gd name="connsiteY0" fmla="*/ 0 h 5157788"/>
              <a:gd name="connsiteX1" fmla="*/ 3851275 w 3851275"/>
              <a:gd name="connsiteY1" fmla="*/ 0 h 5157788"/>
              <a:gd name="connsiteX2" fmla="*/ 3851275 w 3851275"/>
              <a:gd name="connsiteY2" fmla="*/ 5157788 h 5157788"/>
              <a:gd name="connsiteX3" fmla="*/ 0 w 3851275"/>
              <a:gd name="connsiteY3" fmla="*/ 5157788 h 5157788"/>
              <a:gd name="connsiteX4" fmla="*/ 0 w 3851275"/>
              <a:gd name="connsiteY4"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0 w 3851275"/>
              <a:gd name="connsiteY3" fmla="*/ 5157788 h 5157788"/>
              <a:gd name="connsiteX4" fmla="*/ 1692275 w 3851275"/>
              <a:gd name="connsiteY4" fmla="*/ 0 h 5157788"/>
              <a:gd name="connsiteX0" fmla="*/ 0 w 2159000"/>
              <a:gd name="connsiteY0" fmla="*/ 0 h 5157788"/>
              <a:gd name="connsiteX1" fmla="*/ 2159000 w 2159000"/>
              <a:gd name="connsiteY1" fmla="*/ 0 h 5157788"/>
              <a:gd name="connsiteX2" fmla="*/ 2159000 w 2159000"/>
              <a:gd name="connsiteY2" fmla="*/ 5157788 h 5157788"/>
              <a:gd name="connsiteX3" fmla="*/ 0 w 2159000"/>
              <a:gd name="connsiteY3" fmla="*/ 5157788 h 5157788"/>
              <a:gd name="connsiteX4" fmla="*/ 0 w 2159000"/>
              <a:gd name="connsiteY4" fmla="*/ 0 h 5157788"/>
              <a:gd name="connsiteX0" fmla="*/ 2625271 w 4784271"/>
              <a:gd name="connsiteY0" fmla="*/ 0 h 5157788"/>
              <a:gd name="connsiteX1" fmla="*/ 4784271 w 4784271"/>
              <a:gd name="connsiteY1" fmla="*/ 0 h 5157788"/>
              <a:gd name="connsiteX2" fmla="*/ 4784271 w 4784271"/>
              <a:gd name="connsiteY2" fmla="*/ 5157788 h 5157788"/>
              <a:gd name="connsiteX3" fmla="*/ 2625271 w 4784271"/>
              <a:gd name="connsiteY3" fmla="*/ 5157788 h 5157788"/>
              <a:gd name="connsiteX4" fmla="*/ 2625271 w 4784271"/>
              <a:gd name="connsiteY4" fmla="*/ 0 h 5157788"/>
              <a:gd name="connsiteX0" fmla="*/ 2625271 w 4784271"/>
              <a:gd name="connsiteY0" fmla="*/ 0 h 5157788"/>
              <a:gd name="connsiteX1" fmla="*/ 4784271 w 4784271"/>
              <a:gd name="connsiteY1" fmla="*/ 0 h 5157788"/>
              <a:gd name="connsiteX2" fmla="*/ 4784271 w 4784271"/>
              <a:gd name="connsiteY2" fmla="*/ 5157788 h 5157788"/>
              <a:gd name="connsiteX3" fmla="*/ 2625271 w 4784271"/>
              <a:gd name="connsiteY3" fmla="*/ 5157788 h 5157788"/>
              <a:gd name="connsiteX4" fmla="*/ 2625271 w 4784271"/>
              <a:gd name="connsiteY4" fmla="*/ 0 h 5157788"/>
              <a:gd name="connsiteX0" fmla="*/ 3568576 w 5727576"/>
              <a:gd name="connsiteY0" fmla="*/ 0 h 5157788"/>
              <a:gd name="connsiteX1" fmla="*/ 5727576 w 5727576"/>
              <a:gd name="connsiteY1" fmla="*/ 0 h 5157788"/>
              <a:gd name="connsiteX2" fmla="*/ 5727576 w 5727576"/>
              <a:gd name="connsiteY2" fmla="*/ 5157788 h 5157788"/>
              <a:gd name="connsiteX3" fmla="*/ 3568576 w 5727576"/>
              <a:gd name="connsiteY3" fmla="*/ 5157788 h 5157788"/>
              <a:gd name="connsiteX4" fmla="*/ 3568576 w 5727576"/>
              <a:gd name="connsiteY4" fmla="*/ 0 h 5157788"/>
              <a:gd name="connsiteX0" fmla="*/ 3306355 w 5465355"/>
              <a:gd name="connsiteY0" fmla="*/ 0 h 5157788"/>
              <a:gd name="connsiteX1" fmla="*/ 5465355 w 5465355"/>
              <a:gd name="connsiteY1" fmla="*/ 0 h 5157788"/>
              <a:gd name="connsiteX2" fmla="*/ 5465355 w 5465355"/>
              <a:gd name="connsiteY2" fmla="*/ 5157788 h 5157788"/>
              <a:gd name="connsiteX3" fmla="*/ 3306355 w 5465355"/>
              <a:gd name="connsiteY3" fmla="*/ 5157788 h 5157788"/>
              <a:gd name="connsiteX4" fmla="*/ 3306355 w 5465355"/>
              <a:gd name="connsiteY4" fmla="*/ 0 h 5157788"/>
              <a:gd name="connsiteX0" fmla="*/ 1416957 w 3575957"/>
              <a:gd name="connsiteY0" fmla="*/ 0 h 5157788"/>
              <a:gd name="connsiteX1" fmla="*/ 3575957 w 3575957"/>
              <a:gd name="connsiteY1" fmla="*/ 0 h 5157788"/>
              <a:gd name="connsiteX2" fmla="*/ 3575957 w 3575957"/>
              <a:gd name="connsiteY2" fmla="*/ 5157788 h 5157788"/>
              <a:gd name="connsiteX3" fmla="*/ 1416957 w 3575957"/>
              <a:gd name="connsiteY3" fmla="*/ 5157788 h 5157788"/>
              <a:gd name="connsiteX4" fmla="*/ 0 w 3575957"/>
              <a:gd name="connsiteY4" fmla="*/ 3339193 h 5157788"/>
              <a:gd name="connsiteX5" fmla="*/ 1416957 w 3575957"/>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6017419"/>
              <a:gd name="connsiteX1" fmla="*/ 3851275 w 3851275"/>
              <a:gd name="connsiteY1" fmla="*/ 0 h 6017419"/>
              <a:gd name="connsiteX2" fmla="*/ 3851275 w 3851275"/>
              <a:gd name="connsiteY2" fmla="*/ 5157788 h 6017419"/>
              <a:gd name="connsiteX3" fmla="*/ 1692275 w 3851275"/>
              <a:gd name="connsiteY3" fmla="*/ 5157788 h 6017419"/>
              <a:gd name="connsiteX4" fmla="*/ 0 w 3851275"/>
              <a:gd name="connsiteY4" fmla="*/ 3284984 h 6017419"/>
              <a:gd name="connsiteX5" fmla="*/ 1692275 w 3851275"/>
              <a:gd name="connsiteY5" fmla="*/ 0 h 6017419"/>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429000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429000 h 5157788"/>
              <a:gd name="connsiteX5" fmla="*/ 1710871 w 3869871"/>
              <a:gd name="connsiteY5" fmla="*/ 0 h 5157788"/>
              <a:gd name="connsiteX0" fmla="*/ 1704975 w 3863975"/>
              <a:gd name="connsiteY0" fmla="*/ 0 h 5157788"/>
              <a:gd name="connsiteX1" fmla="*/ 3863975 w 3863975"/>
              <a:gd name="connsiteY1" fmla="*/ 0 h 5157788"/>
              <a:gd name="connsiteX2" fmla="*/ 3863975 w 3863975"/>
              <a:gd name="connsiteY2" fmla="*/ 5157788 h 5157788"/>
              <a:gd name="connsiteX3" fmla="*/ 1704975 w 3863975"/>
              <a:gd name="connsiteY3" fmla="*/ 5157788 h 5157788"/>
              <a:gd name="connsiteX4" fmla="*/ 12700 w 3863975"/>
              <a:gd name="connsiteY4" fmla="*/ 3429000 h 5157788"/>
              <a:gd name="connsiteX5" fmla="*/ 1704975 w 3863975"/>
              <a:gd name="connsiteY5" fmla="*/ 0 h 5157788"/>
              <a:gd name="connsiteX0" fmla="*/ 1707243 w 3866243"/>
              <a:gd name="connsiteY0" fmla="*/ 0 h 5157788"/>
              <a:gd name="connsiteX1" fmla="*/ 3866243 w 3866243"/>
              <a:gd name="connsiteY1" fmla="*/ 0 h 5157788"/>
              <a:gd name="connsiteX2" fmla="*/ 3866243 w 3866243"/>
              <a:gd name="connsiteY2" fmla="*/ 5157788 h 5157788"/>
              <a:gd name="connsiteX3" fmla="*/ 1707243 w 3866243"/>
              <a:gd name="connsiteY3" fmla="*/ 5157788 h 5157788"/>
              <a:gd name="connsiteX4" fmla="*/ 14968 w 3866243"/>
              <a:gd name="connsiteY4" fmla="*/ 3429000 h 5157788"/>
              <a:gd name="connsiteX5" fmla="*/ 1707243 w 3866243"/>
              <a:gd name="connsiteY5" fmla="*/ 0 h 5157788"/>
              <a:gd name="connsiteX0" fmla="*/ 1130447 w 3866243"/>
              <a:gd name="connsiteY0" fmla="*/ 0 h 5157788"/>
              <a:gd name="connsiteX1" fmla="*/ 3866243 w 3866243"/>
              <a:gd name="connsiteY1" fmla="*/ 0 h 5157788"/>
              <a:gd name="connsiteX2" fmla="*/ 3866243 w 3866243"/>
              <a:gd name="connsiteY2" fmla="*/ 5157788 h 5157788"/>
              <a:gd name="connsiteX3" fmla="*/ 1707243 w 3866243"/>
              <a:gd name="connsiteY3" fmla="*/ 5157788 h 5157788"/>
              <a:gd name="connsiteX4" fmla="*/ 14968 w 3866243"/>
              <a:gd name="connsiteY4" fmla="*/ 3429000 h 5157788"/>
              <a:gd name="connsiteX5" fmla="*/ 1130447 w 3866243"/>
              <a:gd name="connsiteY5" fmla="*/ 0 h 5157788"/>
              <a:gd name="connsiteX0" fmla="*/ 2746143 w 5481939"/>
              <a:gd name="connsiteY0" fmla="*/ 0 h 5157788"/>
              <a:gd name="connsiteX1" fmla="*/ 5481939 w 5481939"/>
              <a:gd name="connsiteY1" fmla="*/ 0 h 5157788"/>
              <a:gd name="connsiteX2" fmla="*/ 5481939 w 5481939"/>
              <a:gd name="connsiteY2" fmla="*/ 5157788 h 5157788"/>
              <a:gd name="connsiteX3" fmla="*/ 585903 w 5481939"/>
              <a:gd name="connsiteY3" fmla="*/ 5153180 h 5157788"/>
              <a:gd name="connsiteX4" fmla="*/ 1630664 w 5481939"/>
              <a:gd name="connsiteY4" fmla="*/ 3429000 h 5157788"/>
              <a:gd name="connsiteX5" fmla="*/ 2746143 w 5481939"/>
              <a:gd name="connsiteY5" fmla="*/ 0 h 5157788"/>
              <a:gd name="connsiteX0" fmla="*/ 2746143 w 5481939"/>
              <a:gd name="connsiteY0" fmla="*/ 0 h 5157788"/>
              <a:gd name="connsiteX1" fmla="*/ 5481939 w 5481939"/>
              <a:gd name="connsiteY1" fmla="*/ 0 h 5157788"/>
              <a:gd name="connsiteX2" fmla="*/ 5481939 w 5481939"/>
              <a:gd name="connsiteY2" fmla="*/ 5157788 h 5157788"/>
              <a:gd name="connsiteX3" fmla="*/ 585903 w 5481939"/>
              <a:gd name="connsiteY3" fmla="*/ 5153180 h 5157788"/>
              <a:gd name="connsiteX4" fmla="*/ 1630664 w 5481939"/>
              <a:gd name="connsiteY4" fmla="*/ 3429000 h 5157788"/>
              <a:gd name="connsiteX5" fmla="*/ 2746143 w 548193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3574235 w 6310031"/>
              <a:gd name="connsiteY0" fmla="*/ 0 h 5157788"/>
              <a:gd name="connsiteX1" fmla="*/ 6310031 w 6310031"/>
              <a:gd name="connsiteY1" fmla="*/ 0 h 5157788"/>
              <a:gd name="connsiteX2" fmla="*/ 6310031 w 6310031"/>
              <a:gd name="connsiteY2" fmla="*/ 5157788 h 5157788"/>
              <a:gd name="connsiteX3" fmla="*/ 585903 w 6310031"/>
              <a:gd name="connsiteY3" fmla="*/ 5153180 h 5157788"/>
              <a:gd name="connsiteX4" fmla="*/ 1738031 w 6310031"/>
              <a:gd name="connsiteY4" fmla="*/ 3389965 h 5157788"/>
              <a:gd name="connsiteX5" fmla="*/ 3574235 w 6310031"/>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296143 w 5724128"/>
              <a:gd name="connsiteY4" fmla="*/ 3461908 h 5157788"/>
              <a:gd name="connsiteX5" fmla="*/ 2988332 w 5724128"/>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1188132 w 5760132"/>
              <a:gd name="connsiteY4" fmla="*/ 3425937 h 5157788"/>
              <a:gd name="connsiteX5" fmla="*/ 3024336 w 5760132"/>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2736304 w 5760132"/>
              <a:gd name="connsiteY4" fmla="*/ 3461908 h 5157788"/>
              <a:gd name="connsiteX5" fmla="*/ 3024336 w 5760132"/>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2736304 w 5760132"/>
              <a:gd name="connsiteY4" fmla="*/ 3461908 h 5157788"/>
              <a:gd name="connsiteX5" fmla="*/ 3024336 w 5760132"/>
              <a:gd name="connsiteY5" fmla="*/ 0 h 5157788"/>
              <a:gd name="connsiteX0" fmla="*/ 2160240 w 4896036"/>
              <a:gd name="connsiteY0" fmla="*/ 0 h 5157788"/>
              <a:gd name="connsiteX1" fmla="*/ 4896036 w 4896036"/>
              <a:gd name="connsiteY1" fmla="*/ 0 h 5157788"/>
              <a:gd name="connsiteX2" fmla="*/ 4896036 w 4896036"/>
              <a:gd name="connsiteY2" fmla="*/ 5157788 h 5157788"/>
              <a:gd name="connsiteX3" fmla="*/ 0 w 4896036"/>
              <a:gd name="connsiteY3" fmla="*/ 5153180 h 5157788"/>
              <a:gd name="connsiteX4" fmla="*/ 1872208 w 4896036"/>
              <a:gd name="connsiteY4" fmla="*/ 3461908 h 5157788"/>
              <a:gd name="connsiteX5" fmla="*/ 2160240 w 4896036"/>
              <a:gd name="connsiteY5" fmla="*/ 0 h 5157788"/>
              <a:gd name="connsiteX0" fmla="*/ 2232248 w 4968044"/>
              <a:gd name="connsiteY0" fmla="*/ 0 h 5157788"/>
              <a:gd name="connsiteX1" fmla="*/ 4968044 w 4968044"/>
              <a:gd name="connsiteY1" fmla="*/ 0 h 5157788"/>
              <a:gd name="connsiteX2" fmla="*/ 4968044 w 4968044"/>
              <a:gd name="connsiteY2" fmla="*/ 5157788 h 5157788"/>
              <a:gd name="connsiteX3" fmla="*/ 0 w 4968044"/>
              <a:gd name="connsiteY3" fmla="*/ 5153180 h 5157788"/>
              <a:gd name="connsiteX4" fmla="*/ 1944216 w 4968044"/>
              <a:gd name="connsiteY4" fmla="*/ 3461908 h 5157788"/>
              <a:gd name="connsiteX5" fmla="*/ 2232248 w 4968044"/>
              <a:gd name="connsiteY5" fmla="*/ 0 h 5157788"/>
              <a:gd name="connsiteX0" fmla="*/ 2207679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207679 w 4943475"/>
              <a:gd name="connsiteY5" fmla="*/ 0 h 5157788"/>
              <a:gd name="connsiteX0" fmla="*/ 2963763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963763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092200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71575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343583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675731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675731 w 4943475"/>
              <a:gd name="connsiteY5" fmla="*/ 0 h 5157788"/>
              <a:gd name="connsiteX0" fmla="*/ 2675731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675731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9672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19672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51412" h="5157788">
                <a:moveTo>
                  <a:pt x="2706687" y="0"/>
                </a:moveTo>
                <a:lnTo>
                  <a:pt x="4951412" y="0"/>
                </a:lnTo>
                <a:lnTo>
                  <a:pt x="4951412" y="5157788"/>
                </a:lnTo>
                <a:lnTo>
                  <a:pt x="0" y="5153180"/>
                </a:lnTo>
                <a:cubicBezTo>
                  <a:pt x="84411" y="4542509"/>
                  <a:pt x="183041" y="4024723"/>
                  <a:pt x="1243508" y="2562613"/>
                </a:cubicBezTo>
                <a:cubicBezTo>
                  <a:pt x="1867447" y="1704780"/>
                  <a:pt x="2665955" y="709265"/>
                  <a:pt x="2706687" y="0"/>
                </a:cubicBezTo>
                <a:close/>
              </a:path>
            </a:pathLst>
          </a:custGeom>
          <a:solidFill>
            <a:srgbClr val="878787"/>
          </a:solidFill>
          <a:ln w="3175">
            <a:noFill/>
          </a:ln>
        </p:spPr>
      </p:pic>
    </p:spTree>
    <p:extLst>
      <p:ext uri="{BB962C8B-B14F-4D97-AF65-F5344CB8AC3E}">
        <p14:creationId xmlns:p14="http://schemas.microsoft.com/office/powerpoint/2010/main" val="248800058"/>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Only">
    <p:bg bwMode="auto">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467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McK 2. Slide Title"/>
          <p:cNvSpPr>
            <a:spLocks noGrp="1"/>
          </p:cNvSpPr>
          <p:nvPr>
            <p:ph type="title"/>
          </p:nvPr>
        </p:nvSpPr>
        <p:spPr bwMode="auto"/>
        <p:txBody>
          <a:bodyPr/>
          <a:lstStyle>
            <a:lvl1pPr>
              <a:defRPr>
                <a:latin typeface="+mj-lt"/>
                <a:ea typeface="Arial Unicode MS" pitchFamily="34" charset="-128"/>
                <a:cs typeface="Arial Unicode MS" pitchFamily="34" charset="-128"/>
              </a:defRPr>
            </a:lvl1pPr>
          </a:lstStyle>
          <a:p>
            <a:r>
              <a:rPr lang="en-US"/>
              <a:t>Click to edit Master title style</a:t>
            </a:r>
          </a:p>
        </p:txBody>
      </p:sp>
    </p:spTree>
    <p:extLst>
      <p:ext uri="{BB962C8B-B14F-4D97-AF65-F5344CB8AC3E}">
        <p14:creationId xmlns:p14="http://schemas.microsoft.com/office/powerpoint/2010/main" val="1290493790"/>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5694"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fr-FR"/>
          </a:p>
        </p:txBody>
      </p:sp>
    </p:spTree>
    <p:extLst>
      <p:ext uri="{BB962C8B-B14F-4D97-AF65-F5344CB8AC3E}">
        <p14:creationId xmlns:p14="http://schemas.microsoft.com/office/powerpoint/2010/main" val="2091906504"/>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6" name="Rectangle 5"/>
          <p:cNvSpPr/>
          <p:nvPr userDrawn="1"/>
        </p:nvSpPr>
        <p:spPr>
          <a:xfrm>
            <a:off x="673769" y="2237868"/>
            <a:ext cx="3585410" cy="3838073"/>
          </a:xfrm>
          <a:prstGeom prst="rect">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1600" err="1">
              <a:solidFill>
                <a:srgbClr val="FFFFFF"/>
              </a:solidFill>
            </a:endParaRPr>
          </a:p>
        </p:txBody>
      </p:sp>
      <p:cxnSp>
        <p:nvCxnSpPr>
          <p:cNvPr id="4" name="Straight Connector 3"/>
          <p:cNvCxnSpPr/>
          <p:nvPr userDrawn="1"/>
        </p:nvCxnSpPr>
        <p:spPr>
          <a:xfrm>
            <a:off x="673769" y="2153652"/>
            <a:ext cx="3585410" cy="0"/>
          </a:xfrm>
          <a:prstGeom prst="line">
            <a:avLst/>
          </a:prstGeom>
          <a:ln w="38100">
            <a:solidFill>
              <a:srgbClr val="003870"/>
            </a:solidFill>
          </a:ln>
        </p:spPr>
        <p:style>
          <a:lnRef idx="1">
            <a:schemeClr val="accent1"/>
          </a:lnRef>
          <a:fillRef idx="0">
            <a:schemeClr val="accent1"/>
          </a:fillRef>
          <a:effectRef idx="0">
            <a:schemeClr val="accent1"/>
          </a:effectRef>
          <a:fontRef idx="minor">
            <a:schemeClr val="tx1"/>
          </a:fontRef>
        </p:style>
      </p:cxnSp>
      <p:sp>
        <p:nvSpPr>
          <p:cNvPr id="8" name="Rectangle 7"/>
          <p:cNvSpPr/>
          <p:nvPr userDrawn="1"/>
        </p:nvSpPr>
        <p:spPr>
          <a:xfrm>
            <a:off x="673769" y="1624263"/>
            <a:ext cx="3585410" cy="529389"/>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1600" err="1">
              <a:solidFill>
                <a:srgbClr val="FFFFFF"/>
              </a:solidFill>
            </a:endParaRPr>
          </a:p>
        </p:txBody>
      </p:sp>
      <p:sp>
        <p:nvSpPr>
          <p:cNvPr id="10" name="Rectangle 9"/>
          <p:cNvSpPr/>
          <p:nvPr userDrawn="1"/>
        </p:nvSpPr>
        <p:spPr>
          <a:xfrm>
            <a:off x="4884822" y="2237868"/>
            <a:ext cx="3585410" cy="3838073"/>
          </a:xfrm>
          <a:prstGeom prst="rect">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1600" err="1">
              <a:solidFill>
                <a:srgbClr val="FFFFFF"/>
              </a:solidFill>
            </a:endParaRPr>
          </a:p>
        </p:txBody>
      </p:sp>
      <p:cxnSp>
        <p:nvCxnSpPr>
          <p:cNvPr id="12" name="Straight Connector 11"/>
          <p:cNvCxnSpPr/>
          <p:nvPr userDrawn="1"/>
        </p:nvCxnSpPr>
        <p:spPr>
          <a:xfrm>
            <a:off x="4884822" y="2153652"/>
            <a:ext cx="3585410" cy="0"/>
          </a:xfrm>
          <a:prstGeom prst="line">
            <a:avLst/>
          </a:prstGeom>
          <a:ln w="38100">
            <a:solidFill>
              <a:srgbClr val="003870"/>
            </a:solidFill>
          </a:ln>
        </p:spPr>
        <p:style>
          <a:lnRef idx="1">
            <a:schemeClr val="accent1"/>
          </a:lnRef>
          <a:fillRef idx="0">
            <a:schemeClr val="accent1"/>
          </a:fillRef>
          <a:effectRef idx="0">
            <a:schemeClr val="accent1"/>
          </a:effectRef>
          <a:fontRef idx="minor">
            <a:schemeClr val="tx1"/>
          </a:fontRef>
        </p:style>
      </p:cxnSp>
      <p:sp>
        <p:nvSpPr>
          <p:cNvPr id="13" name="Rectangle 12"/>
          <p:cNvSpPr/>
          <p:nvPr userDrawn="1"/>
        </p:nvSpPr>
        <p:spPr>
          <a:xfrm>
            <a:off x="4884822" y="1624263"/>
            <a:ext cx="3585410" cy="529389"/>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1600" err="1">
              <a:solidFill>
                <a:srgbClr val="FFFFFF"/>
              </a:solidFill>
            </a:endParaRPr>
          </a:p>
        </p:txBody>
      </p:sp>
    </p:spTree>
    <p:extLst>
      <p:ext uri="{BB962C8B-B14F-4D97-AF65-F5344CB8AC3E}">
        <p14:creationId xmlns:p14="http://schemas.microsoft.com/office/powerpoint/2010/main" val="4195003129"/>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graphicFrame>
        <p:nvGraphicFramePr>
          <p:cNvPr id="3" name="Table 2"/>
          <p:cNvGraphicFramePr>
            <a:graphicFrameLocks noGrp="1"/>
          </p:cNvGraphicFramePr>
          <p:nvPr userDrawn="1">
            <p:extLst/>
          </p:nvPr>
        </p:nvGraphicFramePr>
        <p:xfrm>
          <a:off x="436084" y="1397000"/>
          <a:ext cx="8271832" cy="4486439"/>
        </p:xfrm>
        <a:graphic>
          <a:graphicData uri="http://schemas.openxmlformats.org/drawingml/2006/table">
            <a:tbl>
              <a:tblPr firstRow="1" bandRow="1">
                <a:tableStyleId>{5C22544A-7EE6-4342-B048-85BDC9FD1C3A}</a:tableStyleId>
              </a:tblPr>
              <a:tblGrid>
                <a:gridCol w="1460452">
                  <a:extLst>
                    <a:ext uri="{9D8B030D-6E8A-4147-A177-3AD203B41FA5}">
                      <a16:colId xmlns:a16="http://schemas.microsoft.com/office/drawing/2014/main" xmlns="" val="20000"/>
                    </a:ext>
                  </a:extLst>
                </a:gridCol>
                <a:gridCol w="242393">
                  <a:extLst>
                    <a:ext uri="{9D8B030D-6E8A-4147-A177-3AD203B41FA5}">
                      <a16:colId xmlns:a16="http://schemas.microsoft.com/office/drawing/2014/main" xmlns="" val="20001"/>
                    </a:ext>
                  </a:extLst>
                </a:gridCol>
                <a:gridCol w="1460452">
                  <a:extLst>
                    <a:ext uri="{9D8B030D-6E8A-4147-A177-3AD203B41FA5}">
                      <a16:colId xmlns:a16="http://schemas.microsoft.com/office/drawing/2014/main" xmlns="" val="20002"/>
                    </a:ext>
                  </a:extLst>
                </a:gridCol>
                <a:gridCol w="242393">
                  <a:extLst>
                    <a:ext uri="{9D8B030D-6E8A-4147-A177-3AD203B41FA5}">
                      <a16:colId xmlns:a16="http://schemas.microsoft.com/office/drawing/2014/main" xmlns="" val="20003"/>
                    </a:ext>
                  </a:extLst>
                </a:gridCol>
                <a:gridCol w="1460452">
                  <a:extLst>
                    <a:ext uri="{9D8B030D-6E8A-4147-A177-3AD203B41FA5}">
                      <a16:colId xmlns:a16="http://schemas.microsoft.com/office/drawing/2014/main" xmlns="" val="20004"/>
                    </a:ext>
                  </a:extLst>
                </a:gridCol>
                <a:gridCol w="242393">
                  <a:extLst>
                    <a:ext uri="{9D8B030D-6E8A-4147-A177-3AD203B41FA5}">
                      <a16:colId xmlns:a16="http://schemas.microsoft.com/office/drawing/2014/main" xmlns="" val="20005"/>
                    </a:ext>
                  </a:extLst>
                </a:gridCol>
                <a:gridCol w="1460452">
                  <a:extLst>
                    <a:ext uri="{9D8B030D-6E8A-4147-A177-3AD203B41FA5}">
                      <a16:colId xmlns:a16="http://schemas.microsoft.com/office/drawing/2014/main" xmlns="" val="20006"/>
                    </a:ext>
                  </a:extLst>
                </a:gridCol>
                <a:gridCol w="242393">
                  <a:extLst>
                    <a:ext uri="{9D8B030D-6E8A-4147-A177-3AD203B41FA5}">
                      <a16:colId xmlns:a16="http://schemas.microsoft.com/office/drawing/2014/main" xmlns="" val="20007"/>
                    </a:ext>
                  </a:extLst>
                </a:gridCol>
                <a:gridCol w="1460452">
                  <a:extLst>
                    <a:ext uri="{9D8B030D-6E8A-4147-A177-3AD203B41FA5}">
                      <a16:colId xmlns:a16="http://schemas.microsoft.com/office/drawing/2014/main" xmlns="" val="20008"/>
                    </a:ext>
                  </a:extLst>
                </a:gridCol>
              </a:tblGrid>
              <a:tr h="536023">
                <a:tc>
                  <a:txBody>
                    <a:bodyPr/>
                    <a:lstStyle/>
                    <a:p>
                      <a:endParaRPr lang="en-GB"/>
                    </a:p>
                  </a:txBody>
                  <a:tcPr>
                    <a:lnB w="38100" cap="flat" cmpd="sng" algn="ctr">
                      <a:solidFill>
                        <a:srgbClr val="003870"/>
                      </a:solidFill>
                      <a:prstDash val="solid"/>
                      <a:round/>
                      <a:headEnd type="none" w="med" len="med"/>
                      <a:tailEnd type="none" w="med" len="med"/>
                    </a:lnB>
                    <a:noFill/>
                  </a:tcPr>
                </a:tc>
                <a:tc>
                  <a:txBody>
                    <a:bodyPr/>
                    <a:lstStyle/>
                    <a:p>
                      <a:endParaRPr lang="en-GB" sz="300"/>
                    </a:p>
                  </a:txBody>
                  <a:tcPr>
                    <a:noFill/>
                  </a:tcPr>
                </a:tc>
                <a:tc>
                  <a:txBody>
                    <a:bodyPr/>
                    <a:lstStyle/>
                    <a:p>
                      <a:endParaRPr lang="en-GB"/>
                    </a:p>
                  </a:txBody>
                  <a:tcPr>
                    <a:lnB w="38100" cap="flat" cmpd="sng" algn="ctr">
                      <a:solidFill>
                        <a:srgbClr val="003870"/>
                      </a:solidFill>
                      <a:prstDash val="solid"/>
                      <a:round/>
                      <a:headEnd type="none" w="med" len="med"/>
                      <a:tailEnd type="none" w="med" len="med"/>
                    </a:lnB>
                    <a:noFill/>
                  </a:tcPr>
                </a:tc>
                <a:tc>
                  <a:txBody>
                    <a:bodyPr/>
                    <a:lstStyle/>
                    <a:p>
                      <a:endParaRPr lang="en-GB"/>
                    </a:p>
                  </a:txBody>
                  <a:tcPr>
                    <a:noFill/>
                  </a:tcPr>
                </a:tc>
                <a:tc>
                  <a:txBody>
                    <a:bodyPr/>
                    <a:lstStyle/>
                    <a:p>
                      <a:endParaRPr lang="en-GB"/>
                    </a:p>
                  </a:txBody>
                  <a:tcPr>
                    <a:lnB w="38100" cap="flat" cmpd="sng" algn="ctr">
                      <a:solidFill>
                        <a:srgbClr val="003870"/>
                      </a:solidFill>
                      <a:prstDash val="solid"/>
                      <a:round/>
                      <a:headEnd type="none" w="med" len="med"/>
                      <a:tailEnd type="none" w="med" len="med"/>
                    </a:lnB>
                    <a:noFill/>
                  </a:tcPr>
                </a:tc>
                <a:tc>
                  <a:txBody>
                    <a:bodyPr/>
                    <a:lstStyle/>
                    <a:p>
                      <a:endParaRPr lang="en-GB"/>
                    </a:p>
                  </a:txBody>
                  <a:tcPr>
                    <a:noFill/>
                  </a:tcPr>
                </a:tc>
                <a:tc>
                  <a:txBody>
                    <a:bodyPr/>
                    <a:lstStyle/>
                    <a:p>
                      <a:endParaRPr lang="en-GB"/>
                    </a:p>
                  </a:txBody>
                  <a:tcPr>
                    <a:lnB w="38100" cap="flat" cmpd="sng" algn="ctr">
                      <a:solidFill>
                        <a:srgbClr val="003870"/>
                      </a:solidFill>
                      <a:prstDash val="solid"/>
                      <a:round/>
                      <a:headEnd type="none" w="med" len="med"/>
                      <a:tailEnd type="none" w="med" len="med"/>
                    </a:lnB>
                    <a:noFill/>
                  </a:tcPr>
                </a:tc>
                <a:tc>
                  <a:txBody>
                    <a:bodyPr/>
                    <a:lstStyle/>
                    <a:p>
                      <a:endParaRPr lang="en-GB"/>
                    </a:p>
                  </a:txBody>
                  <a:tcPr>
                    <a:noFill/>
                  </a:tcPr>
                </a:tc>
                <a:tc>
                  <a:txBody>
                    <a:bodyPr/>
                    <a:lstStyle/>
                    <a:p>
                      <a:endParaRPr lang="en-GB"/>
                    </a:p>
                  </a:txBody>
                  <a:tcPr>
                    <a:lnB w="38100" cap="flat" cmpd="sng" algn="ctr">
                      <a:solidFill>
                        <a:srgbClr val="003870"/>
                      </a:solidFill>
                      <a:prstDash val="solid"/>
                      <a:round/>
                      <a:headEnd type="none" w="med" len="med"/>
                      <a:tailEnd type="none" w="med" len="med"/>
                    </a:lnB>
                    <a:noFill/>
                  </a:tcPr>
                </a:tc>
                <a:extLst>
                  <a:ext uri="{0D108BD9-81ED-4DB2-BD59-A6C34878D82A}">
                    <a16:rowId xmlns:a16="http://schemas.microsoft.com/office/drawing/2014/main" xmlns="" val="10000"/>
                  </a:ext>
                </a:extLst>
              </a:tr>
              <a:tr h="198255">
                <a:tc>
                  <a:txBody>
                    <a:bodyPr/>
                    <a:lstStyle/>
                    <a:p>
                      <a:endParaRPr lang="en-GB" sz="300"/>
                    </a:p>
                  </a:txBody>
                  <a:tcPr>
                    <a:lnT w="38100" cap="flat" cmpd="sng" algn="ctr">
                      <a:solidFill>
                        <a:srgbClr val="003870"/>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a:txBody>
                    <a:bodyPr/>
                    <a:lstStyle/>
                    <a:p>
                      <a:endParaRPr lang="en-GB" sz="300"/>
                    </a:p>
                  </a:txBody>
                  <a:tcPr>
                    <a:noFill/>
                  </a:tcPr>
                </a:tc>
                <a:tc>
                  <a:txBody>
                    <a:bodyPr/>
                    <a:lstStyle/>
                    <a:p>
                      <a:endParaRPr lang="en-GB" sz="300"/>
                    </a:p>
                  </a:txBody>
                  <a:tcPr>
                    <a:lnT w="38100" cap="flat" cmpd="sng" algn="ctr">
                      <a:solidFill>
                        <a:srgbClr val="003870"/>
                      </a:solidFill>
                      <a:prstDash val="solid"/>
                      <a:round/>
                      <a:headEnd type="none" w="med" len="med"/>
                      <a:tailEnd type="none" w="med" len="med"/>
                    </a:lnT>
                    <a:noFill/>
                  </a:tcPr>
                </a:tc>
                <a:tc>
                  <a:txBody>
                    <a:bodyPr/>
                    <a:lstStyle/>
                    <a:p>
                      <a:endParaRPr lang="en-GB" sz="300"/>
                    </a:p>
                  </a:txBody>
                  <a:tcPr>
                    <a:noFill/>
                  </a:tcPr>
                </a:tc>
                <a:tc>
                  <a:txBody>
                    <a:bodyPr/>
                    <a:lstStyle/>
                    <a:p>
                      <a:endParaRPr lang="en-GB" sz="300"/>
                    </a:p>
                  </a:txBody>
                  <a:tcPr>
                    <a:lnT w="38100" cap="flat" cmpd="sng" algn="ctr">
                      <a:solidFill>
                        <a:srgbClr val="003870"/>
                      </a:solidFill>
                      <a:prstDash val="solid"/>
                      <a:round/>
                      <a:headEnd type="none" w="med" len="med"/>
                      <a:tailEnd type="none" w="med" len="med"/>
                    </a:lnT>
                    <a:noFill/>
                  </a:tcPr>
                </a:tc>
                <a:tc>
                  <a:txBody>
                    <a:bodyPr/>
                    <a:lstStyle/>
                    <a:p>
                      <a:endParaRPr lang="en-GB" sz="300"/>
                    </a:p>
                  </a:txBody>
                  <a:tcPr>
                    <a:noFill/>
                  </a:tcPr>
                </a:tc>
                <a:tc>
                  <a:txBody>
                    <a:bodyPr/>
                    <a:lstStyle/>
                    <a:p>
                      <a:endParaRPr lang="en-GB" sz="300"/>
                    </a:p>
                  </a:txBody>
                  <a:tcPr>
                    <a:lnT w="38100" cap="flat" cmpd="sng" algn="ctr">
                      <a:solidFill>
                        <a:srgbClr val="003870"/>
                      </a:solidFill>
                      <a:prstDash val="solid"/>
                      <a:round/>
                      <a:headEnd type="none" w="med" len="med"/>
                      <a:tailEnd type="none" w="med" len="med"/>
                    </a:lnT>
                    <a:noFill/>
                  </a:tcPr>
                </a:tc>
                <a:tc>
                  <a:txBody>
                    <a:bodyPr/>
                    <a:lstStyle/>
                    <a:p>
                      <a:endParaRPr lang="en-GB" sz="300"/>
                    </a:p>
                  </a:txBody>
                  <a:tcPr>
                    <a:noFill/>
                  </a:tcPr>
                </a:tc>
                <a:tc>
                  <a:txBody>
                    <a:bodyPr/>
                    <a:lstStyle/>
                    <a:p>
                      <a:endParaRPr lang="en-GB" sz="300"/>
                    </a:p>
                  </a:txBody>
                  <a:tcPr>
                    <a:lnT w="38100" cap="flat" cmpd="sng" algn="ctr">
                      <a:solidFill>
                        <a:srgbClr val="003870"/>
                      </a:solidFill>
                      <a:prstDash val="solid"/>
                      <a:round/>
                      <a:headEnd type="none" w="med" len="med"/>
                      <a:tailEnd type="none" w="med" len="med"/>
                    </a:lnT>
                    <a:noFill/>
                  </a:tcPr>
                </a:tc>
                <a:extLst>
                  <a:ext uri="{0D108BD9-81ED-4DB2-BD59-A6C34878D82A}">
                    <a16:rowId xmlns:a16="http://schemas.microsoft.com/office/drawing/2014/main" xmlns="" val="10001"/>
                  </a:ext>
                </a:extLst>
              </a:tr>
              <a:tr h="536023">
                <a:tc>
                  <a:txBody>
                    <a:bodyPr/>
                    <a:lstStyle/>
                    <a:p>
                      <a:endParaRPr lang="en-GB"/>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003870"/>
                    </a:solidFill>
                  </a:tcPr>
                </a:tc>
                <a:tc>
                  <a:txBody>
                    <a:bodyPr/>
                    <a:lstStyle/>
                    <a:p>
                      <a:endParaRPr lang="en-GB" sz="300"/>
                    </a:p>
                  </a:txBody>
                  <a:tcPr>
                    <a:lnL w="38100" cap="flat" cmpd="sng" algn="ctr">
                      <a:solidFill>
                        <a:schemeClr val="bg1"/>
                      </a:solidFill>
                      <a:prstDash val="solid"/>
                      <a:round/>
                      <a:headEnd type="none" w="med" len="med"/>
                      <a:tailEnd type="none" w="med" len="med"/>
                    </a:lnL>
                    <a:lnB w="12700" cap="flat" cmpd="sng" algn="ctr">
                      <a:solidFill>
                        <a:schemeClr val="accent6">
                          <a:lumMod val="40000"/>
                          <a:lumOff val="60000"/>
                        </a:schemeClr>
                      </a:solidFill>
                      <a:prstDash val="dash"/>
                      <a:round/>
                      <a:headEnd type="none" w="med" len="med"/>
                      <a:tailEnd type="none" w="med" len="med"/>
                    </a:lnB>
                    <a:noFill/>
                  </a:tcPr>
                </a:tc>
                <a:tc>
                  <a:txBody>
                    <a:bodyPr/>
                    <a:lstStyle/>
                    <a:p>
                      <a:endParaRPr lang="en-GB"/>
                    </a:p>
                  </a:txBody>
                  <a:tcPr>
                    <a:lnB w="12700" cap="flat" cmpd="sng" algn="ctr">
                      <a:solidFill>
                        <a:schemeClr val="accent6">
                          <a:lumMod val="40000"/>
                          <a:lumOff val="60000"/>
                        </a:schemeClr>
                      </a:solidFill>
                      <a:prstDash val="dash"/>
                      <a:round/>
                      <a:headEnd type="none" w="med" len="med"/>
                      <a:tailEnd type="none" w="med" len="med"/>
                    </a:lnB>
                    <a:noFill/>
                  </a:tcPr>
                </a:tc>
                <a:tc>
                  <a:txBody>
                    <a:bodyPr/>
                    <a:lstStyle/>
                    <a:p>
                      <a:endParaRPr lang="en-GB"/>
                    </a:p>
                  </a:txBody>
                  <a:tcPr>
                    <a:lnB w="12700" cap="flat" cmpd="sng" algn="ctr">
                      <a:solidFill>
                        <a:schemeClr val="accent6">
                          <a:lumMod val="40000"/>
                          <a:lumOff val="60000"/>
                        </a:schemeClr>
                      </a:solidFill>
                      <a:prstDash val="dash"/>
                      <a:round/>
                      <a:headEnd type="none" w="med" len="med"/>
                      <a:tailEnd type="none" w="med" len="med"/>
                    </a:lnB>
                    <a:noFill/>
                  </a:tcPr>
                </a:tc>
                <a:tc>
                  <a:txBody>
                    <a:bodyPr/>
                    <a:lstStyle/>
                    <a:p>
                      <a:endParaRPr lang="en-GB"/>
                    </a:p>
                  </a:txBody>
                  <a:tcPr>
                    <a:lnB w="12700" cap="flat" cmpd="sng" algn="ctr">
                      <a:solidFill>
                        <a:schemeClr val="accent6">
                          <a:lumMod val="40000"/>
                          <a:lumOff val="60000"/>
                        </a:schemeClr>
                      </a:solidFill>
                      <a:prstDash val="dash"/>
                      <a:round/>
                      <a:headEnd type="none" w="med" len="med"/>
                      <a:tailEnd type="none" w="med" len="med"/>
                    </a:lnB>
                    <a:noFill/>
                  </a:tcPr>
                </a:tc>
                <a:tc>
                  <a:txBody>
                    <a:bodyPr/>
                    <a:lstStyle/>
                    <a:p>
                      <a:endParaRPr lang="en-GB"/>
                    </a:p>
                  </a:txBody>
                  <a:tcPr>
                    <a:lnB w="12700" cap="flat" cmpd="sng" algn="ctr">
                      <a:solidFill>
                        <a:schemeClr val="accent6">
                          <a:lumMod val="40000"/>
                          <a:lumOff val="60000"/>
                        </a:schemeClr>
                      </a:solidFill>
                      <a:prstDash val="dash"/>
                      <a:round/>
                      <a:headEnd type="none" w="med" len="med"/>
                      <a:tailEnd type="none" w="med" len="med"/>
                    </a:lnB>
                    <a:noFill/>
                  </a:tcPr>
                </a:tc>
                <a:tc>
                  <a:txBody>
                    <a:bodyPr/>
                    <a:lstStyle/>
                    <a:p>
                      <a:endParaRPr lang="en-GB"/>
                    </a:p>
                  </a:txBody>
                  <a:tcPr>
                    <a:lnB w="12700" cap="flat" cmpd="sng" algn="ctr">
                      <a:solidFill>
                        <a:schemeClr val="accent6">
                          <a:lumMod val="40000"/>
                          <a:lumOff val="60000"/>
                        </a:schemeClr>
                      </a:solidFill>
                      <a:prstDash val="dash"/>
                      <a:round/>
                      <a:headEnd type="none" w="med" len="med"/>
                      <a:tailEnd type="none" w="med" len="med"/>
                    </a:lnB>
                    <a:noFill/>
                  </a:tcPr>
                </a:tc>
                <a:tc>
                  <a:txBody>
                    <a:bodyPr/>
                    <a:lstStyle/>
                    <a:p>
                      <a:endParaRPr lang="en-GB"/>
                    </a:p>
                  </a:txBody>
                  <a:tcPr>
                    <a:lnB w="12700" cap="flat" cmpd="sng" algn="ctr">
                      <a:solidFill>
                        <a:schemeClr val="accent6">
                          <a:lumMod val="40000"/>
                          <a:lumOff val="60000"/>
                        </a:schemeClr>
                      </a:solidFill>
                      <a:prstDash val="dash"/>
                      <a:round/>
                      <a:headEnd type="none" w="med" len="med"/>
                      <a:tailEnd type="none" w="med" len="med"/>
                    </a:lnB>
                    <a:noFill/>
                  </a:tcPr>
                </a:tc>
                <a:tc>
                  <a:txBody>
                    <a:bodyPr/>
                    <a:lstStyle/>
                    <a:p>
                      <a:endParaRPr lang="en-GB"/>
                    </a:p>
                  </a:txBody>
                  <a:tcPr>
                    <a:lnB w="12700" cap="flat" cmpd="sng" algn="ctr">
                      <a:solidFill>
                        <a:schemeClr val="accent6">
                          <a:lumMod val="40000"/>
                          <a:lumOff val="60000"/>
                        </a:schemeClr>
                      </a:solidFill>
                      <a:prstDash val="dash"/>
                      <a:round/>
                      <a:headEnd type="none" w="med" len="med"/>
                      <a:tailEnd type="none" w="med" len="med"/>
                    </a:lnB>
                    <a:noFill/>
                  </a:tcPr>
                </a:tc>
                <a:extLst>
                  <a:ext uri="{0D108BD9-81ED-4DB2-BD59-A6C34878D82A}">
                    <a16:rowId xmlns:a16="http://schemas.microsoft.com/office/drawing/2014/main" xmlns="" val="10002"/>
                  </a:ext>
                </a:extLst>
              </a:tr>
              <a:tr h="536023">
                <a:tc>
                  <a:txBody>
                    <a:bodyPr/>
                    <a:lstStyle/>
                    <a:p>
                      <a:endParaRPr lang="en-GB"/>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003870"/>
                    </a:solidFill>
                  </a:tcPr>
                </a:tc>
                <a:tc>
                  <a:txBody>
                    <a:bodyPr/>
                    <a:lstStyle/>
                    <a:p>
                      <a:endParaRPr lang="en-GB" sz="300"/>
                    </a:p>
                  </a:txBody>
                  <a:tcPr>
                    <a:lnL w="38100" cap="flat" cmpd="sng" algn="ctr">
                      <a:solidFill>
                        <a:schemeClr val="bg1"/>
                      </a:solidFill>
                      <a:prstDash val="solid"/>
                      <a:round/>
                      <a:headEnd type="none" w="med" len="med"/>
                      <a:tailEnd type="none" w="med" len="med"/>
                    </a:lnL>
                    <a:lnT w="12700" cap="flat" cmpd="sng" algn="ctr">
                      <a:solidFill>
                        <a:schemeClr val="accent6">
                          <a:lumMod val="40000"/>
                          <a:lumOff val="60000"/>
                        </a:schemeClr>
                      </a:solidFill>
                      <a:prstDash val="dash"/>
                      <a:round/>
                      <a:headEnd type="none" w="med" len="med"/>
                      <a:tailEnd type="none" w="med" len="med"/>
                    </a:lnT>
                    <a:lnB w="12700" cap="flat" cmpd="sng" algn="ctr">
                      <a:solidFill>
                        <a:schemeClr val="accent6">
                          <a:lumMod val="40000"/>
                          <a:lumOff val="60000"/>
                        </a:schemeClr>
                      </a:solidFill>
                      <a:prstDash val="dash"/>
                      <a:round/>
                      <a:headEnd type="none" w="med" len="med"/>
                      <a:tailEnd type="none" w="med" len="med"/>
                    </a:lnB>
                    <a:noFill/>
                  </a:tcPr>
                </a:tc>
                <a:tc>
                  <a:txBody>
                    <a:bodyPr/>
                    <a:lstStyle/>
                    <a:p>
                      <a:endParaRPr lang="en-GB"/>
                    </a:p>
                  </a:txBody>
                  <a:tcPr>
                    <a:lnT w="12700" cap="flat" cmpd="sng" algn="ctr">
                      <a:solidFill>
                        <a:schemeClr val="accent6">
                          <a:lumMod val="40000"/>
                          <a:lumOff val="60000"/>
                        </a:schemeClr>
                      </a:solidFill>
                      <a:prstDash val="dash"/>
                      <a:round/>
                      <a:headEnd type="none" w="med" len="med"/>
                      <a:tailEnd type="none" w="med" len="med"/>
                    </a:lnT>
                    <a:lnB w="12700" cap="flat" cmpd="sng" algn="ctr">
                      <a:solidFill>
                        <a:schemeClr val="accent6">
                          <a:lumMod val="40000"/>
                          <a:lumOff val="60000"/>
                        </a:schemeClr>
                      </a:solidFill>
                      <a:prstDash val="dash"/>
                      <a:round/>
                      <a:headEnd type="none" w="med" len="med"/>
                      <a:tailEnd type="none" w="med" len="med"/>
                    </a:lnB>
                    <a:noFill/>
                  </a:tcPr>
                </a:tc>
                <a:tc>
                  <a:txBody>
                    <a:bodyPr/>
                    <a:lstStyle/>
                    <a:p>
                      <a:endParaRPr lang="en-GB"/>
                    </a:p>
                  </a:txBody>
                  <a:tcPr>
                    <a:lnT w="12700" cap="flat" cmpd="sng" algn="ctr">
                      <a:solidFill>
                        <a:schemeClr val="accent6">
                          <a:lumMod val="40000"/>
                          <a:lumOff val="60000"/>
                        </a:schemeClr>
                      </a:solidFill>
                      <a:prstDash val="dash"/>
                      <a:round/>
                      <a:headEnd type="none" w="med" len="med"/>
                      <a:tailEnd type="none" w="med" len="med"/>
                    </a:lnT>
                    <a:lnB w="12700" cap="flat" cmpd="sng" algn="ctr">
                      <a:solidFill>
                        <a:schemeClr val="accent6">
                          <a:lumMod val="40000"/>
                          <a:lumOff val="60000"/>
                        </a:schemeClr>
                      </a:solidFill>
                      <a:prstDash val="dash"/>
                      <a:round/>
                      <a:headEnd type="none" w="med" len="med"/>
                      <a:tailEnd type="none" w="med" len="med"/>
                    </a:lnB>
                    <a:noFill/>
                  </a:tcPr>
                </a:tc>
                <a:tc>
                  <a:txBody>
                    <a:bodyPr/>
                    <a:lstStyle/>
                    <a:p>
                      <a:endParaRPr lang="en-GB"/>
                    </a:p>
                  </a:txBody>
                  <a:tcPr>
                    <a:lnT w="12700" cap="flat" cmpd="sng" algn="ctr">
                      <a:solidFill>
                        <a:schemeClr val="accent6">
                          <a:lumMod val="40000"/>
                          <a:lumOff val="60000"/>
                        </a:schemeClr>
                      </a:solidFill>
                      <a:prstDash val="dash"/>
                      <a:round/>
                      <a:headEnd type="none" w="med" len="med"/>
                      <a:tailEnd type="none" w="med" len="med"/>
                    </a:lnT>
                    <a:lnB w="12700" cap="flat" cmpd="sng" algn="ctr">
                      <a:solidFill>
                        <a:schemeClr val="accent6">
                          <a:lumMod val="40000"/>
                          <a:lumOff val="60000"/>
                        </a:schemeClr>
                      </a:solidFill>
                      <a:prstDash val="dash"/>
                      <a:round/>
                      <a:headEnd type="none" w="med" len="med"/>
                      <a:tailEnd type="none" w="med" len="med"/>
                    </a:lnB>
                    <a:noFill/>
                  </a:tcPr>
                </a:tc>
                <a:tc>
                  <a:txBody>
                    <a:bodyPr/>
                    <a:lstStyle/>
                    <a:p>
                      <a:endParaRPr lang="en-GB"/>
                    </a:p>
                  </a:txBody>
                  <a:tcPr>
                    <a:lnT w="12700" cap="flat" cmpd="sng" algn="ctr">
                      <a:solidFill>
                        <a:schemeClr val="accent6">
                          <a:lumMod val="40000"/>
                          <a:lumOff val="60000"/>
                        </a:schemeClr>
                      </a:solidFill>
                      <a:prstDash val="dash"/>
                      <a:round/>
                      <a:headEnd type="none" w="med" len="med"/>
                      <a:tailEnd type="none" w="med" len="med"/>
                    </a:lnT>
                    <a:lnB w="12700" cap="flat" cmpd="sng" algn="ctr">
                      <a:solidFill>
                        <a:schemeClr val="accent6">
                          <a:lumMod val="40000"/>
                          <a:lumOff val="60000"/>
                        </a:schemeClr>
                      </a:solidFill>
                      <a:prstDash val="dash"/>
                      <a:round/>
                      <a:headEnd type="none" w="med" len="med"/>
                      <a:tailEnd type="none" w="med" len="med"/>
                    </a:lnB>
                    <a:noFill/>
                  </a:tcPr>
                </a:tc>
                <a:tc>
                  <a:txBody>
                    <a:bodyPr/>
                    <a:lstStyle/>
                    <a:p>
                      <a:endParaRPr lang="en-GB"/>
                    </a:p>
                  </a:txBody>
                  <a:tcPr>
                    <a:lnT w="12700" cap="flat" cmpd="sng" algn="ctr">
                      <a:solidFill>
                        <a:schemeClr val="accent6">
                          <a:lumMod val="40000"/>
                          <a:lumOff val="60000"/>
                        </a:schemeClr>
                      </a:solidFill>
                      <a:prstDash val="dash"/>
                      <a:round/>
                      <a:headEnd type="none" w="med" len="med"/>
                      <a:tailEnd type="none" w="med" len="med"/>
                    </a:lnT>
                    <a:lnB w="12700" cap="flat" cmpd="sng" algn="ctr">
                      <a:solidFill>
                        <a:schemeClr val="accent6">
                          <a:lumMod val="40000"/>
                          <a:lumOff val="60000"/>
                        </a:schemeClr>
                      </a:solidFill>
                      <a:prstDash val="dash"/>
                      <a:round/>
                      <a:headEnd type="none" w="med" len="med"/>
                      <a:tailEnd type="none" w="med" len="med"/>
                    </a:lnB>
                    <a:noFill/>
                  </a:tcPr>
                </a:tc>
                <a:tc>
                  <a:txBody>
                    <a:bodyPr/>
                    <a:lstStyle/>
                    <a:p>
                      <a:endParaRPr lang="en-GB"/>
                    </a:p>
                  </a:txBody>
                  <a:tcPr>
                    <a:lnT w="12700" cap="flat" cmpd="sng" algn="ctr">
                      <a:solidFill>
                        <a:schemeClr val="accent6">
                          <a:lumMod val="40000"/>
                          <a:lumOff val="60000"/>
                        </a:schemeClr>
                      </a:solidFill>
                      <a:prstDash val="dash"/>
                      <a:round/>
                      <a:headEnd type="none" w="med" len="med"/>
                      <a:tailEnd type="none" w="med" len="med"/>
                    </a:lnT>
                    <a:lnB w="12700" cap="flat" cmpd="sng" algn="ctr">
                      <a:solidFill>
                        <a:schemeClr val="accent6">
                          <a:lumMod val="40000"/>
                          <a:lumOff val="60000"/>
                        </a:schemeClr>
                      </a:solidFill>
                      <a:prstDash val="dash"/>
                      <a:round/>
                      <a:headEnd type="none" w="med" len="med"/>
                      <a:tailEnd type="none" w="med" len="med"/>
                    </a:lnB>
                    <a:noFill/>
                  </a:tcPr>
                </a:tc>
                <a:tc>
                  <a:txBody>
                    <a:bodyPr/>
                    <a:lstStyle/>
                    <a:p>
                      <a:endParaRPr lang="en-GB"/>
                    </a:p>
                  </a:txBody>
                  <a:tcPr>
                    <a:lnT w="12700" cap="flat" cmpd="sng" algn="ctr">
                      <a:solidFill>
                        <a:schemeClr val="accent6">
                          <a:lumMod val="40000"/>
                          <a:lumOff val="60000"/>
                        </a:schemeClr>
                      </a:solidFill>
                      <a:prstDash val="dash"/>
                      <a:round/>
                      <a:headEnd type="none" w="med" len="med"/>
                      <a:tailEnd type="none" w="med" len="med"/>
                    </a:lnT>
                    <a:lnB w="12700" cap="flat" cmpd="sng" algn="ctr">
                      <a:solidFill>
                        <a:schemeClr val="accent6">
                          <a:lumMod val="40000"/>
                          <a:lumOff val="60000"/>
                        </a:schemeClr>
                      </a:solidFill>
                      <a:prstDash val="dash"/>
                      <a:round/>
                      <a:headEnd type="none" w="med" len="med"/>
                      <a:tailEnd type="none" w="med" len="med"/>
                    </a:lnB>
                    <a:noFill/>
                  </a:tcPr>
                </a:tc>
                <a:extLst>
                  <a:ext uri="{0D108BD9-81ED-4DB2-BD59-A6C34878D82A}">
                    <a16:rowId xmlns:a16="http://schemas.microsoft.com/office/drawing/2014/main" xmlns="" val="10003"/>
                  </a:ext>
                </a:extLst>
              </a:tr>
              <a:tr h="536023">
                <a:tc>
                  <a:txBody>
                    <a:bodyPr/>
                    <a:lstStyle/>
                    <a:p>
                      <a:endParaRPr lang="en-GB"/>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003870"/>
                    </a:solidFill>
                  </a:tcPr>
                </a:tc>
                <a:tc>
                  <a:txBody>
                    <a:bodyPr/>
                    <a:lstStyle/>
                    <a:p>
                      <a:endParaRPr lang="en-GB" sz="300"/>
                    </a:p>
                  </a:txBody>
                  <a:tcPr>
                    <a:lnL w="38100" cap="flat" cmpd="sng" algn="ctr">
                      <a:solidFill>
                        <a:schemeClr val="bg1"/>
                      </a:solidFill>
                      <a:prstDash val="solid"/>
                      <a:round/>
                      <a:headEnd type="none" w="med" len="med"/>
                      <a:tailEnd type="none" w="med" len="med"/>
                    </a:lnL>
                    <a:lnT w="12700" cap="flat" cmpd="sng" algn="ctr">
                      <a:solidFill>
                        <a:schemeClr val="accent6">
                          <a:lumMod val="40000"/>
                          <a:lumOff val="60000"/>
                        </a:schemeClr>
                      </a:solidFill>
                      <a:prstDash val="dash"/>
                      <a:round/>
                      <a:headEnd type="none" w="med" len="med"/>
                      <a:tailEnd type="none" w="med" len="med"/>
                    </a:lnT>
                    <a:lnB w="12700" cap="flat" cmpd="sng" algn="ctr">
                      <a:solidFill>
                        <a:schemeClr val="accent6">
                          <a:lumMod val="40000"/>
                          <a:lumOff val="60000"/>
                        </a:schemeClr>
                      </a:solidFill>
                      <a:prstDash val="dash"/>
                      <a:round/>
                      <a:headEnd type="none" w="med" len="med"/>
                      <a:tailEnd type="none" w="med" len="med"/>
                    </a:lnB>
                    <a:noFill/>
                  </a:tcPr>
                </a:tc>
                <a:tc>
                  <a:txBody>
                    <a:bodyPr/>
                    <a:lstStyle/>
                    <a:p>
                      <a:endParaRPr lang="en-GB"/>
                    </a:p>
                  </a:txBody>
                  <a:tcPr>
                    <a:lnT w="12700" cap="flat" cmpd="sng" algn="ctr">
                      <a:solidFill>
                        <a:schemeClr val="accent6">
                          <a:lumMod val="40000"/>
                          <a:lumOff val="60000"/>
                        </a:schemeClr>
                      </a:solidFill>
                      <a:prstDash val="dash"/>
                      <a:round/>
                      <a:headEnd type="none" w="med" len="med"/>
                      <a:tailEnd type="none" w="med" len="med"/>
                    </a:lnT>
                    <a:lnB w="12700" cap="flat" cmpd="sng" algn="ctr">
                      <a:solidFill>
                        <a:schemeClr val="accent6">
                          <a:lumMod val="40000"/>
                          <a:lumOff val="60000"/>
                        </a:schemeClr>
                      </a:solidFill>
                      <a:prstDash val="dash"/>
                      <a:round/>
                      <a:headEnd type="none" w="med" len="med"/>
                      <a:tailEnd type="none" w="med" len="med"/>
                    </a:lnB>
                    <a:noFill/>
                  </a:tcPr>
                </a:tc>
                <a:tc>
                  <a:txBody>
                    <a:bodyPr/>
                    <a:lstStyle/>
                    <a:p>
                      <a:endParaRPr lang="en-GB"/>
                    </a:p>
                  </a:txBody>
                  <a:tcPr>
                    <a:lnT w="12700" cap="flat" cmpd="sng" algn="ctr">
                      <a:solidFill>
                        <a:schemeClr val="accent6">
                          <a:lumMod val="40000"/>
                          <a:lumOff val="60000"/>
                        </a:schemeClr>
                      </a:solidFill>
                      <a:prstDash val="dash"/>
                      <a:round/>
                      <a:headEnd type="none" w="med" len="med"/>
                      <a:tailEnd type="none" w="med" len="med"/>
                    </a:lnT>
                    <a:lnB w="12700" cap="flat" cmpd="sng" algn="ctr">
                      <a:solidFill>
                        <a:schemeClr val="accent6">
                          <a:lumMod val="40000"/>
                          <a:lumOff val="60000"/>
                        </a:schemeClr>
                      </a:solidFill>
                      <a:prstDash val="dash"/>
                      <a:round/>
                      <a:headEnd type="none" w="med" len="med"/>
                      <a:tailEnd type="none" w="med" len="med"/>
                    </a:lnB>
                    <a:noFill/>
                  </a:tcPr>
                </a:tc>
                <a:tc>
                  <a:txBody>
                    <a:bodyPr/>
                    <a:lstStyle/>
                    <a:p>
                      <a:endParaRPr lang="en-GB"/>
                    </a:p>
                  </a:txBody>
                  <a:tcPr>
                    <a:lnT w="12700" cap="flat" cmpd="sng" algn="ctr">
                      <a:solidFill>
                        <a:schemeClr val="accent6">
                          <a:lumMod val="40000"/>
                          <a:lumOff val="60000"/>
                        </a:schemeClr>
                      </a:solidFill>
                      <a:prstDash val="dash"/>
                      <a:round/>
                      <a:headEnd type="none" w="med" len="med"/>
                      <a:tailEnd type="none" w="med" len="med"/>
                    </a:lnT>
                    <a:lnB w="12700" cap="flat" cmpd="sng" algn="ctr">
                      <a:solidFill>
                        <a:schemeClr val="accent6">
                          <a:lumMod val="40000"/>
                          <a:lumOff val="60000"/>
                        </a:schemeClr>
                      </a:solidFill>
                      <a:prstDash val="dash"/>
                      <a:round/>
                      <a:headEnd type="none" w="med" len="med"/>
                      <a:tailEnd type="none" w="med" len="med"/>
                    </a:lnB>
                    <a:noFill/>
                  </a:tcPr>
                </a:tc>
                <a:tc>
                  <a:txBody>
                    <a:bodyPr/>
                    <a:lstStyle/>
                    <a:p>
                      <a:endParaRPr lang="en-GB"/>
                    </a:p>
                  </a:txBody>
                  <a:tcPr>
                    <a:lnT w="12700" cap="flat" cmpd="sng" algn="ctr">
                      <a:solidFill>
                        <a:schemeClr val="accent6">
                          <a:lumMod val="40000"/>
                          <a:lumOff val="60000"/>
                        </a:schemeClr>
                      </a:solidFill>
                      <a:prstDash val="dash"/>
                      <a:round/>
                      <a:headEnd type="none" w="med" len="med"/>
                      <a:tailEnd type="none" w="med" len="med"/>
                    </a:lnT>
                    <a:lnB w="12700" cap="flat" cmpd="sng" algn="ctr">
                      <a:solidFill>
                        <a:schemeClr val="accent6">
                          <a:lumMod val="40000"/>
                          <a:lumOff val="60000"/>
                        </a:schemeClr>
                      </a:solidFill>
                      <a:prstDash val="dash"/>
                      <a:round/>
                      <a:headEnd type="none" w="med" len="med"/>
                      <a:tailEnd type="none" w="med" len="med"/>
                    </a:lnB>
                    <a:noFill/>
                  </a:tcPr>
                </a:tc>
                <a:tc>
                  <a:txBody>
                    <a:bodyPr/>
                    <a:lstStyle/>
                    <a:p>
                      <a:endParaRPr lang="en-GB"/>
                    </a:p>
                  </a:txBody>
                  <a:tcPr>
                    <a:lnT w="12700" cap="flat" cmpd="sng" algn="ctr">
                      <a:solidFill>
                        <a:schemeClr val="accent6">
                          <a:lumMod val="40000"/>
                          <a:lumOff val="60000"/>
                        </a:schemeClr>
                      </a:solidFill>
                      <a:prstDash val="dash"/>
                      <a:round/>
                      <a:headEnd type="none" w="med" len="med"/>
                      <a:tailEnd type="none" w="med" len="med"/>
                    </a:lnT>
                    <a:lnB w="12700" cap="flat" cmpd="sng" algn="ctr">
                      <a:solidFill>
                        <a:schemeClr val="accent6">
                          <a:lumMod val="40000"/>
                          <a:lumOff val="60000"/>
                        </a:schemeClr>
                      </a:solidFill>
                      <a:prstDash val="dash"/>
                      <a:round/>
                      <a:headEnd type="none" w="med" len="med"/>
                      <a:tailEnd type="none" w="med" len="med"/>
                    </a:lnB>
                    <a:noFill/>
                  </a:tcPr>
                </a:tc>
                <a:tc>
                  <a:txBody>
                    <a:bodyPr/>
                    <a:lstStyle/>
                    <a:p>
                      <a:endParaRPr lang="en-GB"/>
                    </a:p>
                  </a:txBody>
                  <a:tcPr>
                    <a:lnT w="12700" cap="flat" cmpd="sng" algn="ctr">
                      <a:solidFill>
                        <a:schemeClr val="accent6">
                          <a:lumMod val="40000"/>
                          <a:lumOff val="60000"/>
                        </a:schemeClr>
                      </a:solidFill>
                      <a:prstDash val="dash"/>
                      <a:round/>
                      <a:headEnd type="none" w="med" len="med"/>
                      <a:tailEnd type="none" w="med" len="med"/>
                    </a:lnT>
                    <a:lnB w="12700" cap="flat" cmpd="sng" algn="ctr">
                      <a:solidFill>
                        <a:schemeClr val="accent6">
                          <a:lumMod val="40000"/>
                          <a:lumOff val="60000"/>
                        </a:schemeClr>
                      </a:solidFill>
                      <a:prstDash val="dash"/>
                      <a:round/>
                      <a:headEnd type="none" w="med" len="med"/>
                      <a:tailEnd type="none" w="med" len="med"/>
                    </a:lnB>
                    <a:noFill/>
                  </a:tcPr>
                </a:tc>
                <a:tc>
                  <a:txBody>
                    <a:bodyPr/>
                    <a:lstStyle/>
                    <a:p>
                      <a:endParaRPr lang="en-GB"/>
                    </a:p>
                  </a:txBody>
                  <a:tcPr>
                    <a:lnT w="12700" cap="flat" cmpd="sng" algn="ctr">
                      <a:solidFill>
                        <a:schemeClr val="accent6">
                          <a:lumMod val="40000"/>
                          <a:lumOff val="60000"/>
                        </a:schemeClr>
                      </a:solidFill>
                      <a:prstDash val="dash"/>
                      <a:round/>
                      <a:headEnd type="none" w="med" len="med"/>
                      <a:tailEnd type="none" w="med" len="med"/>
                    </a:lnT>
                    <a:lnB w="12700" cap="flat" cmpd="sng" algn="ctr">
                      <a:solidFill>
                        <a:schemeClr val="accent6">
                          <a:lumMod val="40000"/>
                          <a:lumOff val="60000"/>
                        </a:schemeClr>
                      </a:solidFill>
                      <a:prstDash val="dash"/>
                      <a:round/>
                      <a:headEnd type="none" w="med" len="med"/>
                      <a:tailEnd type="none" w="med" len="med"/>
                    </a:lnB>
                    <a:noFill/>
                  </a:tcPr>
                </a:tc>
                <a:extLst>
                  <a:ext uri="{0D108BD9-81ED-4DB2-BD59-A6C34878D82A}">
                    <a16:rowId xmlns:a16="http://schemas.microsoft.com/office/drawing/2014/main" xmlns="" val="10004"/>
                  </a:ext>
                </a:extLst>
              </a:tr>
              <a:tr h="536023">
                <a:tc>
                  <a:txBody>
                    <a:bodyPr/>
                    <a:lstStyle/>
                    <a:p>
                      <a:endParaRPr lang="en-GB"/>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003870"/>
                    </a:solidFill>
                  </a:tcPr>
                </a:tc>
                <a:tc>
                  <a:txBody>
                    <a:bodyPr/>
                    <a:lstStyle/>
                    <a:p>
                      <a:endParaRPr lang="en-GB" sz="300"/>
                    </a:p>
                  </a:txBody>
                  <a:tcPr>
                    <a:lnL w="38100" cap="flat" cmpd="sng" algn="ctr">
                      <a:solidFill>
                        <a:schemeClr val="bg1"/>
                      </a:solidFill>
                      <a:prstDash val="solid"/>
                      <a:round/>
                      <a:headEnd type="none" w="med" len="med"/>
                      <a:tailEnd type="none" w="med" len="med"/>
                    </a:lnL>
                    <a:lnT w="12700" cap="flat" cmpd="sng" algn="ctr">
                      <a:solidFill>
                        <a:schemeClr val="accent6">
                          <a:lumMod val="40000"/>
                          <a:lumOff val="60000"/>
                        </a:schemeClr>
                      </a:solidFill>
                      <a:prstDash val="dash"/>
                      <a:round/>
                      <a:headEnd type="none" w="med" len="med"/>
                      <a:tailEnd type="none" w="med" len="med"/>
                    </a:lnT>
                    <a:lnB w="12700" cap="flat" cmpd="sng" algn="ctr">
                      <a:solidFill>
                        <a:schemeClr val="accent6">
                          <a:lumMod val="40000"/>
                          <a:lumOff val="60000"/>
                        </a:schemeClr>
                      </a:solidFill>
                      <a:prstDash val="dash"/>
                      <a:round/>
                      <a:headEnd type="none" w="med" len="med"/>
                      <a:tailEnd type="none" w="med" len="med"/>
                    </a:lnB>
                    <a:noFill/>
                  </a:tcPr>
                </a:tc>
                <a:tc>
                  <a:txBody>
                    <a:bodyPr/>
                    <a:lstStyle/>
                    <a:p>
                      <a:endParaRPr lang="en-GB"/>
                    </a:p>
                  </a:txBody>
                  <a:tcPr>
                    <a:lnT w="12700" cap="flat" cmpd="sng" algn="ctr">
                      <a:solidFill>
                        <a:schemeClr val="accent6">
                          <a:lumMod val="40000"/>
                          <a:lumOff val="60000"/>
                        </a:schemeClr>
                      </a:solidFill>
                      <a:prstDash val="dash"/>
                      <a:round/>
                      <a:headEnd type="none" w="med" len="med"/>
                      <a:tailEnd type="none" w="med" len="med"/>
                    </a:lnT>
                    <a:lnB w="12700" cap="flat" cmpd="sng" algn="ctr">
                      <a:solidFill>
                        <a:schemeClr val="accent6">
                          <a:lumMod val="40000"/>
                          <a:lumOff val="60000"/>
                        </a:schemeClr>
                      </a:solidFill>
                      <a:prstDash val="dash"/>
                      <a:round/>
                      <a:headEnd type="none" w="med" len="med"/>
                      <a:tailEnd type="none" w="med" len="med"/>
                    </a:lnB>
                    <a:noFill/>
                  </a:tcPr>
                </a:tc>
                <a:tc>
                  <a:txBody>
                    <a:bodyPr/>
                    <a:lstStyle/>
                    <a:p>
                      <a:endParaRPr lang="en-GB"/>
                    </a:p>
                  </a:txBody>
                  <a:tcPr>
                    <a:lnT w="12700" cap="flat" cmpd="sng" algn="ctr">
                      <a:solidFill>
                        <a:schemeClr val="accent6">
                          <a:lumMod val="40000"/>
                          <a:lumOff val="60000"/>
                        </a:schemeClr>
                      </a:solidFill>
                      <a:prstDash val="dash"/>
                      <a:round/>
                      <a:headEnd type="none" w="med" len="med"/>
                      <a:tailEnd type="none" w="med" len="med"/>
                    </a:lnT>
                    <a:lnB w="12700" cap="flat" cmpd="sng" algn="ctr">
                      <a:solidFill>
                        <a:schemeClr val="accent6">
                          <a:lumMod val="40000"/>
                          <a:lumOff val="60000"/>
                        </a:schemeClr>
                      </a:solidFill>
                      <a:prstDash val="dash"/>
                      <a:round/>
                      <a:headEnd type="none" w="med" len="med"/>
                      <a:tailEnd type="none" w="med" len="med"/>
                    </a:lnB>
                    <a:noFill/>
                  </a:tcPr>
                </a:tc>
                <a:tc>
                  <a:txBody>
                    <a:bodyPr/>
                    <a:lstStyle/>
                    <a:p>
                      <a:endParaRPr lang="en-GB"/>
                    </a:p>
                  </a:txBody>
                  <a:tcPr>
                    <a:lnT w="12700" cap="flat" cmpd="sng" algn="ctr">
                      <a:solidFill>
                        <a:schemeClr val="accent6">
                          <a:lumMod val="40000"/>
                          <a:lumOff val="60000"/>
                        </a:schemeClr>
                      </a:solidFill>
                      <a:prstDash val="dash"/>
                      <a:round/>
                      <a:headEnd type="none" w="med" len="med"/>
                      <a:tailEnd type="none" w="med" len="med"/>
                    </a:lnT>
                    <a:lnB w="12700" cap="flat" cmpd="sng" algn="ctr">
                      <a:solidFill>
                        <a:schemeClr val="accent6">
                          <a:lumMod val="40000"/>
                          <a:lumOff val="60000"/>
                        </a:schemeClr>
                      </a:solidFill>
                      <a:prstDash val="dash"/>
                      <a:round/>
                      <a:headEnd type="none" w="med" len="med"/>
                      <a:tailEnd type="none" w="med" len="med"/>
                    </a:lnB>
                    <a:noFill/>
                  </a:tcPr>
                </a:tc>
                <a:tc>
                  <a:txBody>
                    <a:bodyPr/>
                    <a:lstStyle/>
                    <a:p>
                      <a:endParaRPr lang="en-GB"/>
                    </a:p>
                  </a:txBody>
                  <a:tcPr>
                    <a:lnT w="12700" cap="flat" cmpd="sng" algn="ctr">
                      <a:solidFill>
                        <a:schemeClr val="accent6">
                          <a:lumMod val="40000"/>
                          <a:lumOff val="60000"/>
                        </a:schemeClr>
                      </a:solidFill>
                      <a:prstDash val="dash"/>
                      <a:round/>
                      <a:headEnd type="none" w="med" len="med"/>
                      <a:tailEnd type="none" w="med" len="med"/>
                    </a:lnT>
                    <a:lnB w="12700" cap="flat" cmpd="sng" algn="ctr">
                      <a:solidFill>
                        <a:schemeClr val="accent6">
                          <a:lumMod val="40000"/>
                          <a:lumOff val="60000"/>
                        </a:schemeClr>
                      </a:solidFill>
                      <a:prstDash val="dash"/>
                      <a:round/>
                      <a:headEnd type="none" w="med" len="med"/>
                      <a:tailEnd type="none" w="med" len="med"/>
                    </a:lnB>
                    <a:noFill/>
                  </a:tcPr>
                </a:tc>
                <a:tc>
                  <a:txBody>
                    <a:bodyPr/>
                    <a:lstStyle/>
                    <a:p>
                      <a:endParaRPr lang="en-GB"/>
                    </a:p>
                  </a:txBody>
                  <a:tcPr>
                    <a:lnT w="12700" cap="flat" cmpd="sng" algn="ctr">
                      <a:solidFill>
                        <a:schemeClr val="accent6">
                          <a:lumMod val="40000"/>
                          <a:lumOff val="60000"/>
                        </a:schemeClr>
                      </a:solidFill>
                      <a:prstDash val="dash"/>
                      <a:round/>
                      <a:headEnd type="none" w="med" len="med"/>
                      <a:tailEnd type="none" w="med" len="med"/>
                    </a:lnT>
                    <a:lnB w="12700" cap="flat" cmpd="sng" algn="ctr">
                      <a:solidFill>
                        <a:schemeClr val="accent6">
                          <a:lumMod val="40000"/>
                          <a:lumOff val="60000"/>
                        </a:schemeClr>
                      </a:solidFill>
                      <a:prstDash val="dash"/>
                      <a:round/>
                      <a:headEnd type="none" w="med" len="med"/>
                      <a:tailEnd type="none" w="med" len="med"/>
                    </a:lnB>
                    <a:noFill/>
                  </a:tcPr>
                </a:tc>
                <a:tc>
                  <a:txBody>
                    <a:bodyPr/>
                    <a:lstStyle/>
                    <a:p>
                      <a:endParaRPr lang="en-GB"/>
                    </a:p>
                  </a:txBody>
                  <a:tcPr>
                    <a:lnT w="12700" cap="flat" cmpd="sng" algn="ctr">
                      <a:solidFill>
                        <a:schemeClr val="accent6">
                          <a:lumMod val="40000"/>
                          <a:lumOff val="60000"/>
                        </a:schemeClr>
                      </a:solidFill>
                      <a:prstDash val="dash"/>
                      <a:round/>
                      <a:headEnd type="none" w="med" len="med"/>
                      <a:tailEnd type="none" w="med" len="med"/>
                    </a:lnT>
                    <a:lnB w="12700" cap="flat" cmpd="sng" algn="ctr">
                      <a:solidFill>
                        <a:schemeClr val="accent6">
                          <a:lumMod val="40000"/>
                          <a:lumOff val="60000"/>
                        </a:schemeClr>
                      </a:solidFill>
                      <a:prstDash val="dash"/>
                      <a:round/>
                      <a:headEnd type="none" w="med" len="med"/>
                      <a:tailEnd type="none" w="med" len="med"/>
                    </a:lnB>
                    <a:noFill/>
                  </a:tcPr>
                </a:tc>
                <a:tc>
                  <a:txBody>
                    <a:bodyPr/>
                    <a:lstStyle/>
                    <a:p>
                      <a:endParaRPr lang="en-GB"/>
                    </a:p>
                  </a:txBody>
                  <a:tcPr>
                    <a:lnT w="12700" cap="flat" cmpd="sng" algn="ctr">
                      <a:solidFill>
                        <a:schemeClr val="accent6">
                          <a:lumMod val="40000"/>
                          <a:lumOff val="60000"/>
                        </a:schemeClr>
                      </a:solidFill>
                      <a:prstDash val="dash"/>
                      <a:round/>
                      <a:headEnd type="none" w="med" len="med"/>
                      <a:tailEnd type="none" w="med" len="med"/>
                    </a:lnT>
                    <a:lnB w="12700" cap="flat" cmpd="sng" algn="ctr">
                      <a:solidFill>
                        <a:schemeClr val="accent6">
                          <a:lumMod val="40000"/>
                          <a:lumOff val="60000"/>
                        </a:schemeClr>
                      </a:solidFill>
                      <a:prstDash val="dash"/>
                      <a:round/>
                      <a:headEnd type="none" w="med" len="med"/>
                      <a:tailEnd type="none" w="med" len="med"/>
                    </a:lnB>
                    <a:noFill/>
                  </a:tcPr>
                </a:tc>
                <a:extLst>
                  <a:ext uri="{0D108BD9-81ED-4DB2-BD59-A6C34878D82A}">
                    <a16:rowId xmlns:a16="http://schemas.microsoft.com/office/drawing/2014/main" xmlns="" val="10005"/>
                  </a:ext>
                </a:extLst>
              </a:tr>
              <a:tr h="536023">
                <a:tc>
                  <a:txBody>
                    <a:bodyPr/>
                    <a:lstStyle/>
                    <a:p>
                      <a:endParaRPr lang="en-GB"/>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003870"/>
                    </a:solidFill>
                  </a:tcPr>
                </a:tc>
                <a:tc>
                  <a:txBody>
                    <a:bodyPr/>
                    <a:lstStyle/>
                    <a:p>
                      <a:endParaRPr lang="en-GB" sz="300"/>
                    </a:p>
                  </a:txBody>
                  <a:tcPr>
                    <a:lnL w="38100" cap="flat" cmpd="sng" algn="ctr">
                      <a:solidFill>
                        <a:schemeClr val="bg1"/>
                      </a:solidFill>
                      <a:prstDash val="solid"/>
                      <a:round/>
                      <a:headEnd type="none" w="med" len="med"/>
                      <a:tailEnd type="none" w="med" len="med"/>
                    </a:lnL>
                    <a:lnT w="12700" cap="flat" cmpd="sng" algn="ctr">
                      <a:solidFill>
                        <a:schemeClr val="accent6">
                          <a:lumMod val="40000"/>
                          <a:lumOff val="60000"/>
                        </a:schemeClr>
                      </a:solidFill>
                      <a:prstDash val="dash"/>
                      <a:round/>
                      <a:headEnd type="none" w="med" len="med"/>
                      <a:tailEnd type="none" w="med" len="med"/>
                    </a:lnT>
                    <a:lnB w="12700" cap="flat" cmpd="sng" algn="ctr">
                      <a:solidFill>
                        <a:schemeClr val="accent6">
                          <a:lumMod val="40000"/>
                          <a:lumOff val="60000"/>
                        </a:schemeClr>
                      </a:solidFill>
                      <a:prstDash val="dash"/>
                      <a:round/>
                      <a:headEnd type="none" w="med" len="med"/>
                      <a:tailEnd type="none" w="med" len="med"/>
                    </a:lnB>
                    <a:noFill/>
                  </a:tcPr>
                </a:tc>
                <a:tc>
                  <a:txBody>
                    <a:bodyPr/>
                    <a:lstStyle/>
                    <a:p>
                      <a:endParaRPr lang="en-GB"/>
                    </a:p>
                  </a:txBody>
                  <a:tcPr>
                    <a:lnT w="12700" cap="flat" cmpd="sng" algn="ctr">
                      <a:solidFill>
                        <a:schemeClr val="accent6">
                          <a:lumMod val="40000"/>
                          <a:lumOff val="60000"/>
                        </a:schemeClr>
                      </a:solidFill>
                      <a:prstDash val="dash"/>
                      <a:round/>
                      <a:headEnd type="none" w="med" len="med"/>
                      <a:tailEnd type="none" w="med" len="med"/>
                    </a:lnT>
                    <a:lnB w="12700" cap="flat" cmpd="sng" algn="ctr">
                      <a:solidFill>
                        <a:schemeClr val="accent6">
                          <a:lumMod val="40000"/>
                          <a:lumOff val="60000"/>
                        </a:schemeClr>
                      </a:solidFill>
                      <a:prstDash val="dash"/>
                      <a:round/>
                      <a:headEnd type="none" w="med" len="med"/>
                      <a:tailEnd type="none" w="med" len="med"/>
                    </a:lnB>
                    <a:noFill/>
                  </a:tcPr>
                </a:tc>
                <a:tc>
                  <a:txBody>
                    <a:bodyPr/>
                    <a:lstStyle/>
                    <a:p>
                      <a:endParaRPr lang="en-GB"/>
                    </a:p>
                  </a:txBody>
                  <a:tcPr>
                    <a:lnT w="12700" cap="flat" cmpd="sng" algn="ctr">
                      <a:solidFill>
                        <a:schemeClr val="accent6">
                          <a:lumMod val="40000"/>
                          <a:lumOff val="60000"/>
                        </a:schemeClr>
                      </a:solidFill>
                      <a:prstDash val="dash"/>
                      <a:round/>
                      <a:headEnd type="none" w="med" len="med"/>
                      <a:tailEnd type="none" w="med" len="med"/>
                    </a:lnT>
                    <a:lnB w="12700" cap="flat" cmpd="sng" algn="ctr">
                      <a:solidFill>
                        <a:schemeClr val="accent6">
                          <a:lumMod val="40000"/>
                          <a:lumOff val="60000"/>
                        </a:schemeClr>
                      </a:solidFill>
                      <a:prstDash val="dash"/>
                      <a:round/>
                      <a:headEnd type="none" w="med" len="med"/>
                      <a:tailEnd type="none" w="med" len="med"/>
                    </a:lnB>
                    <a:noFill/>
                  </a:tcPr>
                </a:tc>
                <a:tc>
                  <a:txBody>
                    <a:bodyPr/>
                    <a:lstStyle/>
                    <a:p>
                      <a:endParaRPr lang="en-GB"/>
                    </a:p>
                  </a:txBody>
                  <a:tcPr>
                    <a:lnT w="12700" cap="flat" cmpd="sng" algn="ctr">
                      <a:solidFill>
                        <a:schemeClr val="accent6">
                          <a:lumMod val="40000"/>
                          <a:lumOff val="60000"/>
                        </a:schemeClr>
                      </a:solidFill>
                      <a:prstDash val="dash"/>
                      <a:round/>
                      <a:headEnd type="none" w="med" len="med"/>
                      <a:tailEnd type="none" w="med" len="med"/>
                    </a:lnT>
                    <a:lnB w="12700" cap="flat" cmpd="sng" algn="ctr">
                      <a:solidFill>
                        <a:schemeClr val="accent6">
                          <a:lumMod val="40000"/>
                          <a:lumOff val="60000"/>
                        </a:schemeClr>
                      </a:solidFill>
                      <a:prstDash val="dash"/>
                      <a:round/>
                      <a:headEnd type="none" w="med" len="med"/>
                      <a:tailEnd type="none" w="med" len="med"/>
                    </a:lnB>
                    <a:noFill/>
                  </a:tcPr>
                </a:tc>
                <a:tc>
                  <a:txBody>
                    <a:bodyPr/>
                    <a:lstStyle/>
                    <a:p>
                      <a:endParaRPr lang="en-GB"/>
                    </a:p>
                  </a:txBody>
                  <a:tcPr>
                    <a:lnT w="12700" cap="flat" cmpd="sng" algn="ctr">
                      <a:solidFill>
                        <a:schemeClr val="accent6">
                          <a:lumMod val="40000"/>
                          <a:lumOff val="60000"/>
                        </a:schemeClr>
                      </a:solidFill>
                      <a:prstDash val="dash"/>
                      <a:round/>
                      <a:headEnd type="none" w="med" len="med"/>
                      <a:tailEnd type="none" w="med" len="med"/>
                    </a:lnT>
                    <a:lnB w="12700" cap="flat" cmpd="sng" algn="ctr">
                      <a:solidFill>
                        <a:schemeClr val="accent6">
                          <a:lumMod val="40000"/>
                          <a:lumOff val="60000"/>
                        </a:schemeClr>
                      </a:solidFill>
                      <a:prstDash val="dash"/>
                      <a:round/>
                      <a:headEnd type="none" w="med" len="med"/>
                      <a:tailEnd type="none" w="med" len="med"/>
                    </a:lnB>
                    <a:noFill/>
                  </a:tcPr>
                </a:tc>
                <a:tc>
                  <a:txBody>
                    <a:bodyPr/>
                    <a:lstStyle/>
                    <a:p>
                      <a:endParaRPr lang="en-GB"/>
                    </a:p>
                  </a:txBody>
                  <a:tcPr>
                    <a:lnT w="12700" cap="flat" cmpd="sng" algn="ctr">
                      <a:solidFill>
                        <a:schemeClr val="accent6">
                          <a:lumMod val="40000"/>
                          <a:lumOff val="60000"/>
                        </a:schemeClr>
                      </a:solidFill>
                      <a:prstDash val="dash"/>
                      <a:round/>
                      <a:headEnd type="none" w="med" len="med"/>
                      <a:tailEnd type="none" w="med" len="med"/>
                    </a:lnT>
                    <a:lnB w="12700" cap="flat" cmpd="sng" algn="ctr">
                      <a:solidFill>
                        <a:schemeClr val="accent6">
                          <a:lumMod val="40000"/>
                          <a:lumOff val="60000"/>
                        </a:schemeClr>
                      </a:solidFill>
                      <a:prstDash val="dash"/>
                      <a:round/>
                      <a:headEnd type="none" w="med" len="med"/>
                      <a:tailEnd type="none" w="med" len="med"/>
                    </a:lnB>
                    <a:noFill/>
                  </a:tcPr>
                </a:tc>
                <a:tc>
                  <a:txBody>
                    <a:bodyPr/>
                    <a:lstStyle/>
                    <a:p>
                      <a:endParaRPr lang="en-GB"/>
                    </a:p>
                  </a:txBody>
                  <a:tcPr>
                    <a:lnT w="12700" cap="flat" cmpd="sng" algn="ctr">
                      <a:solidFill>
                        <a:schemeClr val="accent6">
                          <a:lumMod val="40000"/>
                          <a:lumOff val="60000"/>
                        </a:schemeClr>
                      </a:solidFill>
                      <a:prstDash val="dash"/>
                      <a:round/>
                      <a:headEnd type="none" w="med" len="med"/>
                      <a:tailEnd type="none" w="med" len="med"/>
                    </a:lnT>
                    <a:lnB w="12700" cap="flat" cmpd="sng" algn="ctr">
                      <a:solidFill>
                        <a:schemeClr val="accent6">
                          <a:lumMod val="40000"/>
                          <a:lumOff val="60000"/>
                        </a:schemeClr>
                      </a:solidFill>
                      <a:prstDash val="dash"/>
                      <a:round/>
                      <a:headEnd type="none" w="med" len="med"/>
                      <a:tailEnd type="none" w="med" len="med"/>
                    </a:lnB>
                    <a:noFill/>
                  </a:tcPr>
                </a:tc>
                <a:tc>
                  <a:txBody>
                    <a:bodyPr/>
                    <a:lstStyle/>
                    <a:p>
                      <a:endParaRPr lang="en-GB"/>
                    </a:p>
                  </a:txBody>
                  <a:tcPr>
                    <a:lnT w="12700" cap="flat" cmpd="sng" algn="ctr">
                      <a:solidFill>
                        <a:schemeClr val="accent6">
                          <a:lumMod val="40000"/>
                          <a:lumOff val="60000"/>
                        </a:schemeClr>
                      </a:solidFill>
                      <a:prstDash val="dash"/>
                      <a:round/>
                      <a:headEnd type="none" w="med" len="med"/>
                      <a:tailEnd type="none" w="med" len="med"/>
                    </a:lnT>
                    <a:lnB w="12700" cap="flat" cmpd="sng" algn="ctr">
                      <a:solidFill>
                        <a:schemeClr val="accent6">
                          <a:lumMod val="40000"/>
                          <a:lumOff val="60000"/>
                        </a:schemeClr>
                      </a:solidFill>
                      <a:prstDash val="dash"/>
                      <a:round/>
                      <a:headEnd type="none" w="med" len="med"/>
                      <a:tailEnd type="none" w="med" len="med"/>
                    </a:lnB>
                    <a:noFill/>
                  </a:tcPr>
                </a:tc>
                <a:extLst>
                  <a:ext uri="{0D108BD9-81ED-4DB2-BD59-A6C34878D82A}">
                    <a16:rowId xmlns:a16="http://schemas.microsoft.com/office/drawing/2014/main" xmlns="" val="10006"/>
                  </a:ext>
                </a:extLst>
              </a:tr>
              <a:tr h="536023">
                <a:tc>
                  <a:txBody>
                    <a:bodyPr/>
                    <a:lstStyle/>
                    <a:p>
                      <a:endParaRPr lang="en-GB"/>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003870"/>
                    </a:solidFill>
                  </a:tcPr>
                </a:tc>
                <a:tc>
                  <a:txBody>
                    <a:bodyPr/>
                    <a:lstStyle/>
                    <a:p>
                      <a:endParaRPr lang="en-GB" sz="300"/>
                    </a:p>
                  </a:txBody>
                  <a:tcPr>
                    <a:lnL w="38100" cap="flat" cmpd="sng" algn="ctr">
                      <a:solidFill>
                        <a:schemeClr val="bg1"/>
                      </a:solidFill>
                      <a:prstDash val="solid"/>
                      <a:round/>
                      <a:headEnd type="none" w="med" len="med"/>
                      <a:tailEnd type="none" w="med" len="med"/>
                    </a:lnL>
                    <a:lnT w="12700" cap="flat" cmpd="sng" algn="ctr">
                      <a:solidFill>
                        <a:schemeClr val="accent6">
                          <a:lumMod val="40000"/>
                          <a:lumOff val="60000"/>
                        </a:schemeClr>
                      </a:solidFill>
                      <a:prstDash val="dash"/>
                      <a:round/>
                      <a:headEnd type="none" w="med" len="med"/>
                      <a:tailEnd type="none" w="med" len="med"/>
                    </a:lnT>
                    <a:lnB w="12700" cap="flat" cmpd="sng" algn="ctr">
                      <a:solidFill>
                        <a:schemeClr val="accent6">
                          <a:lumMod val="40000"/>
                          <a:lumOff val="60000"/>
                        </a:schemeClr>
                      </a:solidFill>
                      <a:prstDash val="dash"/>
                      <a:round/>
                      <a:headEnd type="none" w="med" len="med"/>
                      <a:tailEnd type="none" w="med" len="med"/>
                    </a:lnB>
                    <a:noFill/>
                  </a:tcPr>
                </a:tc>
                <a:tc>
                  <a:txBody>
                    <a:bodyPr/>
                    <a:lstStyle/>
                    <a:p>
                      <a:endParaRPr lang="en-GB"/>
                    </a:p>
                  </a:txBody>
                  <a:tcPr>
                    <a:lnT w="12700" cap="flat" cmpd="sng" algn="ctr">
                      <a:solidFill>
                        <a:schemeClr val="accent6">
                          <a:lumMod val="40000"/>
                          <a:lumOff val="60000"/>
                        </a:schemeClr>
                      </a:solidFill>
                      <a:prstDash val="dash"/>
                      <a:round/>
                      <a:headEnd type="none" w="med" len="med"/>
                      <a:tailEnd type="none" w="med" len="med"/>
                    </a:lnT>
                    <a:lnB w="12700" cap="flat" cmpd="sng" algn="ctr">
                      <a:solidFill>
                        <a:schemeClr val="accent6">
                          <a:lumMod val="40000"/>
                          <a:lumOff val="60000"/>
                        </a:schemeClr>
                      </a:solidFill>
                      <a:prstDash val="dash"/>
                      <a:round/>
                      <a:headEnd type="none" w="med" len="med"/>
                      <a:tailEnd type="none" w="med" len="med"/>
                    </a:lnB>
                    <a:noFill/>
                  </a:tcPr>
                </a:tc>
                <a:tc>
                  <a:txBody>
                    <a:bodyPr/>
                    <a:lstStyle/>
                    <a:p>
                      <a:endParaRPr lang="en-GB"/>
                    </a:p>
                  </a:txBody>
                  <a:tcPr>
                    <a:lnT w="12700" cap="flat" cmpd="sng" algn="ctr">
                      <a:solidFill>
                        <a:schemeClr val="accent6">
                          <a:lumMod val="40000"/>
                          <a:lumOff val="60000"/>
                        </a:schemeClr>
                      </a:solidFill>
                      <a:prstDash val="dash"/>
                      <a:round/>
                      <a:headEnd type="none" w="med" len="med"/>
                      <a:tailEnd type="none" w="med" len="med"/>
                    </a:lnT>
                    <a:lnB w="12700" cap="flat" cmpd="sng" algn="ctr">
                      <a:solidFill>
                        <a:schemeClr val="accent6">
                          <a:lumMod val="40000"/>
                          <a:lumOff val="60000"/>
                        </a:schemeClr>
                      </a:solidFill>
                      <a:prstDash val="dash"/>
                      <a:round/>
                      <a:headEnd type="none" w="med" len="med"/>
                      <a:tailEnd type="none" w="med" len="med"/>
                    </a:lnB>
                    <a:noFill/>
                  </a:tcPr>
                </a:tc>
                <a:tc>
                  <a:txBody>
                    <a:bodyPr/>
                    <a:lstStyle/>
                    <a:p>
                      <a:endParaRPr lang="en-GB"/>
                    </a:p>
                  </a:txBody>
                  <a:tcPr>
                    <a:lnT w="12700" cap="flat" cmpd="sng" algn="ctr">
                      <a:solidFill>
                        <a:schemeClr val="accent6">
                          <a:lumMod val="40000"/>
                          <a:lumOff val="60000"/>
                        </a:schemeClr>
                      </a:solidFill>
                      <a:prstDash val="dash"/>
                      <a:round/>
                      <a:headEnd type="none" w="med" len="med"/>
                      <a:tailEnd type="none" w="med" len="med"/>
                    </a:lnT>
                    <a:lnB w="12700" cap="flat" cmpd="sng" algn="ctr">
                      <a:solidFill>
                        <a:schemeClr val="accent6">
                          <a:lumMod val="40000"/>
                          <a:lumOff val="60000"/>
                        </a:schemeClr>
                      </a:solidFill>
                      <a:prstDash val="dash"/>
                      <a:round/>
                      <a:headEnd type="none" w="med" len="med"/>
                      <a:tailEnd type="none" w="med" len="med"/>
                    </a:lnB>
                    <a:noFill/>
                  </a:tcPr>
                </a:tc>
                <a:tc>
                  <a:txBody>
                    <a:bodyPr/>
                    <a:lstStyle/>
                    <a:p>
                      <a:endParaRPr lang="en-GB"/>
                    </a:p>
                  </a:txBody>
                  <a:tcPr>
                    <a:lnT w="12700" cap="flat" cmpd="sng" algn="ctr">
                      <a:solidFill>
                        <a:schemeClr val="accent6">
                          <a:lumMod val="40000"/>
                          <a:lumOff val="60000"/>
                        </a:schemeClr>
                      </a:solidFill>
                      <a:prstDash val="dash"/>
                      <a:round/>
                      <a:headEnd type="none" w="med" len="med"/>
                      <a:tailEnd type="none" w="med" len="med"/>
                    </a:lnT>
                    <a:lnB w="12700" cap="flat" cmpd="sng" algn="ctr">
                      <a:solidFill>
                        <a:schemeClr val="accent6">
                          <a:lumMod val="40000"/>
                          <a:lumOff val="60000"/>
                        </a:schemeClr>
                      </a:solidFill>
                      <a:prstDash val="dash"/>
                      <a:round/>
                      <a:headEnd type="none" w="med" len="med"/>
                      <a:tailEnd type="none" w="med" len="med"/>
                    </a:lnB>
                    <a:noFill/>
                  </a:tcPr>
                </a:tc>
                <a:tc>
                  <a:txBody>
                    <a:bodyPr/>
                    <a:lstStyle/>
                    <a:p>
                      <a:endParaRPr lang="en-GB"/>
                    </a:p>
                  </a:txBody>
                  <a:tcPr>
                    <a:lnT w="12700" cap="flat" cmpd="sng" algn="ctr">
                      <a:solidFill>
                        <a:schemeClr val="accent6">
                          <a:lumMod val="40000"/>
                          <a:lumOff val="60000"/>
                        </a:schemeClr>
                      </a:solidFill>
                      <a:prstDash val="dash"/>
                      <a:round/>
                      <a:headEnd type="none" w="med" len="med"/>
                      <a:tailEnd type="none" w="med" len="med"/>
                    </a:lnT>
                    <a:lnB w="12700" cap="flat" cmpd="sng" algn="ctr">
                      <a:solidFill>
                        <a:schemeClr val="accent6">
                          <a:lumMod val="40000"/>
                          <a:lumOff val="60000"/>
                        </a:schemeClr>
                      </a:solidFill>
                      <a:prstDash val="dash"/>
                      <a:round/>
                      <a:headEnd type="none" w="med" len="med"/>
                      <a:tailEnd type="none" w="med" len="med"/>
                    </a:lnB>
                    <a:noFill/>
                  </a:tcPr>
                </a:tc>
                <a:tc>
                  <a:txBody>
                    <a:bodyPr/>
                    <a:lstStyle/>
                    <a:p>
                      <a:endParaRPr lang="en-GB"/>
                    </a:p>
                  </a:txBody>
                  <a:tcPr>
                    <a:lnT w="12700" cap="flat" cmpd="sng" algn="ctr">
                      <a:solidFill>
                        <a:schemeClr val="accent6">
                          <a:lumMod val="40000"/>
                          <a:lumOff val="60000"/>
                        </a:schemeClr>
                      </a:solidFill>
                      <a:prstDash val="dash"/>
                      <a:round/>
                      <a:headEnd type="none" w="med" len="med"/>
                      <a:tailEnd type="none" w="med" len="med"/>
                    </a:lnT>
                    <a:lnB w="12700" cap="flat" cmpd="sng" algn="ctr">
                      <a:solidFill>
                        <a:schemeClr val="accent6">
                          <a:lumMod val="40000"/>
                          <a:lumOff val="60000"/>
                        </a:schemeClr>
                      </a:solidFill>
                      <a:prstDash val="dash"/>
                      <a:round/>
                      <a:headEnd type="none" w="med" len="med"/>
                      <a:tailEnd type="none" w="med" len="med"/>
                    </a:lnB>
                    <a:noFill/>
                  </a:tcPr>
                </a:tc>
                <a:tc>
                  <a:txBody>
                    <a:bodyPr/>
                    <a:lstStyle/>
                    <a:p>
                      <a:endParaRPr lang="en-GB"/>
                    </a:p>
                  </a:txBody>
                  <a:tcPr>
                    <a:lnT w="12700" cap="flat" cmpd="sng" algn="ctr">
                      <a:solidFill>
                        <a:schemeClr val="accent6">
                          <a:lumMod val="40000"/>
                          <a:lumOff val="60000"/>
                        </a:schemeClr>
                      </a:solidFill>
                      <a:prstDash val="dash"/>
                      <a:round/>
                      <a:headEnd type="none" w="med" len="med"/>
                      <a:tailEnd type="none" w="med" len="med"/>
                    </a:lnT>
                    <a:lnB w="12700" cap="flat" cmpd="sng" algn="ctr">
                      <a:solidFill>
                        <a:schemeClr val="accent6">
                          <a:lumMod val="40000"/>
                          <a:lumOff val="60000"/>
                        </a:schemeClr>
                      </a:solidFill>
                      <a:prstDash val="dash"/>
                      <a:round/>
                      <a:headEnd type="none" w="med" len="med"/>
                      <a:tailEnd type="none" w="med" len="med"/>
                    </a:lnB>
                    <a:noFill/>
                  </a:tcPr>
                </a:tc>
                <a:extLst>
                  <a:ext uri="{0D108BD9-81ED-4DB2-BD59-A6C34878D82A}">
                    <a16:rowId xmlns:a16="http://schemas.microsoft.com/office/drawing/2014/main" xmlns="" val="10007"/>
                  </a:ext>
                </a:extLst>
              </a:tr>
              <a:tr h="536023">
                <a:tc>
                  <a:txBody>
                    <a:bodyPr/>
                    <a:lstStyle/>
                    <a:p>
                      <a:endParaRPr lang="en-GB"/>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003870"/>
                    </a:solidFill>
                  </a:tcPr>
                </a:tc>
                <a:tc>
                  <a:txBody>
                    <a:bodyPr/>
                    <a:lstStyle/>
                    <a:p>
                      <a:endParaRPr lang="en-GB" sz="300"/>
                    </a:p>
                  </a:txBody>
                  <a:tcPr>
                    <a:lnL w="38100" cap="flat" cmpd="sng" algn="ctr">
                      <a:solidFill>
                        <a:schemeClr val="bg1"/>
                      </a:solidFill>
                      <a:prstDash val="solid"/>
                      <a:round/>
                      <a:headEnd type="none" w="med" len="med"/>
                      <a:tailEnd type="none" w="med" len="med"/>
                    </a:lnL>
                    <a:lnT w="12700" cap="flat" cmpd="sng" algn="ctr">
                      <a:solidFill>
                        <a:schemeClr val="accent6">
                          <a:lumMod val="40000"/>
                          <a:lumOff val="60000"/>
                        </a:schemeClr>
                      </a:solidFill>
                      <a:prstDash val="dash"/>
                      <a:round/>
                      <a:headEnd type="none" w="med" len="med"/>
                      <a:tailEnd type="none" w="med" len="med"/>
                    </a:lnT>
                    <a:noFill/>
                  </a:tcPr>
                </a:tc>
                <a:tc>
                  <a:txBody>
                    <a:bodyPr/>
                    <a:lstStyle/>
                    <a:p>
                      <a:endParaRPr lang="en-GB"/>
                    </a:p>
                  </a:txBody>
                  <a:tcPr>
                    <a:lnT w="12700" cap="flat" cmpd="sng" algn="ctr">
                      <a:solidFill>
                        <a:schemeClr val="accent6">
                          <a:lumMod val="40000"/>
                          <a:lumOff val="60000"/>
                        </a:schemeClr>
                      </a:solidFill>
                      <a:prstDash val="dash"/>
                      <a:round/>
                      <a:headEnd type="none" w="med" len="med"/>
                      <a:tailEnd type="none" w="med" len="med"/>
                    </a:lnT>
                    <a:noFill/>
                  </a:tcPr>
                </a:tc>
                <a:tc>
                  <a:txBody>
                    <a:bodyPr/>
                    <a:lstStyle/>
                    <a:p>
                      <a:endParaRPr lang="en-GB"/>
                    </a:p>
                  </a:txBody>
                  <a:tcPr>
                    <a:lnT w="12700" cap="flat" cmpd="sng" algn="ctr">
                      <a:solidFill>
                        <a:schemeClr val="accent6">
                          <a:lumMod val="40000"/>
                          <a:lumOff val="60000"/>
                        </a:schemeClr>
                      </a:solidFill>
                      <a:prstDash val="dash"/>
                      <a:round/>
                      <a:headEnd type="none" w="med" len="med"/>
                      <a:tailEnd type="none" w="med" len="med"/>
                    </a:lnT>
                    <a:noFill/>
                  </a:tcPr>
                </a:tc>
                <a:tc>
                  <a:txBody>
                    <a:bodyPr/>
                    <a:lstStyle/>
                    <a:p>
                      <a:endParaRPr lang="en-GB"/>
                    </a:p>
                  </a:txBody>
                  <a:tcPr>
                    <a:lnT w="12700" cap="flat" cmpd="sng" algn="ctr">
                      <a:solidFill>
                        <a:schemeClr val="accent6">
                          <a:lumMod val="40000"/>
                          <a:lumOff val="60000"/>
                        </a:schemeClr>
                      </a:solidFill>
                      <a:prstDash val="dash"/>
                      <a:round/>
                      <a:headEnd type="none" w="med" len="med"/>
                      <a:tailEnd type="none" w="med" len="med"/>
                    </a:lnT>
                    <a:noFill/>
                  </a:tcPr>
                </a:tc>
                <a:tc>
                  <a:txBody>
                    <a:bodyPr/>
                    <a:lstStyle/>
                    <a:p>
                      <a:endParaRPr lang="en-GB"/>
                    </a:p>
                  </a:txBody>
                  <a:tcPr>
                    <a:lnT w="12700" cap="flat" cmpd="sng" algn="ctr">
                      <a:solidFill>
                        <a:schemeClr val="accent6">
                          <a:lumMod val="40000"/>
                          <a:lumOff val="60000"/>
                        </a:schemeClr>
                      </a:solidFill>
                      <a:prstDash val="dash"/>
                      <a:round/>
                      <a:headEnd type="none" w="med" len="med"/>
                      <a:tailEnd type="none" w="med" len="med"/>
                    </a:lnT>
                    <a:noFill/>
                  </a:tcPr>
                </a:tc>
                <a:tc>
                  <a:txBody>
                    <a:bodyPr/>
                    <a:lstStyle/>
                    <a:p>
                      <a:endParaRPr lang="en-GB"/>
                    </a:p>
                  </a:txBody>
                  <a:tcPr>
                    <a:lnT w="12700" cap="flat" cmpd="sng" algn="ctr">
                      <a:solidFill>
                        <a:schemeClr val="accent6">
                          <a:lumMod val="40000"/>
                          <a:lumOff val="60000"/>
                        </a:schemeClr>
                      </a:solidFill>
                      <a:prstDash val="dash"/>
                      <a:round/>
                      <a:headEnd type="none" w="med" len="med"/>
                      <a:tailEnd type="none" w="med" len="med"/>
                    </a:lnT>
                    <a:noFill/>
                  </a:tcPr>
                </a:tc>
                <a:tc>
                  <a:txBody>
                    <a:bodyPr/>
                    <a:lstStyle/>
                    <a:p>
                      <a:endParaRPr lang="en-GB"/>
                    </a:p>
                  </a:txBody>
                  <a:tcPr>
                    <a:lnT w="12700" cap="flat" cmpd="sng" algn="ctr">
                      <a:solidFill>
                        <a:schemeClr val="accent6">
                          <a:lumMod val="40000"/>
                          <a:lumOff val="60000"/>
                        </a:schemeClr>
                      </a:solidFill>
                      <a:prstDash val="dash"/>
                      <a:round/>
                      <a:headEnd type="none" w="med" len="med"/>
                      <a:tailEnd type="none" w="med" len="med"/>
                    </a:lnT>
                    <a:noFill/>
                  </a:tcPr>
                </a:tc>
                <a:tc>
                  <a:txBody>
                    <a:bodyPr/>
                    <a:lstStyle/>
                    <a:p>
                      <a:endParaRPr lang="en-GB"/>
                    </a:p>
                  </a:txBody>
                  <a:tcPr>
                    <a:lnT w="12700" cap="flat" cmpd="sng" algn="ctr">
                      <a:solidFill>
                        <a:schemeClr val="accent6">
                          <a:lumMod val="40000"/>
                          <a:lumOff val="60000"/>
                        </a:schemeClr>
                      </a:solidFill>
                      <a:prstDash val="dash"/>
                      <a:round/>
                      <a:headEnd type="none" w="med" len="med"/>
                      <a:tailEnd type="none" w="med" len="med"/>
                    </a:lnT>
                    <a:noFill/>
                  </a:tcPr>
                </a:tc>
                <a:extLst>
                  <a:ext uri="{0D108BD9-81ED-4DB2-BD59-A6C34878D82A}">
                    <a16:rowId xmlns:a16="http://schemas.microsoft.com/office/drawing/2014/main" xmlns="" val="10008"/>
                  </a:ext>
                </a:extLst>
              </a:tr>
            </a:tbl>
          </a:graphicData>
        </a:graphic>
      </p:graphicFrame>
    </p:spTree>
    <p:extLst>
      <p:ext uri="{BB962C8B-B14F-4D97-AF65-F5344CB8AC3E}">
        <p14:creationId xmlns:p14="http://schemas.microsoft.com/office/powerpoint/2010/main" val="375985962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Picture_Layout">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p:txBody>
          <a:bodyPr/>
          <a:lstStyle/>
          <a:p>
            <a:r>
              <a:rPr lang="en-US" noProof="0"/>
              <a:t>TITLE</a:t>
            </a:r>
          </a:p>
        </p:txBody>
      </p:sp>
      <p:sp>
        <p:nvSpPr>
          <p:cNvPr id="8" name="Espace réservé de la date 7"/>
          <p:cNvSpPr>
            <a:spLocks noGrp="1"/>
          </p:cNvSpPr>
          <p:nvPr>
            <p:ph type="dt" sz="half" idx="14"/>
          </p:nvPr>
        </p:nvSpPr>
        <p:spPr bwMode="gray"/>
        <p:txBody>
          <a:bodyPr/>
          <a:lstStyle/>
          <a:p>
            <a:r>
              <a:rPr lang="en-US" noProof="0"/>
              <a:t>Date</a:t>
            </a:r>
          </a:p>
        </p:txBody>
      </p:sp>
      <p:sp>
        <p:nvSpPr>
          <p:cNvPr id="9" name="Espace réservé du numéro de diapositive 8"/>
          <p:cNvSpPr>
            <a:spLocks noGrp="1"/>
          </p:cNvSpPr>
          <p:nvPr>
            <p:ph type="sldNum" sz="quarter" idx="15"/>
          </p:nvPr>
        </p:nvSpPr>
        <p:spPr bwMode="gray"/>
        <p:txBody>
          <a:bodyPr/>
          <a:lstStyle/>
          <a:p>
            <a:pPr algn="l"/>
            <a:fld id="{733122C9-A0B9-462F-8757-0847AD287B63}" type="slidenum">
              <a:rPr lang="en-US" noProof="0" smtClean="0"/>
              <a:pPr algn="l"/>
              <a:t>‹#›</a:t>
            </a:fld>
            <a:endParaRPr lang="en-US" noProof="0"/>
          </a:p>
        </p:txBody>
      </p:sp>
      <p:sp>
        <p:nvSpPr>
          <p:cNvPr id="11" name="Espace réservé du pied de page 10"/>
          <p:cNvSpPr>
            <a:spLocks noGrp="1"/>
          </p:cNvSpPr>
          <p:nvPr>
            <p:ph type="ftr" sz="quarter" idx="16"/>
          </p:nvPr>
        </p:nvSpPr>
        <p:spPr bwMode="gray"/>
        <p:txBody>
          <a:bodyPr/>
          <a:lstStyle/>
          <a:p>
            <a:r>
              <a:rPr lang="en-US" noProof="0"/>
              <a:t>#add your hashtag</a:t>
            </a:r>
          </a:p>
        </p:txBody>
      </p:sp>
      <p:sp>
        <p:nvSpPr>
          <p:cNvPr id="12" name="Espace réservé pour une image  8"/>
          <p:cNvSpPr>
            <a:spLocks noGrp="1"/>
          </p:cNvSpPr>
          <p:nvPr>
            <p:ph type="pic" sz="quarter" idx="17" hasCustomPrompt="1"/>
          </p:nvPr>
        </p:nvSpPr>
        <p:spPr bwMode="gray">
          <a:xfrm>
            <a:off x="935038" y="1341438"/>
            <a:ext cx="7345362" cy="4679950"/>
          </a:xfrm>
        </p:spPr>
        <p:txBody>
          <a:bodyPr tIns="1008000" anchor="ctr" anchorCtr="0"/>
          <a:lstStyle>
            <a:lvl1pPr algn="ctr">
              <a:defRPr/>
            </a:lvl1pPr>
          </a:lstStyle>
          <a:p>
            <a:r>
              <a:rPr lang="en-US" noProof="0"/>
              <a:t>Select your own photo</a:t>
            </a:r>
          </a:p>
        </p:txBody>
      </p:sp>
    </p:spTree>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userDrawn="1">
  <p:cSld name="14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8766"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13404725"/>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pic>
        <p:nvPicPr>
          <p:cNvPr id="6" name="Image 18" descr="FD_02.pn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gray">
          <a:xfrm>
            <a:off x="0" y="0"/>
            <a:ext cx="9144000" cy="51577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7" name="Rectangle 6"/>
          <p:cNvSpPr/>
          <p:nvPr userDrawn="1"/>
        </p:nvSpPr>
        <p:spPr bwMode="gray">
          <a:xfrm>
            <a:off x="3635375" y="5265738"/>
            <a:ext cx="5508625" cy="15922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prstClr val="white"/>
              </a:solidFill>
            </a:endParaRPr>
          </a:p>
        </p:txBody>
      </p:sp>
      <p:pic>
        <p:nvPicPr>
          <p:cNvPr id="10" name="Image 19" descr="Bas_couv.png"/>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gray">
          <a:xfrm>
            <a:off x="0" y="5172075"/>
            <a:ext cx="3635375" cy="16859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1" name="Rectangle 10"/>
          <p:cNvSpPr/>
          <p:nvPr userDrawn="1"/>
        </p:nvSpPr>
        <p:spPr bwMode="gray">
          <a:xfrm>
            <a:off x="3635375" y="6354763"/>
            <a:ext cx="5113338" cy="2873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p>
            <a:pPr algn="r">
              <a:defRPr/>
            </a:pPr>
            <a:r>
              <a:rPr lang="en-US" sz="1000" err="1">
                <a:solidFill>
                  <a:srgbClr val="95D600"/>
                </a:solidFill>
              </a:rPr>
              <a:t>www.gavi.org</a:t>
            </a:r>
            <a:endParaRPr lang="en-US" sz="1000">
              <a:solidFill>
                <a:srgbClr val="95D600"/>
              </a:solidFill>
            </a:endParaRPr>
          </a:p>
        </p:txBody>
      </p:sp>
      <p:cxnSp>
        <p:nvCxnSpPr>
          <p:cNvPr id="12" name="Connecteur droit 22"/>
          <p:cNvCxnSpPr/>
          <p:nvPr userDrawn="1"/>
        </p:nvCxnSpPr>
        <p:spPr bwMode="gray">
          <a:xfrm flipH="1">
            <a:off x="468313" y="3402013"/>
            <a:ext cx="2447925" cy="0"/>
          </a:xfrm>
          <a:prstGeom prst="line">
            <a:avLst/>
          </a:prstGeom>
          <a:ln w="24130">
            <a:solidFill>
              <a:schemeClr val="accent1"/>
            </a:solidFill>
          </a:ln>
        </p:spPr>
        <p:style>
          <a:lnRef idx="1">
            <a:schemeClr val="accent1"/>
          </a:lnRef>
          <a:fillRef idx="0">
            <a:schemeClr val="accent1"/>
          </a:fillRef>
          <a:effectRef idx="0">
            <a:schemeClr val="accent1"/>
          </a:effectRef>
          <a:fontRef idx="minor">
            <a:schemeClr val="tx1"/>
          </a:fontRef>
        </p:style>
      </p:cxnSp>
      <p:sp>
        <p:nvSpPr>
          <p:cNvPr id="9" name="Espace réservé du texte 8"/>
          <p:cNvSpPr>
            <a:spLocks noGrp="1"/>
          </p:cNvSpPr>
          <p:nvPr>
            <p:ph type="body" sz="quarter" idx="13"/>
          </p:nvPr>
        </p:nvSpPr>
        <p:spPr bwMode="gray">
          <a:xfrm>
            <a:off x="468314" y="1036800"/>
            <a:ext cx="4824412" cy="2232000"/>
          </a:xfrm>
        </p:spPr>
        <p:txBody>
          <a:bodyPr anchor="b"/>
          <a:lstStyle>
            <a:lvl1pPr marL="0" indent="0" algn="l">
              <a:lnSpc>
                <a:spcPct val="90000"/>
              </a:lnSpc>
              <a:buNone/>
              <a:defRPr sz="2800" b="1" cap="none" baseline="0">
                <a:solidFill>
                  <a:schemeClr val="bg1"/>
                </a:solidFill>
              </a:defRPr>
            </a:lvl1pPr>
            <a:lvl2pPr marL="0" algn="ctr">
              <a:lnSpc>
                <a:spcPct val="100000"/>
              </a:lnSpc>
              <a:spcBef>
                <a:spcPts val="6900"/>
              </a:spcBef>
              <a:defRPr sz="2000" b="1">
                <a:solidFill>
                  <a:schemeClr val="bg1"/>
                </a:solidFill>
              </a:defRPr>
            </a:lvl2pPr>
          </a:lstStyle>
          <a:p>
            <a:pPr lvl="0"/>
            <a:r>
              <a:rPr lang="en-US" noProof="0"/>
              <a:t>Click to edit Master text styles</a:t>
            </a:r>
          </a:p>
        </p:txBody>
      </p:sp>
      <p:sp>
        <p:nvSpPr>
          <p:cNvPr id="8" name="Espace réservé du texte 8"/>
          <p:cNvSpPr>
            <a:spLocks noGrp="1"/>
          </p:cNvSpPr>
          <p:nvPr>
            <p:ph type="body" sz="quarter" idx="14"/>
          </p:nvPr>
        </p:nvSpPr>
        <p:spPr bwMode="gray">
          <a:xfrm>
            <a:off x="468314" y="3585600"/>
            <a:ext cx="4824411" cy="1479600"/>
          </a:xfrm>
        </p:spPr>
        <p:txBody>
          <a:bodyPr/>
          <a:lstStyle>
            <a:lvl1pPr marL="0" indent="0" algn="l">
              <a:lnSpc>
                <a:spcPct val="90000"/>
              </a:lnSpc>
              <a:buNone/>
              <a:defRPr sz="2000" b="0" baseline="0">
                <a:solidFill>
                  <a:schemeClr val="bg1"/>
                </a:solidFill>
              </a:defRPr>
            </a:lvl1pPr>
            <a:lvl2pPr marL="0" algn="ctr">
              <a:lnSpc>
                <a:spcPct val="100000"/>
              </a:lnSpc>
              <a:spcBef>
                <a:spcPts val="6900"/>
              </a:spcBef>
              <a:defRPr sz="2000" b="1">
                <a:solidFill>
                  <a:schemeClr val="bg1"/>
                </a:solidFill>
              </a:defRPr>
            </a:lvl2pPr>
          </a:lstStyle>
          <a:p>
            <a:pPr lvl="0"/>
            <a:r>
              <a:rPr lang="en-US" noProof="0"/>
              <a:t>Click to edit Master text styles</a:t>
            </a:r>
          </a:p>
        </p:txBody>
      </p:sp>
      <p:sp>
        <p:nvSpPr>
          <p:cNvPr id="15" name="Espace réservé du texte 14"/>
          <p:cNvSpPr>
            <a:spLocks noGrp="1"/>
          </p:cNvSpPr>
          <p:nvPr>
            <p:ph type="body" sz="quarter" idx="19"/>
          </p:nvPr>
        </p:nvSpPr>
        <p:spPr bwMode="gray">
          <a:xfrm>
            <a:off x="3635376" y="6021388"/>
            <a:ext cx="5113338" cy="324000"/>
          </a:xfrm>
        </p:spPr>
        <p:txBody>
          <a:bodyPr anchor="b"/>
          <a:lstStyle>
            <a:lvl1pPr algn="r">
              <a:lnSpc>
                <a:spcPct val="100000"/>
              </a:lnSpc>
              <a:defRPr sz="1000" b="1">
                <a:solidFill>
                  <a:schemeClr val="accent3"/>
                </a:solidFill>
              </a:defRPr>
            </a:lvl1pPr>
          </a:lstStyle>
          <a:p>
            <a:pPr lvl="0"/>
            <a:r>
              <a:rPr lang="en-US" noProof="0"/>
              <a:t>Click to edit Master text styles</a:t>
            </a:r>
          </a:p>
        </p:txBody>
      </p:sp>
      <p:sp>
        <p:nvSpPr>
          <p:cNvPr id="17" name="Espace réservé du texte 16"/>
          <p:cNvSpPr>
            <a:spLocks noGrp="1"/>
          </p:cNvSpPr>
          <p:nvPr>
            <p:ph type="body" sz="quarter" idx="20"/>
          </p:nvPr>
        </p:nvSpPr>
        <p:spPr bwMode="gray">
          <a:xfrm>
            <a:off x="0" y="5157788"/>
            <a:ext cx="9144000" cy="287337"/>
          </a:xfrm>
          <a:solidFill>
            <a:schemeClr val="bg1"/>
          </a:solidFill>
        </p:spPr>
        <p:txBody>
          <a:bodyPr/>
          <a:lstStyle>
            <a:lvl1pPr>
              <a:defRPr sz="100" b="0">
                <a:solidFill>
                  <a:schemeClr val="bg1">
                    <a:alpha val="0"/>
                  </a:schemeClr>
                </a:solidFill>
              </a:defRPr>
            </a:lvl1pPr>
          </a:lstStyle>
          <a:p>
            <a:pPr lvl="0"/>
            <a:r>
              <a:rPr lang="en-US" noProof="0"/>
              <a:t>Click to edit Master text styles</a:t>
            </a:r>
          </a:p>
        </p:txBody>
      </p:sp>
      <p:sp>
        <p:nvSpPr>
          <p:cNvPr id="13" name="Espace réservé de la date 9"/>
          <p:cNvSpPr>
            <a:spLocks noGrp="1"/>
          </p:cNvSpPr>
          <p:nvPr>
            <p:ph type="dt" sz="half" idx="21"/>
          </p:nvPr>
        </p:nvSpPr>
        <p:spPr/>
        <p:txBody>
          <a:bodyPr/>
          <a:lstStyle>
            <a:lvl1pPr>
              <a:defRPr/>
            </a:lvl1pPr>
          </a:lstStyle>
          <a:p>
            <a:pPr>
              <a:defRPr/>
            </a:pPr>
            <a:r>
              <a:rPr lang="en-US">
                <a:solidFill>
                  <a:prstClr val="white">
                    <a:alpha val="0"/>
                  </a:prstClr>
                </a:solidFill>
              </a:rPr>
              <a:t>Date</a:t>
            </a:r>
          </a:p>
        </p:txBody>
      </p:sp>
      <p:sp>
        <p:nvSpPr>
          <p:cNvPr id="14" name="Espace réservé du numéro de diapositive 10"/>
          <p:cNvSpPr>
            <a:spLocks noGrp="1"/>
          </p:cNvSpPr>
          <p:nvPr>
            <p:ph type="sldNum" sz="quarter" idx="22"/>
          </p:nvPr>
        </p:nvSpPr>
        <p:spPr/>
        <p:txBody>
          <a:bodyPr/>
          <a:lstStyle>
            <a:lvl1pPr>
              <a:defRPr sz="100">
                <a:solidFill>
                  <a:schemeClr val="bg1">
                    <a:alpha val="0"/>
                  </a:schemeClr>
                </a:solidFill>
              </a:defRPr>
            </a:lvl1pPr>
          </a:lstStyle>
          <a:p>
            <a:pPr>
              <a:defRPr/>
            </a:pPr>
            <a:r>
              <a:rPr lang="en-US">
                <a:solidFill>
                  <a:prstClr val="white">
                    <a:alpha val="0"/>
                  </a:prstClr>
                </a:solidFill>
              </a:rPr>
              <a:t>Page: </a:t>
            </a:r>
            <a:fld id="{541ADD26-9626-44B7-849C-716E619042DF}" type="slidenum">
              <a:rPr lang="en-US">
                <a:solidFill>
                  <a:prstClr val="white">
                    <a:alpha val="0"/>
                  </a:prstClr>
                </a:solidFill>
              </a:rPr>
              <a:pPr>
                <a:defRPr/>
              </a:pPr>
              <a:t>‹#›</a:t>
            </a:fld>
            <a:endParaRPr lang="en-US">
              <a:solidFill>
                <a:prstClr val="white">
                  <a:alpha val="0"/>
                </a:prstClr>
              </a:solidFill>
            </a:endParaRPr>
          </a:p>
        </p:txBody>
      </p:sp>
      <p:sp>
        <p:nvSpPr>
          <p:cNvPr id="16" name="Espace réservé du pied de page 11"/>
          <p:cNvSpPr>
            <a:spLocks noGrp="1"/>
          </p:cNvSpPr>
          <p:nvPr>
            <p:ph type="ftr" sz="quarter" idx="23"/>
          </p:nvPr>
        </p:nvSpPr>
        <p:spPr>
          <a:xfrm>
            <a:off x="468313" y="523875"/>
            <a:ext cx="4824412" cy="360363"/>
          </a:xfrm>
        </p:spPr>
        <p:txBody>
          <a:bodyPr/>
          <a:lstStyle>
            <a:lvl1pPr algn="l">
              <a:defRPr sz="1800" b="0">
                <a:solidFill>
                  <a:schemeClr val="bg1"/>
                </a:solidFill>
              </a:defRPr>
            </a:lvl1pPr>
          </a:lstStyle>
          <a:p>
            <a:pPr>
              <a:defRPr/>
            </a:pPr>
            <a:r>
              <a:rPr lang="en-US">
                <a:solidFill>
                  <a:prstClr val="white"/>
                </a:solidFill>
              </a:rPr>
              <a:t>#vaccelerate</a:t>
            </a:r>
          </a:p>
        </p:txBody>
      </p:sp>
    </p:spTree>
    <p:extLst>
      <p:ext uri="{BB962C8B-B14F-4D97-AF65-F5344CB8AC3E}">
        <p14:creationId xmlns:p14="http://schemas.microsoft.com/office/powerpoint/2010/main" val="408444310"/>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Cover_Picture_1">
    <p:spTree>
      <p:nvGrpSpPr>
        <p:cNvPr id="1" name=""/>
        <p:cNvGrpSpPr/>
        <p:nvPr/>
      </p:nvGrpSpPr>
      <p:grpSpPr>
        <a:xfrm>
          <a:off x="0" y="0"/>
          <a:ext cx="0" cy="0"/>
          <a:chOff x="0" y="0"/>
          <a:chExt cx="0" cy="0"/>
        </a:xfrm>
      </p:grpSpPr>
      <p:pic>
        <p:nvPicPr>
          <p:cNvPr id="7" name="Image 20" descr="FD_1_L254.png"/>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gray">
          <a:xfrm>
            <a:off x="0" y="0"/>
            <a:ext cx="9144000" cy="51577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0" name="Rectangle 9"/>
          <p:cNvSpPr/>
          <p:nvPr userDrawn="1"/>
        </p:nvSpPr>
        <p:spPr bwMode="gray">
          <a:xfrm>
            <a:off x="3635375" y="5265738"/>
            <a:ext cx="5508625" cy="15922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prstClr val="white"/>
              </a:solidFill>
            </a:endParaRPr>
          </a:p>
        </p:txBody>
      </p:sp>
      <p:pic>
        <p:nvPicPr>
          <p:cNvPr id="11" name="Image 19" descr="Bas_couv.png"/>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gray">
          <a:xfrm>
            <a:off x="0" y="5172075"/>
            <a:ext cx="3635375" cy="16859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2" name="Rectangle 11"/>
          <p:cNvSpPr/>
          <p:nvPr userDrawn="1"/>
        </p:nvSpPr>
        <p:spPr bwMode="gray">
          <a:xfrm>
            <a:off x="3635375" y="6354763"/>
            <a:ext cx="5113338" cy="2873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p>
            <a:pPr algn="r">
              <a:defRPr/>
            </a:pPr>
            <a:r>
              <a:rPr lang="en-US" sz="1000" err="1">
                <a:solidFill>
                  <a:srgbClr val="95D600"/>
                </a:solidFill>
              </a:rPr>
              <a:t>www.gavi.org</a:t>
            </a:r>
            <a:endParaRPr lang="en-US" sz="1000">
              <a:solidFill>
                <a:srgbClr val="95D600"/>
              </a:solidFill>
            </a:endParaRPr>
          </a:p>
        </p:txBody>
      </p:sp>
      <p:cxnSp>
        <p:nvCxnSpPr>
          <p:cNvPr id="13" name="Connecteur droit 22"/>
          <p:cNvCxnSpPr/>
          <p:nvPr userDrawn="1"/>
        </p:nvCxnSpPr>
        <p:spPr bwMode="gray">
          <a:xfrm flipH="1">
            <a:off x="468313" y="3402013"/>
            <a:ext cx="2447925" cy="0"/>
          </a:xfrm>
          <a:prstGeom prst="line">
            <a:avLst/>
          </a:prstGeom>
          <a:ln w="24130">
            <a:solidFill>
              <a:schemeClr val="accent1"/>
            </a:solidFill>
          </a:ln>
        </p:spPr>
        <p:style>
          <a:lnRef idx="1">
            <a:schemeClr val="accent1"/>
          </a:lnRef>
          <a:fillRef idx="0">
            <a:schemeClr val="accent1"/>
          </a:fillRef>
          <a:effectRef idx="0">
            <a:schemeClr val="accent1"/>
          </a:effectRef>
          <a:fontRef idx="minor">
            <a:schemeClr val="tx1"/>
          </a:fontRef>
        </p:style>
      </p:cxnSp>
      <p:sp>
        <p:nvSpPr>
          <p:cNvPr id="9" name="Espace réservé du texte 8"/>
          <p:cNvSpPr>
            <a:spLocks noGrp="1"/>
          </p:cNvSpPr>
          <p:nvPr>
            <p:ph type="body" sz="quarter" idx="13"/>
          </p:nvPr>
        </p:nvSpPr>
        <p:spPr bwMode="gray">
          <a:xfrm>
            <a:off x="468314" y="1036638"/>
            <a:ext cx="4824412" cy="2231392"/>
          </a:xfrm>
        </p:spPr>
        <p:txBody>
          <a:bodyPr anchor="b"/>
          <a:lstStyle>
            <a:lvl1pPr marL="0" indent="0" algn="l">
              <a:lnSpc>
                <a:spcPct val="90000"/>
              </a:lnSpc>
              <a:buNone/>
              <a:defRPr sz="2800" b="1" cap="none" baseline="0">
                <a:solidFill>
                  <a:schemeClr val="bg1"/>
                </a:solidFill>
              </a:defRPr>
            </a:lvl1pPr>
            <a:lvl2pPr marL="0" algn="ctr">
              <a:lnSpc>
                <a:spcPct val="100000"/>
              </a:lnSpc>
              <a:spcBef>
                <a:spcPts val="6900"/>
              </a:spcBef>
              <a:defRPr sz="2000" b="1">
                <a:solidFill>
                  <a:schemeClr val="bg1"/>
                </a:solidFill>
              </a:defRPr>
            </a:lvl2pPr>
          </a:lstStyle>
          <a:p>
            <a:pPr lvl="0"/>
            <a:r>
              <a:rPr lang="en-US" noProof="0"/>
              <a:t>Click to edit Master text styles</a:t>
            </a:r>
          </a:p>
        </p:txBody>
      </p:sp>
      <p:sp>
        <p:nvSpPr>
          <p:cNvPr id="8" name="Espace réservé du texte 8"/>
          <p:cNvSpPr>
            <a:spLocks noGrp="1"/>
          </p:cNvSpPr>
          <p:nvPr>
            <p:ph type="body" sz="quarter" idx="14"/>
          </p:nvPr>
        </p:nvSpPr>
        <p:spPr bwMode="gray">
          <a:xfrm>
            <a:off x="468314" y="3584637"/>
            <a:ext cx="3592800" cy="1477788"/>
          </a:xfrm>
        </p:spPr>
        <p:txBody>
          <a:bodyPr/>
          <a:lstStyle>
            <a:lvl1pPr marL="0" indent="0" algn="l">
              <a:lnSpc>
                <a:spcPct val="90000"/>
              </a:lnSpc>
              <a:buNone/>
              <a:defRPr sz="2000" b="0" baseline="0">
                <a:solidFill>
                  <a:schemeClr val="bg1"/>
                </a:solidFill>
              </a:defRPr>
            </a:lvl1pPr>
            <a:lvl2pPr marL="0" algn="ctr">
              <a:lnSpc>
                <a:spcPct val="100000"/>
              </a:lnSpc>
              <a:spcBef>
                <a:spcPts val="6900"/>
              </a:spcBef>
              <a:defRPr sz="2000" b="1">
                <a:solidFill>
                  <a:schemeClr val="bg1"/>
                </a:solidFill>
              </a:defRPr>
            </a:lvl2pPr>
          </a:lstStyle>
          <a:p>
            <a:pPr lvl="0"/>
            <a:r>
              <a:rPr lang="en-US" noProof="0"/>
              <a:t>Click to edit Master text styles</a:t>
            </a:r>
          </a:p>
        </p:txBody>
      </p:sp>
      <p:sp>
        <p:nvSpPr>
          <p:cNvPr id="15" name="Espace réservé du texte 14"/>
          <p:cNvSpPr>
            <a:spLocks noGrp="1"/>
          </p:cNvSpPr>
          <p:nvPr>
            <p:ph type="body" sz="quarter" idx="19"/>
          </p:nvPr>
        </p:nvSpPr>
        <p:spPr bwMode="gray">
          <a:xfrm>
            <a:off x="3635376" y="6021388"/>
            <a:ext cx="5113338" cy="324000"/>
          </a:xfrm>
        </p:spPr>
        <p:txBody>
          <a:bodyPr anchor="b"/>
          <a:lstStyle>
            <a:lvl1pPr algn="r">
              <a:lnSpc>
                <a:spcPct val="100000"/>
              </a:lnSpc>
              <a:defRPr sz="1000" b="1">
                <a:solidFill>
                  <a:schemeClr val="accent3"/>
                </a:solidFill>
              </a:defRPr>
            </a:lvl1pPr>
          </a:lstStyle>
          <a:p>
            <a:pPr lvl="0"/>
            <a:r>
              <a:rPr lang="en-US" noProof="0"/>
              <a:t>Click to edit Master text styles</a:t>
            </a:r>
          </a:p>
        </p:txBody>
      </p:sp>
      <p:sp>
        <p:nvSpPr>
          <p:cNvPr id="17" name="Espace réservé du texte 16"/>
          <p:cNvSpPr>
            <a:spLocks noGrp="1"/>
          </p:cNvSpPr>
          <p:nvPr>
            <p:ph type="body" sz="quarter" idx="20"/>
          </p:nvPr>
        </p:nvSpPr>
        <p:spPr bwMode="gray">
          <a:xfrm>
            <a:off x="0" y="5157788"/>
            <a:ext cx="9144000" cy="287337"/>
          </a:xfrm>
          <a:solidFill>
            <a:schemeClr val="bg1"/>
          </a:solidFill>
        </p:spPr>
        <p:txBody>
          <a:bodyPr/>
          <a:lstStyle>
            <a:lvl1pPr>
              <a:defRPr sz="100" b="0">
                <a:solidFill>
                  <a:schemeClr val="bg1">
                    <a:alpha val="0"/>
                  </a:schemeClr>
                </a:solidFill>
              </a:defRPr>
            </a:lvl1pPr>
          </a:lstStyle>
          <a:p>
            <a:pPr lvl="0"/>
            <a:r>
              <a:rPr lang="en-US" noProof="0"/>
              <a:t>Click to edit Master text styles</a:t>
            </a:r>
          </a:p>
        </p:txBody>
      </p:sp>
      <p:sp>
        <p:nvSpPr>
          <p:cNvPr id="24" name="Espace réservé pour une image  17"/>
          <p:cNvSpPr>
            <a:spLocks noGrp="1"/>
          </p:cNvSpPr>
          <p:nvPr>
            <p:ph type="pic" sz="quarter" idx="18"/>
          </p:nvPr>
        </p:nvSpPr>
        <p:spPr bwMode="gray">
          <a:xfrm>
            <a:off x="4192588" y="0"/>
            <a:ext cx="4951412" cy="5162400"/>
          </a:xfrm>
          <a:custGeom>
            <a:avLst/>
            <a:gdLst>
              <a:gd name="connsiteX0" fmla="*/ 0 w 3851275"/>
              <a:gd name="connsiteY0" fmla="*/ 0 h 5157788"/>
              <a:gd name="connsiteX1" fmla="*/ 3851275 w 3851275"/>
              <a:gd name="connsiteY1" fmla="*/ 0 h 5157788"/>
              <a:gd name="connsiteX2" fmla="*/ 3851275 w 3851275"/>
              <a:gd name="connsiteY2" fmla="*/ 5157788 h 5157788"/>
              <a:gd name="connsiteX3" fmla="*/ 0 w 3851275"/>
              <a:gd name="connsiteY3" fmla="*/ 5157788 h 5157788"/>
              <a:gd name="connsiteX4" fmla="*/ 0 w 3851275"/>
              <a:gd name="connsiteY4"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0 w 3851275"/>
              <a:gd name="connsiteY3" fmla="*/ 5157788 h 5157788"/>
              <a:gd name="connsiteX4" fmla="*/ 1692275 w 3851275"/>
              <a:gd name="connsiteY4" fmla="*/ 0 h 5157788"/>
              <a:gd name="connsiteX0" fmla="*/ 0 w 2159000"/>
              <a:gd name="connsiteY0" fmla="*/ 0 h 5157788"/>
              <a:gd name="connsiteX1" fmla="*/ 2159000 w 2159000"/>
              <a:gd name="connsiteY1" fmla="*/ 0 h 5157788"/>
              <a:gd name="connsiteX2" fmla="*/ 2159000 w 2159000"/>
              <a:gd name="connsiteY2" fmla="*/ 5157788 h 5157788"/>
              <a:gd name="connsiteX3" fmla="*/ 0 w 2159000"/>
              <a:gd name="connsiteY3" fmla="*/ 5157788 h 5157788"/>
              <a:gd name="connsiteX4" fmla="*/ 0 w 2159000"/>
              <a:gd name="connsiteY4" fmla="*/ 0 h 5157788"/>
              <a:gd name="connsiteX0" fmla="*/ 2625271 w 4784271"/>
              <a:gd name="connsiteY0" fmla="*/ 0 h 5157788"/>
              <a:gd name="connsiteX1" fmla="*/ 4784271 w 4784271"/>
              <a:gd name="connsiteY1" fmla="*/ 0 h 5157788"/>
              <a:gd name="connsiteX2" fmla="*/ 4784271 w 4784271"/>
              <a:gd name="connsiteY2" fmla="*/ 5157788 h 5157788"/>
              <a:gd name="connsiteX3" fmla="*/ 2625271 w 4784271"/>
              <a:gd name="connsiteY3" fmla="*/ 5157788 h 5157788"/>
              <a:gd name="connsiteX4" fmla="*/ 2625271 w 4784271"/>
              <a:gd name="connsiteY4" fmla="*/ 0 h 5157788"/>
              <a:gd name="connsiteX0" fmla="*/ 2625271 w 4784271"/>
              <a:gd name="connsiteY0" fmla="*/ 0 h 5157788"/>
              <a:gd name="connsiteX1" fmla="*/ 4784271 w 4784271"/>
              <a:gd name="connsiteY1" fmla="*/ 0 h 5157788"/>
              <a:gd name="connsiteX2" fmla="*/ 4784271 w 4784271"/>
              <a:gd name="connsiteY2" fmla="*/ 5157788 h 5157788"/>
              <a:gd name="connsiteX3" fmla="*/ 2625271 w 4784271"/>
              <a:gd name="connsiteY3" fmla="*/ 5157788 h 5157788"/>
              <a:gd name="connsiteX4" fmla="*/ 2625271 w 4784271"/>
              <a:gd name="connsiteY4" fmla="*/ 0 h 5157788"/>
              <a:gd name="connsiteX0" fmla="*/ 3568576 w 5727576"/>
              <a:gd name="connsiteY0" fmla="*/ 0 h 5157788"/>
              <a:gd name="connsiteX1" fmla="*/ 5727576 w 5727576"/>
              <a:gd name="connsiteY1" fmla="*/ 0 h 5157788"/>
              <a:gd name="connsiteX2" fmla="*/ 5727576 w 5727576"/>
              <a:gd name="connsiteY2" fmla="*/ 5157788 h 5157788"/>
              <a:gd name="connsiteX3" fmla="*/ 3568576 w 5727576"/>
              <a:gd name="connsiteY3" fmla="*/ 5157788 h 5157788"/>
              <a:gd name="connsiteX4" fmla="*/ 3568576 w 5727576"/>
              <a:gd name="connsiteY4" fmla="*/ 0 h 5157788"/>
              <a:gd name="connsiteX0" fmla="*/ 3306355 w 5465355"/>
              <a:gd name="connsiteY0" fmla="*/ 0 h 5157788"/>
              <a:gd name="connsiteX1" fmla="*/ 5465355 w 5465355"/>
              <a:gd name="connsiteY1" fmla="*/ 0 h 5157788"/>
              <a:gd name="connsiteX2" fmla="*/ 5465355 w 5465355"/>
              <a:gd name="connsiteY2" fmla="*/ 5157788 h 5157788"/>
              <a:gd name="connsiteX3" fmla="*/ 3306355 w 5465355"/>
              <a:gd name="connsiteY3" fmla="*/ 5157788 h 5157788"/>
              <a:gd name="connsiteX4" fmla="*/ 3306355 w 5465355"/>
              <a:gd name="connsiteY4" fmla="*/ 0 h 5157788"/>
              <a:gd name="connsiteX0" fmla="*/ 1416957 w 3575957"/>
              <a:gd name="connsiteY0" fmla="*/ 0 h 5157788"/>
              <a:gd name="connsiteX1" fmla="*/ 3575957 w 3575957"/>
              <a:gd name="connsiteY1" fmla="*/ 0 h 5157788"/>
              <a:gd name="connsiteX2" fmla="*/ 3575957 w 3575957"/>
              <a:gd name="connsiteY2" fmla="*/ 5157788 h 5157788"/>
              <a:gd name="connsiteX3" fmla="*/ 1416957 w 3575957"/>
              <a:gd name="connsiteY3" fmla="*/ 5157788 h 5157788"/>
              <a:gd name="connsiteX4" fmla="*/ 0 w 3575957"/>
              <a:gd name="connsiteY4" fmla="*/ 3339193 h 5157788"/>
              <a:gd name="connsiteX5" fmla="*/ 1416957 w 3575957"/>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6017419"/>
              <a:gd name="connsiteX1" fmla="*/ 3851275 w 3851275"/>
              <a:gd name="connsiteY1" fmla="*/ 0 h 6017419"/>
              <a:gd name="connsiteX2" fmla="*/ 3851275 w 3851275"/>
              <a:gd name="connsiteY2" fmla="*/ 5157788 h 6017419"/>
              <a:gd name="connsiteX3" fmla="*/ 1692275 w 3851275"/>
              <a:gd name="connsiteY3" fmla="*/ 5157788 h 6017419"/>
              <a:gd name="connsiteX4" fmla="*/ 0 w 3851275"/>
              <a:gd name="connsiteY4" fmla="*/ 3284984 h 6017419"/>
              <a:gd name="connsiteX5" fmla="*/ 1692275 w 3851275"/>
              <a:gd name="connsiteY5" fmla="*/ 0 h 6017419"/>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429000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429000 h 5157788"/>
              <a:gd name="connsiteX5" fmla="*/ 1710871 w 3869871"/>
              <a:gd name="connsiteY5" fmla="*/ 0 h 5157788"/>
              <a:gd name="connsiteX0" fmla="*/ 1704975 w 3863975"/>
              <a:gd name="connsiteY0" fmla="*/ 0 h 5157788"/>
              <a:gd name="connsiteX1" fmla="*/ 3863975 w 3863975"/>
              <a:gd name="connsiteY1" fmla="*/ 0 h 5157788"/>
              <a:gd name="connsiteX2" fmla="*/ 3863975 w 3863975"/>
              <a:gd name="connsiteY2" fmla="*/ 5157788 h 5157788"/>
              <a:gd name="connsiteX3" fmla="*/ 1704975 w 3863975"/>
              <a:gd name="connsiteY3" fmla="*/ 5157788 h 5157788"/>
              <a:gd name="connsiteX4" fmla="*/ 12700 w 3863975"/>
              <a:gd name="connsiteY4" fmla="*/ 3429000 h 5157788"/>
              <a:gd name="connsiteX5" fmla="*/ 1704975 w 3863975"/>
              <a:gd name="connsiteY5" fmla="*/ 0 h 5157788"/>
              <a:gd name="connsiteX0" fmla="*/ 1707243 w 3866243"/>
              <a:gd name="connsiteY0" fmla="*/ 0 h 5157788"/>
              <a:gd name="connsiteX1" fmla="*/ 3866243 w 3866243"/>
              <a:gd name="connsiteY1" fmla="*/ 0 h 5157788"/>
              <a:gd name="connsiteX2" fmla="*/ 3866243 w 3866243"/>
              <a:gd name="connsiteY2" fmla="*/ 5157788 h 5157788"/>
              <a:gd name="connsiteX3" fmla="*/ 1707243 w 3866243"/>
              <a:gd name="connsiteY3" fmla="*/ 5157788 h 5157788"/>
              <a:gd name="connsiteX4" fmla="*/ 14968 w 3866243"/>
              <a:gd name="connsiteY4" fmla="*/ 3429000 h 5157788"/>
              <a:gd name="connsiteX5" fmla="*/ 1707243 w 3866243"/>
              <a:gd name="connsiteY5" fmla="*/ 0 h 5157788"/>
              <a:gd name="connsiteX0" fmla="*/ 1130447 w 3866243"/>
              <a:gd name="connsiteY0" fmla="*/ 0 h 5157788"/>
              <a:gd name="connsiteX1" fmla="*/ 3866243 w 3866243"/>
              <a:gd name="connsiteY1" fmla="*/ 0 h 5157788"/>
              <a:gd name="connsiteX2" fmla="*/ 3866243 w 3866243"/>
              <a:gd name="connsiteY2" fmla="*/ 5157788 h 5157788"/>
              <a:gd name="connsiteX3" fmla="*/ 1707243 w 3866243"/>
              <a:gd name="connsiteY3" fmla="*/ 5157788 h 5157788"/>
              <a:gd name="connsiteX4" fmla="*/ 14968 w 3866243"/>
              <a:gd name="connsiteY4" fmla="*/ 3429000 h 5157788"/>
              <a:gd name="connsiteX5" fmla="*/ 1130447 w 3866243"/>
              <a:gd name="connsiteY5" fmla="*/ 0 h 5157788"/>
              <a:gd name="connsiteX0" fmla="*/ 2746143 w 5481939"/>
              <a:gd name="connsiteY0" fmla="*/ 0 h 5157788"/>
              <a:gd name="connsiteX1" fmla="*/ 5481939 w 5481939"/>
              <a:gd name="connsiteY1" fmla="*/ 0 h 5157788"/>
              <a:gd name="connsiteX2" fmla="*/ 5481939 w 5481939"/>
              <a:gd name="connsiteY2" fmla="*/ 5157788 h 5157788"/>
              <a:gd name="connsiteX3" fmla="*/ 585903 w 5481939"/>
              <a:gd name="connsiteY3" fmla="*/ 5153180 h 5157788"/>
              <a:gd name="connsiteX4" fmla="*/ 1630664 w 5481939"/>
              <a:gd name="connsiteY4" fmla="*/ 3429000 h 5157788"/>
              <a:gd name="connsiteX5" fmla="*/ 2746143 w 5481939"/>
              <a:gd name="connsiteY5" fmla="*/ 0 h 5157788"/>
              <a:gd name="connsiteX0" fmla="*/ 2746143 w 5481939"/>
              <a:gd name="connsiteY0" fmla="*/ 0 h 5157788"/>
              <a:gd name="connsiteX1" fmla="*/ 5481939 w 5481939"/>
              <a:gd name="connsiteY1" fmla="*/ 0 h 5157788"/>
              <a:gd name="connsiteX2" fmla="*/ 5481939 w 5481939"/>
              <a:gd name="connsiteY2" fmla="*/ 5157788 h 5157788"/>
              <a:gd name="connsiteX3" fmla="*/ 585903 w 5481939"/>
              <a:gd name="connsiteY3" fmla="*/ 5153180 h 5157788"/>
              <a:gd name="connsiteX4" fmla="*/ 1630664 w 5481939"/>
              <a:gd name="connsiteY4" fmla="*/ 3429000 h 5157788"/>
              <a:gd name="connsiteX5" fmla="*/ 2746143 w 548193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3574235 w 6310031"/>
              <a:gd name="connsiteY0" fmla="*/ 0 h 5157788"/>
              <a:gd name="connsiteX1" fmla="*/ 6310031 w 6310031"/>
              <a:gd name="connsiteY1" fmla="*/ 0 h 5157788"/>
              <a:gd name="connsiteX2" fmla="*/ 6310031 w 6310031"/>
              <a:gd name="connsiteY2" fmla="*/ 5157788 h 5157788"/>
              <a:gd name="connsiteX3" fmla="*/ 585903 w 6310031"/>
              <a:gd name="connsiteY3" fmla="*/ 5153180 h 5157788"/>
              <a:gd name="connsiteX4" fmla="*/ 1738031 w 6310031"/>
              <a:gd name="connsiteY4" fmla="*/ 3389965 h 5157788"/>
              <a:gd name="connsiteX5" fmla="*/ 3574235 w 6310031"/>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296143 w 5724128"/>
              <a:gd name="connsiteY4" fmla="*/ 3461908 h 5157788"/>
              <a:gd name="connsiteX5" fmla="*/ 2988332 w 5724128"/>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1188132 w 5760132"/>
              <a:gd name="connsiteY4" fmla="*/ 3425937 h 5157788"/>
              <a:gd name="connsiteX5" fmla="*/ 3024336 w 5760132"/>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2736304 w 5760132"/>
              <a:gd name="connsiteY4" fmla="*/ 3461908 h 5157788"/>
              <a:gd name="connsiteX5" fmla="*/ 3024336 w 5760132"/>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2736304 w 5760132"/>
              <a:gd name="connsiteY4" fmla="*/ 3461908 h 5157788"/>
              <a:gd name="connsiteX5" fmla="*/ 3024336 w 5760132"/>
              <a:gd name="connsiteY5" fmla="*/ 0 h 5157788"/>
              <a:gd name="connsiteX0" fmla="*/ 2160240 w 4896036"/>
              <a:gd name="connsiteY0" fmla="*/ 0 h 5157788"/>
              <a:gd name="connsiteX1" fmla="*/ 4896036 w 4896036"/>
              <a:gd name="connsiteY1" fmla="*/ 0 h 5157788"/>
              <a:gd name="connsiteX2" fmla="*/ 4896036 w 4896036"/>
              <a:gd name="connsiteY2" fmla="*/ 5157788 h 5157788"/>
              <a:gd name="connsiteX3" fmla="*/ 0 w 4896036"/>
              <a:gd name="connsiteY3" fmla="*/ 5153180 h 5157788"/>
              <a:gd name="connsiteX4" fmla="*/ 1872208 w 4896036"/>
              <a:gd name="connsiteY4" fmla="*/ 3461908 h 5157788"/>
              <a:gd name="connsiteX5" fmla="*/ 2160240 w 4896036"/>
              <a:gd name="connsiteY5" fmla="*/ 0 h 5157788"/>
              <a:gd name="connsiteX0" fmla="*/ 2232248 w 4968044"/>
              <a:gd name="connsiteY0" fmla="*/ 0 h 5157788"/>
              <a:gd name="connsiteX1" fmla="*/ 4968044 w 4968044"/>
              <a:gd name="connsiteY1" fmla="*/ 0 h 5157788"/>
              <a:gd name="connsiteX2" fmla="*/ 4968044 w 4968044"/>
              <a:gd name="connsiteY2" fmla="*/ 5157788 h 5157788"/>
              <a:gd name="connsiteX3" fmla="*/ 0 w 4968044"/>
              <a:gd name="connsiteY3" fmla="*/ 5153180 h 5157788"/>
              <a:gd name="connsiteX4" fmla="*/ 1944216 w 4968044"/>
              <a:gd name="connsiteY4" fmla="*/ 3461908 h 5157788"/>
              <a:gd name="connsiteX5" fmla="*/ 2232248 w 4968044"/>
              <a:gd name="connsiteY5" fmla="*/ 0 h 5157788"/>
              <a:gd name="connsiteX0" fmla="*/ 2207679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207679 w 4943475"/>
              <a:gd name="connsiteY5" fmla="*/ 0 h 5157788"/>
              <a:gd name="connsiteX0" fmla="*/ 2963763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963763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092200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71575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343583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675731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675731 w 4943475"/>
              <a:gd name="connsiteY5" fmla="*/ 0 h 5157788"/>
              <a:gd name="connsiteX0" fmla="*/ 2675731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675731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9672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19672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51412" h="5157788">
                <a:moveTo>
                  <a:pt x="2706687" y="0"/>
                </a:moveTo>
                <a:lnTo>
                  <a:pt x="4951412" y="0"/>
                </a:lnTo>
                <a:lnTo>
                  <a:pt x="4951412" y="5157788"/>
                </a:lnTo>
                <a:lnTo>
                  <a:pt x="0" y="5153180"/>
                </a:lnTo>
                <a:cubicBezTo>
                  <a:pt x="84411" y="4542509"/>
                  <a:pt x="183041" y="4024723"/>
                  <a:pt x="1243508" y="2562613"/>
                </a:cubicBezTo>
                <a:cubicBezTo>
                  <a:pt x="1867447" y="1704780"/>
                  <a:pt x="2665955" y="709265"/>
                  <a:pt x="2706687" y="0"/>
                </a:cubicBezTo>
                <a:close/>
              </a:path>
            </a:pathLst>
          </a:custGeom>
          <a:solidFill>
            <a:schemeClr val="bg2"/>
          </a:solidFill>
          <a:ln w="3175">
            <a:noFill/>
          </a:ln>
        </p:spPr>
        <p:txBody>
          <a:bodyPr tIns="720000" rtlCol="0" anchor="ctr">
            <a:noAutofit/>
          </a:bodyPr>
          <a:lstStyle>
            <a:lvl1pPr algn="ctr">
              <a:defRPr sz="1500">
                <a:solidFill>
                  <a:schemeClr val="bg1"/>
                </a:solidFill>
              </a:defRPr>
            </a:lvl1pPr>
          </a:lstStyle>
          <a:p>
            <a:pPr lvl="0"/>
            <a:r>
              <a:rPr lang="en-US" noProof="0"/>
              <a:t>Click icon to add picture</a:t>
            </a:r>
          </a:p>
        </p:txBody>
      </p:sp>
      <p:sp>
        <p:nvSpPr>
          <p:cNvPr id="14" name="Espace réservé de la date 9"/>
          <p:cNvSpPr>
            <a:spLocks noGrp="1"/>
          </p:cNvSpPr>
          <p:nvPr>
            <p:ph type="dt" sz="half" idx="21"/>
          </p:nvPr>
        </p:nvSpPr>
        <p:spPr/>
        <p:txBody>
          <a:bodyPr/>
          <a:lstStyle>
            <a:lvl1pPr>
              <a:defRPr/>
            </a:lvl1pPr>
          </a:lstStyle>
          <a:p>
            <a:pPr>
              <a:defRPr/>
            </a:pPr>
            <a:r>
              <a:rPr lang="en-US">
                <a:solidFill>
                  <a:prstClr val="white">
                    <a:alpha val="0"/>
                  </a:prstClr>
                </a:solidFill>
              </a:rPr>
              <a:t>Date</a:t>
            </a:r>
          </a:p>
        </p:txBody>
      </p:sp>
      <p:sp>
        <p:nvSpPr>
          <p:cNvPr id="16" name="Espace réservé du numéro de diapositive 10"/>
          <p:cNvSpPr>
            <a:spLocks noGrp="1"/>
          </p:cNvSpPr>
          <p:nvPr>
            <p:ph type="sldNum" sz="quarter" idx="22"/>
          </p:nvPr>
        </p:nvSpPr>
        <p:spPr/>
        <p:txBody>
          <a:bodyPr/>
          <a:lstStyle>
            <a:lvl1pPr>
              <a:defRPr sz="100">
                <a:solidFill>
                  <a:schemeClr val="bg1">
                    <a:alpha val="0"/>
                  </a:schemeClr>
                </a:solidFill>
              </a:defRPr>
            </a:lvl1pPr>
          </a:lstStyle>
          <a:p>
            <a:pPr>
              <a:defRPr/>
            </a:pPr>
            <a:r>
              <a:rPr lang="en-US">
                <a:solidFill>
                  <a:prstClr val="white">
                    <a:alpha val="0"/>
                  </a:prstClr>
                </a:solidFill>
              </a:rPr>
              <a:t>Page: </a:t>
            </a:r>
            <a:fld id="{FBC781E1-DB0D-44EA-942B-52789A2EA6EC}" type="slidenum">
              <a:rPr lang="en-US">
                <a:solidFill>
                  <a:prstClr val="white">
                    <a:alpha val="0"/>
                  </a:prstClr>
                </a:solidFill>
              </a:rPr>
              <a:pPr>
                <a:defRPr/>
              </a:pPr>
              <a:t>‹#›</a:t>
            </a:fld>
            <a:endParaRPr lang="en-US">
              <a:solidFill>
                <a:prstClr val="white">
                  <a:alpha val="0"/>
                </a:prstClr>
              </a:solidFill>
            </a:endParaRPr>
          </a:p>
        </p:txBody>
      </p:sp>
      <p:sp>
        <p:nvSpPr>
          <p:cNvPr id="18" name="Espace réservé du pied de page 11"/>
          <p:cNvSpPr>
            <a:spLocks noGrp="1"/>
          </p:cNvSpPr>
          <p:nvPr>
            <p:ph type="ftr" sz="quarter" idx="23"/>
          </p:nvPr>
        </p:nvSpPr>
        <p:spPr>
          <a:xfrm>
            <a:off x="468313" y="523875"/>
            <a:ext cx="4824412" cy="360363"/>
          </a:xfrm>
        </p:spPr>
        <p:txBody>
          <a:bodyPr/>
          <a:lstStyle>
            <a:lvl1pPr algn="l">
              <a:defRPr sz="1800" b="0">
                <a:solidFill>
                  <a:schemeClr val="bg1"/>
                </a:solidFill>
              </a:defRPr>
            </a:lvl1pPr>
          </a:lstStyle>
          <a:p>
            <a:pPr>
              <a:defRPr/>
            </a:pPr>
            <a:r>
              <a:rPr lang="en-US">
                <a:solidFill>
                  <a:prstClr val="white"/>
                </a:solidFill>
              </a:rPr>
              <a:t>#</a:t>
            </a:r>
            <a:r>
              <a:rPr lang="en-US" err="1">
                <a:solidFill>
                  <a:prstClr val="white"/>
                </a:solidFill>
              </a:rPr>
              <a:t>vaccineswork</a:t>
            </a:r>
            <a:endParaRPr lang="en-US">
              <a:solidFill>
                <a:prstClr val="white"/>
              </a:solidFill>
            </a:endParaRPr>
          </a:p>
          <a:p>
            <a:pPr>
              <a:defRPr/>
            </a:pPr>
            <a:endParaRPr lang="en-US">
              <a:solidFill>
                <a:prstClr val="white"/>
              </a:solidFill>
            </a:endParaRPr>
          </a:p>
        </p:txBody>
      </p:sp>
    </p:spTree>
    <p:extLst>
      <p:ext uri="{BB962C8B-B14F-4D97-AF65-F5344CB8AC3E}">
        <p14:creationId xmlns:p14="http://schemas.microsoft.com/office/powerpoint/2010/main" val="4256774904"/>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Cover_Picture_2">
    <p:spTree>
      <p:nvGrpSpPr>
        <p:cNvPr id="1" name=""/>
        <p:cNvGrpSpPr/>
        <p:nvPr/>
      </p:nvGrpSpPr>
      <p:grpSpPr>
        <a:xfrm>
          <a:off x="0" y="0"/>
          <a:ext cx="0" cy="0"/>
          <a:chOff x="0" y="0"/>
          <a:chExt cx="0" cy="0"/>
        </a:xfrm>
      </p:grpSpPr>
      <p:pic>
        <p:nvPicPr>
          <p:cNvPr id="7" name="Image 20" descr="FD_1_L254.png"/>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gray">
          <a:xfrm>
            <a:off x="0" y="0"/>
            <a:ext cx="9144000" cy="51577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0" name="Rectangle 9"/>
          <p:cNvSpPr/>
          <p:nvPr userDrawn="1"/>
        </p:nvSpPr>
        <p:spPr bwMode="gray">
          <a:xfrm>
            <a:off x="3635375" y="5265738"/>
            <a:ext cx="5508625" cy="15922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prstClr val="white"/>
              </a:solidFill>
            </a:endParaRPr>
          </a:p>
        </p:txBody>
      </p:sp>
      <p:pic>
        <p:nvPicPr>
          <p:cNvPr id="11" name="Image 19" descr="Bas_couv.png"/>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gray">
          <a:xfrm>
            <a:off x="0" y="5172075"/>
            <a:ext cx="3635375" cy="16859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2" name="Rectangle 11"/>
          <p:cNvSpPr/>
          <p:nvPr userDrawn="1"/>
        </p:nvSpPr>
        <p:spPr bwMode="gray">
          <a:xfrm>
            <a:off x="3635375" y="6354763"/>
            <a:ext cx="5113338" cy="2873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p>
            <a:pPr algn="r">
              <a:defRPr/>
            </a:pPr>
            <a:r>
              <a:rPr lang="en-US" sz="1000" err="1">
                <a:solidFill>
                  <a:srgbClr val="95D600"/>
                </a:solidFill>
              </a:rPr>
              <a:t>www.gavi.org</a:t>
            </a:r>
            <a:endParaRPr lang="en-US" sz="1000">
              <a:solidFill>
                <a:srgbClr val="95D600"/>
              </a:solidFill>
            </a:endParaRPr>
          </a:p>
        </p:txBody>
      </p:sp>
      <p:cxnSp>
        <p:nvCxnSpPr>
          <p:cNvPr id="13" name="Connecteur droit 13"/>
          <p:cNvCxnSpPr/>
          <p:nvPr userDrawn="1"/>
        </p:nvCxnSpPr>
        <p:spPr bwMode="gray">
          <a:xfrm flipH="1">
            <a:off x="468313" y="3402013"/>
            <a:ext cx="2447925" cy="0"/>
          </a:xfrm>
          <a:prstGeom prst="line">
            <a:avLst/>
          </a:prstGeom>
          <a:ln w="24130">
            <a:solidFill>
              <a:schemeClr val="accent1"/>
            </a:solidFill>
          </a:ln>
        </p:spPr>
        <p:style>
          <a:lnRef idx="1">
            <a:schemeClr val="accent1"/>
          </a:lnRef>
          <a:fillRef idx="0">
            <a:schemeClr val="accent1"/>
          </a:fillRef>
          <a:effectRef idx="0">
            <a:schemeClr val="accent1"/>
          </a:effectRef>
          <a:fontRef idx="minor">
            <a:schemeClr val="tx1"/>
          </a:fontRef>
        </p:style>
      </p:cxnSp>
      <p:sp>
        <p:nvSpPr>
          <p:cNvPr id="9" name="Espace réservé du texte 8"/>
          <p:cNvSpPr>
            <a:spLocks noGrp="1"/>
          </p:cNvSpPr>
          <p:nvPr>
            <p:ph type="body" sz="quarter" idx="13"/>
          </p:nvPr>
        </p:nvSpPr>
        <p:spPr bwMode="gray">
          <a:xfrm>
            <a:off x="468000" y="1036800"/>
            <a:ext cx="4824412" cy="2232000"/>
          </a:xfrm>
        </p:spPr>
        <p:txBody>
          <a:bodyPr anchor="b"/>
          <a:lstStyle>
            <a:lvl1pPr marL="0" indent="0" algn="l">
              <a:lnSpc>
                <a:spcPct val="90000"/>
              </a:lnSpc>
              <a:buNone/>
              <a:defRPr sz="2800" b="1" cap="none" baseline="0">
                <a:solidFill>
                  <a:schemeClr val="bg1"/>
                </a:solidFill>
              </a:defRPr>
            </a:lvl1pPr>
            <a:lvl2pPr marL="0" algn="ctr">
              <a:lnSpc>
                <a:spcPct val="100000"/>
              </a:lnSpc>
              <a:spcBef>
                <a:spcPts val="6900"/>
              </a:spcBef>
              <a:defRPr sz="2000" b="1">
                <a:solidFill>
                  <a:schemeClr val="bg1"/>
                </a:solidFill>
              </a:defRPr>
            </a:lvl2pPr>
          </a:lstStyle>
          <a:p>
            <a:pPr lvl="0"/>
            <a:r>
              <a:rPr lang="en-US" noProof="0"/>
              <a:t>Click to edit Master text styles</a:t>
            </a:r>
          </a:p>
        </p:txBody>
      </p:sp>
      <p:sp>
        <p:nvSpPr>
          <p:cNvPr id="8" name="Espace réservé du texte 8"/>
          <p:cNvSpPr>
            <a:spLocks noGrp="1"/>
          </p:cNvSpPr>
          <p:nvPr>
            <p:ph type="body" sz="quarter" idx="14"/>
          </p:nvPr>
        </p:nvSpPr>
        <p:spPr bwMode="gray">
          <a:xfrm>
            <a:off x="468314" y="3585600"/>
            <a:ext cx="3592800" cy="1479600"/>
          </a:xfrm>
        </p:spPr>
        <p:txBody>
          <a:bodyPr/>
          <a:lstStyle>
            <a:lvl1pPr marL="0" indent="0" algn="l">
              <a:lnSpc>
                <a:spcPct val="90000"/>
              </a:lnSpc>
              <a:buNone/>
              <a:defRPr sz="2000" b="0" baseline="0">
                <a:solidFill>
                  <a:schemeClr val="bg1"/>
                </a:solidFill>
              </a:defRPr>
            </a:lvl1pPr>
            <a:lvl2pPr marL="0" algn="ctr">
              <a:lnSpc>
                <a:spcPct val="100000"/>
              </a:lnSpc>
              <a:spcBef>
                <a:spcPts val="6900"/>
              </a:spcBef>
              <a:defRPr sz="2000" b="1">
                <a:solidFill>
                  <a:schemeClr val="bg1"/>
                </a:solidFill>
              </a:defRPr>
            </a:lvl2pPr>
          </a:lstStyle>
          <a:p>
            <a:pPr lvl="0"/>
            <a:r>
              <a:rPr lang="en-US" noProof="0"/>
              <a:t>Click to edit Master text styles</a:t>
            </a:r>
          </a:p>
        </p:txBody>
      </p:sp>
      <p:sp>
        <p:nvSpPr>
          <p:cNvPr id="15" name="Espace réservé du texte 14"/>
          <p:cNvSpPr>
            <a:spLocks noGrp="1"/>
          </p:cNvSpPr>
          <p:nvPr>
            <p:ph type="body" sz="quarter" idx="19"/>
          </p:nvPr>
        </p:nvSpPr>
        <p:spPr bwMode="gray">
          <a:xfrm>
            <a:off x="3635376" y="6021388"/>
            <a:ext cx="5113338" cy="324000"/>
          </a:xfrm>
        </p:spPr>
        <p:txBody>
          <a:bodyPr anchor="b"/>
          <a:lstStyle>
            <a:lvl1pPr algn="r">
              <a:lnSpc>
                <a:spcPct val="100000"/>
              </a:lnSpc>
              <a:defRPr sz="1000" b="1">
                <a:solidFill>
                  <a:schemeClr val="accent3"/>
                </a:solidFill>
              </a:defRPr>
            </a:lvl1pPr>
          </a:lstStyle>
          <a:p>
            <a:pPr lvl="0"/>
            <a:r>
              <a:rPr lang="en-US" noProof="0"/>
              <a:t>Click to edit Master text styles</a:t>
            </a:r>
          </a:p>
        </p:txBody>
      </p:sp>
      <p:sp>
        <p:nvSpPr>
          <p:cNvPr id="17" name="Espace réservé du texte 16"/>
          <p:cNvSpPr>
            <a:spLocks noGrp="1"/>
          </p:cNvSpPr>
          <p:nvPr>
            <p:ph type="body" sz="quarter" idx="20"/>
          </p:nvPr>
        </p:nvSpPr>
        <p:spPr bwMode="gray">
          <a:xfrm>
            <a:off x="0" y="5157788"/>
            <a:ext cx="9144000" cy="287337"/>
          </a:xfrm>
          <a:solidFill>
            <a:schemeClr val="bg1"/>
          </a:solidFill>
        </p:spPr>
        <p:txBody>
          <a:bodyPr/>
          <a:lstStyle>
            <a:lvl1pPr>
              <a:defRPr sz="100" b="0">
                <a:solidFill>
                  <a:schemeClr val="bg1">
                    <a:alpha val="0"/>
                  </a:schemeClr>
                </a:solidFill>
              </a:defRPr>
            </a:lvl1pPr>
          </a:lstStyle>
          <a:p>
            <a:pPr lvl="0"/>
            <a:r>
              <a:rPr lang="en-US" noProof="0"/>
              <a:t>Click to edit Master text styles</a:t>
            </a:r>
          </a:p>
        </p:txBody>
      </p:sp>
      <p:sp>
        <p:nvSpPr>
          <p:cNvPr id="18" name="Espace réservé pour une image  17"/>
          <p:cNvSpPr>
            <a:spLocks noGrp="1"/>
          </p:cNvSpPr>
          <p:nvPr>
            <p:ph type="pic" sz="quarter" idx="18"/>
          </p:nvPr>
        </p:nvSpPr>
        <p:spPr bwMode="gray">
          <a:xfrm>
            <a:off x="4192588" y="0"/>
            <a:ext cx="4951412" cy="5162400"/>
          </a:xfrm>
          <a:custGeom>
            <a:avLst/>
            <a:gdLst>
              <a:gd name="connsiteX0" fmla="*/ 0 w 3851275"/>
              <a:gd name="connsiteY0" fmla="*/ 0 h 5157788"/>
              <a:gd name="connsiteX1" fmla="*/ 3851275 w 3851275"/>
              <a:gd name="connsiteY1" fmla="*/ 0 h 5157788"/>
              <a:gd name="connsiteX2" fmla="*/ 3851275 w 3851275"/>
              <a:gd name="connsiteY2" fmla="*/ 5157788 h 5157788"/>
              <a:gd name="connsiteX3" fmla="*/ 0 w 3851275"/>
              <a:gd name="connsiteY3" fmla="*/ 5157788 h 5157788"/>
              <a:gd name="connsiteX4" fmla="*/ 0 w 3851275"/>
              <a:gd name="connsiteY4"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0 w 3851275"/>
              <a:gd name="connsiteY3" fmla="*/ 5157788 h 5157788"/>
              <a:gd name="connsiteX4" fmla="*/ 1692275 w 3851275"/>
              <a:gd name="connsiteY4" fmla="*/ 0 h 5157788"/>
              <a:gd name="connsiteX0" fmla="*/ 0 w 2159000"/>
              <a:gd name="connsiteY0" fmla="*/ 0 h 5157788"/>
              <a:gd name="connsiteX1" fmla="*/ 2159000 w 2159000"/>
              <a:gd name="connsiteY1" fmla="*/ 0 h 5157788"/>
              <a:gd name="connsiteX2" fmla="*/ 2159000 w 2159000"/>
              <a:gd name="connsiteY2" fmla="*/ 5157788 h 5157788"/>
              <a:gd name="connsiteX3" fmla="*/ 0 w 2159000"/>
              <a:gd name="connsiteY3" fmla="*/ 5157788 h 5157788"/>
              <a:gd name="connsiteX4" fmla="*/ 0 w 2159000"/>
              <a:gd name="connsiteY4" fmla="*/ 0 h 5157788"/>
              <a:gd name="connsiteX0" fmla="*/ 2625271 w 4784271"/>
              <a:gd name="connsiteY0" fmla="*/ 0 h 5157788"/>
              <a:gd name="connsiteX1" fmla="*/ 4784271 w 4784271"/>
              <a:gd name="connsiteY1" fmla="*/ 0 h 5157788"/>
              <a:gd name="connsiteX2" fmla="*/ 4784271 w 4784271"/>
              <a:gd name="connsiteY2" fmla="*/ 5157788 h 5157788"/>
              <a:gd name="connsiteX3" fmla="*/ 2625271 w 4784271"/>
              <a:gd name="connsiteY3" fmla="*/ 5157788 h 5157788"/>
              <a:gd name="connsiteX4" fmla="*/ 2625271 w 4784271"/>
              <a:gd name="connsiteY4" fmla="*/ 0 h 5157788"/>
              <a:gd name="connsiteX0" fmla="*/ 2625271 w 4784271"/>
              <a:gd name="connsiteY0" fmla="*/ 0 h 5157788"/>
              <a:gd name="connsiteX1" fmla="*/ 4784271 w 4784271"/>
              <a:gd name="connsiteY1" fmla="*/ 0 h 5157788"/>
              <a:gd name="connsiteX2" fmla="*/ 4784271 w 4784271"/>
              <a:gd name="connsiteY2" fmla="*/ 5157788 h 5157788"/>
              <a:gd name="connsiteX3" fmla="*/ 2625271 w 4784271"/>
              <a:gd name="connsiteY3" fmla="*/ 5157788 h 5157788"/>
              <a:gd name="connsiteX4" fmla="*/ 2625271 w 4784271"/>
              <a:gd name="connsiteY4" fmla="*/ 0 h 5157788"/>
              <a:gd name="connsiteX0" fmla="*/ 3568576 w 5727576"/>
              <a:gd name="connsiteY0" fmla="*/ 0 h 5157788"/>
              <a:gd name="connsiteX1" fmla="*/ 5727576 w 5727576"/>
              <a:gd name="connsiteY1" fmla="*/ 0 h 5157788"/>
              <a:gd name="connsiteX2" fmla="*/ 5727576 w 5727576"/>
              <a:gd name="connsiteY2" fmla="*/ 5157788 h 5157788"/>
              <a:gd name="connsiteX3" fmla="*/ 3568576 w 5727576"/>
              <a:gd name="connsiteY3" fmla="*/ 5157788 h 5157788"/>
              <a:gd name="connsiteX4" fmla="*/ 3568576 w 5727576"/>
              <a:gd name="connsiteY4" fmla="*/ 0 h 5157788"/>
              <a:gd name="connsiteX0" fmla="*/ 3306355 w 5465355"/>
              <a:gd name="connsiteY0" fmla="*/ 0 h 5157788"/>
              <a:gd name="connsiteX1" fmla="*/ 5465355 w 5465355"/>
              <a:gd name="connsiteY1" fmla="*/ 0 h 5157788"/>
              <a:gd name="connsiteX2" fmla="*/ 5465355 w 5465355"/>
              <a:gd name="connsiteY2" fmla="*/ 5157788 h 5157788"/>
              <a:gd name="connsiteX3" fmla="*/ 3306355 w 5465355"/>
              <a:gd name="connsiteY3" fmla="*/ 5157788 h 5157788"/>
              <a:gd name="connsiteX4" fmla="*/ 3306355 w 5465355"/>
              <a:gd name="connsiteY4" fmla="*/ 0 h 5157788"/>
              <a:gd name="connsiteX0" fmla="*/ 1416957 w 3575957"/>
              <a:gd name="connsiteY0" fmla="*/ 0 h 5157788"/>
              <a:gd name="connsiteX1" fmla="*/ 3575957 w 3575957"/>
              <a:gd name="connsiteY1" fmla="*/ 0 h 5157788"/>
              <a:gd name="connsiteX2" fmla="*/ 3575957 w 3575957"/>
              <a:gd name="connsiteY2" fmla="*/ 5157788 h 5157788"/>
              <a:gd name="connsiteX3" fmla="*/ 1416957 w 3575957"/>
              <a:gd name="connsiteY3" fmla="*/ 5157788 h 5157788"/>
              <a:gd name="connsiteX4" fmla="*/ 0 w 3575957"/>
              <a:gd name="connsiteY4" fmla="*/ 3339193 h 5157788"/>
              <a:gd name="connsiteX5" fmla="*/ 1416957 w 3575957"/>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6017419"/>
              <a:gd name="connsiteX1" fmla="*/ 3851275 w 3851275"/>
              <a:gd name="connsiteY1" fmla="*/ 0 h 6017419"/>
              <a:gd name="connsiteX2" fmla="*/ 3851275 w 3851275"/>
              <a:gd name="connsiteY2" fmla="*/ 5157788 h 6017419"/>
              <a:gd name="connsiteX3" fmla="*/ 1692275 w 3851275"/>
              <a:gd name="connsiteY3" fmla="*/ 5157788 h 6017419"/>
              <a:gd name="connsiteX4" fmla="*/ 0 w 3851275"/>
              <a:gd name="connsiteY4" fmla="*/ 3284984 h 6017419"/>
              <a:gd name="connsiteX5" fmla="*/ 1692275 w 3851275"/>
              <a:gd name="connsiteY5" fmla="*/ 0 h 6017419"/>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429000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429000 h 5157788"/>
              <a:gd name="connsiteX5" fmla="*/ 1710871 w 3869871"/>
              <a:gd name="connsiteY5" fmla="*/ 0 h 5157788"/>
              <a:gd name="connsiteX0" fmla="*/ 1704975 w 3863975"/>
              <a:gd name="connsiteY0" fmla="*/ 0 h 5157788"/>
              <a:gd name="connsiteX1" fmla="*/ 3863975 w 3863975"/>
              <a:gd name="connsiteY1" fmla="*/ 0 h 5157788"/>
              <a:gd name="connsiteX2" fmla="*/ 3863975 w 3863975"/>
              <a:gd name="connsiteY2" fmla="*/ 5157788 h 5157788"/>
              <a:gd name="connsiteX3" fmla="*/ 1704975 w 3863975"/>
              <a:gd name="connsiteY3" fmla="*/ 5157788 h 5157788"/>
              <a:gd name="connsiteX4" fmla="*/ 12700 w 3863975"/>
              <a:gd name="connsiteY4" fmla="*/ 3429000 h 5157788"/>
              <a:gd name="connsiteX5" fmla="*/ 1704975 w 3863975"/>
              <a:gd name="connsiteY5" fmla="*/ 0 h 5157788"/>
              <a:gd name="connsiteX0" fmla="*/ 1707243 w 3866243"/>
              <a:gd name="connsiteY0" fmla="*/ 0 h 5157788"/>
              <a:gd name="connsiteX1" fmla="*/ 3866243 w 3866243"/>
              <a:gd name="connsiteY1" fmla="*/ 0 h 5157788"/>
              <a:gd name="connsiteX2" fmla="*/ 3866243 w 3866243"/>
              <a:gd name="connsiteY2" fmla="*/ 5157788 h 5157788"/>
              <a:gd name="connsiteX3" fmla="*/ 1707243 w 3866243"/>
              <a:gd name="connsiteY3" fmla="*/ 5157788 h 5157788"/>
              <a:gd name="connsiteX4" fmla="*/ 14968 w 3866243"/>
              <a:gd name="connsiteY4" fmla="*/ 3429000 h 5157788"/>
              <a:gd name="connsiteX5" fmla="*/ 1707243 w 3866243"/>
              <a:gd name="connsiteY5" fmla="*/ 0 h 5157788"/>
              <a:gd name="connsiteX0" fmla="*/ 1130447 w 3866243"/>
              <a:gd name="connsiteY0" fmla="*/ 0 h 5157788"/>
              <a:gd name="connsiteX1" fmla="*/ 3866243 w 3866243"/>
              <a:gd name="connsiteY1" fmla="*/ 0 h 5157788"/>
              <a:gd name="connsiteX2" fmla="*/ 3866243 w 3866243"/>
              <a:gd name="connsiteY2" fmla="*/ 5157788 h 5157788"/>
              <a:gd name="connsiteX3" fmla="*/ 1707243 w 3866243"/>
              <a:gd name="connsiteY3" fmla="*/ 5157788 h 5157788"/>
              <a:gd name="connsiteX4" fmla="*/ 14968 w 3866243"/>
              <a:gd name="connsiteY4" fmla="*/ 3429000 h 5157788"/>
              <a:gd name="connsiteX5" fmla="*/ 1130447 w 3866243"/>
              <a:gd name="connsiteY5" fmla="*/ 0 h 5157788"/>
              <a:gd name="connsiteX0" fmla="*/ 2746143 w 5481939"/>
              <a:gd name="connsiteY0" fmla="*/ 0 h 5157788"/>
              <a:gd name="connsiteX1" fmla="*/ 5481939 w 5481939"/>
              <a:gd name="connsiteY1" fmla="*/ 0 h 5157788"/>
              <a:gd name="connsiteX2" fmla="*/ 5481939 w 5481939"/>
              <a:gd name="connsiteY2" fmla="*/ 5157788 h 5157788"/>
              <a:gd name="connsiteX3" fmla="*/ 585903 w 5481939"/>
              <a:gd name="connsiteY3" fmla="*/ 5153180 h 5157788"/>
              <a:gd name="connsiteX4" fmla="*/ 1630664 w 5481939"/>
              <a:gd name="connsiteY4" fmla="*/ 3429000 h 5157788"/>
              <a:gd name="connsiteX5" fmla="*/ 2746143 w 5481939"/>
              <a:gd name="connsiteY5" fmla="*/ 0 h 5157788"/>
              <a:gd name="connsiteX0" fmla="*/ 2746143 w 5481939"/>
              <a:gd name="connsiteY0" fmla="*/ 0 h 5157788"/>
              <a:gd name="connsiteX1" fmla="*/ 5481939 w 5481939"/>
              <a:gd name="connsiteY1" fmla="*/ 0 h 5157788"/>
              <a:gd name="connsiteX2" fmla="*/ 5481939 w 5481939"/>
              <a:gd name="connsiteY2" fmla="*/ 5157788 h 5157788"/>
              <a:gd name="connsiteX3" fmla="*/ 585903 w 5481939"/>
              <a:gd name="connsiteY3" fmla="*/ 5153180 h 5157788"/>
              <a:gd name="connsiteX4" fmla="*/ 1630664 w 5481939"/>
              <a:gd name="connsiteY4" fmla="*/ 3429000 h 5157788"/>
              <a:gd name="connsiteX5" fmla="*/ 2746143 w 548193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3574235 w 6310031"/>
              <a:gd name="connsiteY0" fmla="*/ 0 h 5157788"/>
              <a:gd name="connsiteX1" fmla="*/ 6310031 w 6310031"/>
              <a:gd name="connsiteY1" fmla="*/ 0 h 5157788"/>
              <a:gd name="connsiteX2" fmla="*/ 6310031 w 6310031"/>
              <a:gd name="connsiteY2" fmla="*/ 5157788 h 5157788"/>
              <a:gd name="connsiteX3" fmla="*/ 585903 w 6310031"/>
              <a:gd name="connsiteY3" fmla="*/ 5153180 h 5157788"/>
              <a:gd name="connsiteX4" fmla="*/ 1738031 w 6310031"/>
              <a:gd name="connsiteY4" fmla="*/ 3389965 h 5157788"/>
              <a:gd name="connsiteX5" fmla="*/ 3574235 w 6310031"/>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296143 w 5724128"/>
              <a:gd name="connsiteY4" fmla="*/ 3461908 h 5157788"/>
              <a:gd name="connsiteX5" fmla="*/ 2988332 w 5724128"/>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1188132 w 5760132"/>
              <a:gd name="connsiteY4" fmla="*/ 3425937 h 5157788"/>
              <a:gd name="connsiteX5" fmla="*/ 3024336 w 5760132"/>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2736304 w 5760132"/>
              <a:gd name="connsiteY4" fmla="*/ 3461908 h 5157788"/>
              <a:gd name="connsiteX5" fmla="*/ 3024336 w 5760132"/>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2736304 w 5760132"/>
              <a:gd name="connsiteY4" fmla="*/ 3461908 h 5157788"/>
              <a:gd name="connsiteX5" fmla="*/ 3024336 w 5760132"/>
              <a:gd name="connsiteY5" fmla="*/ 0 h 5157788"/>
              <a:gd name="connsiteX0" fmla="*/ 2160240 w 4896036"/>
              <a:gd name="connsiteY0" fmla="*/ 0 h 5157788"/>
              <a:gd name="connsiteX1" fmla="*/ 4896036 w 4896036"/>
              <a:gd name="connsiteY1" fmla="*/ 0 h 5157788"/>
              <a:gd name="connsiteX2" fmla="*/ 4896036 w 4896036"/>
              <a:gd name="connsiteY2" fmla="*/ 5157788 h 5157788"/>
              <a:gd name="connsiteX3" fmla="*/ 0 w 4896036"/>
              <a:gd name="connsiteY3" fmla="*/ 5153180 h 5157788"/>
              <a:gd name="connsiteX4" fmla="*/ 1872208 w 4896036"/>
              <a:gd name="connsiteY4" fmla="*/ 3461908 h 5157788"/>
              <a:gd name="connsiteX5" fmla="*/ 2160240 w 4896036"/>
              <a:gd name="connsiteY5" fmla="*/ 0 h 5157788"/>
              <a:gd name="connsiteX0" fmla="*/ 2232248 w 4968044"/>
              <a:gd name="connsiteY0" fmla="*/ 0 h 5157788"/>
              <a:gd name="connsiteX1" fmla="*/ 4968044 w 4968044"/>
              <a:gd name="connsiteY1" fmla="*/ 0 h 5157788"/>
              <a:gd name="connsiteX2" fmla="*/ 4968044 w 4968044"/>
              <a:gd name="connsiteY2" fmla="*/ 5157788 h 5157788"/>
              <a:gd name="connsiteX3" fmla="*/ 0 w 4968044"/>
              <a:gd name="connsiteY3" fmla="*/ 5153180 h 5157788"/>
              <a:gd name="connsiteX4" fmla="*/ 1944216 w 4968044"/>
              <a:gd name="connsiteY4" fmla="*/ 3461908 h 5157788"/>
              <a:gd name="connsiteX5" fmla="*/ 2232248 w 4968044"/>
              <a:gd name="connsiteY5" fmla="*/ 0 h 5157788"/>
              <a:gd name="connsiteX0" fmla="*/ 2207679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207679 w 4943475"/>
              <a:gd name="connsiteY5" fmla="*/ 0 h 5157788"/>
              <a:gd name="connsiteX0" fmla="*/ 2963763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963763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092200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71575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343583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675731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675731 w 4943475"/>
              <a:gd name="connsiteY5" fmla="*/ 0 h 5157788"/>
              <a:gd name="connsiteX0" fmla="*/ 2675731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675731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9672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19672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51412" h="5157788">
                <a:moveTo>
                  <a:pt x="2706687" y="0"/>
                </a:moveTo>
                <a:lnTo>
                  <a:pt x="4951412" y="0"/>
                </a:lnTo>
                <a:lnTo>
                  <a:pt x="4951412" y="5157788"/>
                </a:lnTo>
                <a:lnTo>
                  <a:pt x="0" y="5153180"/>
                </a:lnTo>
                <a:cubicBezTo>
                  <a:pt x="84411" y="4542509"/>
                  <a:pt x="183041" y="4024723"/>
                  <a:pt x="1243508" y="2562613"/>
                </a:cubicBezTo>
                <a:cubicBezTo>
                  <a:pt x="1867447" y="1704780"/>
                  <a:pt x="2665955" y="709265"/>
                  <a:pt x="2706687" y="0"/>
                </a:cubicBezTo>
                <a:close/>
              </a:path>
            </a:pathLst>
          </a:custGeom>
          <a:solidFill>
            <a:schemeClr val="bg2"/>
          </a:solidFill>
          <a:ln w="3175">
            <a:noFill/>
          </a:ln>
        </p:spPr>
        <p:txBody>
          <a:bodyPr tIns="720000" rtlCol="0" anchor="ctr">
            <a:noAutofit/>
          </a:bodyPr>
          <a:lstStyle>
            <a:lvl1pPr algn="ctr">
              <a:defRPr sz="1500">
                <a:solidFill>
                  <a:schemeClr val="bg1"/>
                </a:solidFill>
              </a:defRPr>
            </a:lvl1pPr>
          </a:lstStyle>
          <a:p>
            <a:pPr lvl="0"/>
            <a:r>
              <a:rPr lang="en-US" noProof="0"/>
              <a:t>Click icon to add picture</a:t>
            </a:r>
          </a:p>
        </p:txBody>
      </p:sp>
      <p:sp>
        <p:nvSpPr>
          <p:cNvPr id="14" name="Espace réservé de la date 9"/>
          <p:cNvSpPr>
            <a:spLocks noGrp="1"/>
          </p:cNvSpPr>
          <p:nvPr>
            <p:ph type="dt" sz="half" idx="21"/>
          </p:nvPr>
        </p:nvSpPr>
        <p:spPr/>
        <p:txBody>
          <a:bodyPr/>
          <a:lstStyle>
            <a:lvl1pPr>
              <a:defRPr/>
            </a:lvl1pPr>
          </a:lstStyle>
          <a:p>
            <a:pPr>
              <a:defRPr/>
            </a:pPr>
            <a:r>
              <a:rPr lang="en-US">
                <a:solidFill>
                  <a:prstClr val="white">
                    <a:alpha val="0"/>
                  </a:prstClr>
                </a:solidFill>
              </a:rPr>
              <a:t>Date</a:t>
            </a:r>
          </a:p>
        </p:txBody>
      </p:sp>
      <p:sp>
        <p:nvSpPr>
          <p:cNvPr id="16" name="Espace réservé du numéro de diapositive 10"/>
          <p:cNvSpPr>
            <a:spLocks noGrp="1"/>
          </p:cNvSpPr>
          <p:nvPr>
            <p:ph type="sldNum" sz="quarter" idx="22"/>
          </p:nvPr>
        </p:nvSpPr>
        <p:spPr/>
        <p:txBody>
          <a:bodyPr/>
          <a:lstStyle>
            <a:lvl1pPr>
              <a:defRPr sz="100">
                <a:solidFill>
                  <a:schemeClr val="bg1">
                    <a:alpha val="0"/>
                  </a:schemeClr>
                </a:solidFill>
              </a:defRPr>
            </a:lvl1pPr>
          </a:lstStyle>
          <a:p>
            <a:pPr>
              <a:defRPr/>
            </a:pPr>
            <a:r>
              <a:rPr lang="en-US">
                <a:solidFill>
                  <a:prstClr val="white">
                    <a:alpha val="0"/>
                  </a:prstClr>
                </a:solidFill>
              </a:rPr>
              <a:t>Page: </a:t>
            </a:r>
            <a:fld id="{A170035D-6B8C-439A-85EA-19B5ADE5A975}" type="slidenum">
              <a:rPr lang="en-US">
                <a:solidFill>
                  <a:prstClr val="white">
                    <a:alpha val="0"/>
                  </a:prstClr>
                </a:solidFill>
              </a:rPr>
              <a:pPr>
                <a:defRPr/>
              </a:pPr>
              <a:t>‹#›</a:t>
            </a:fld>
            <a:endParaRPr lang="en-US">
              <a:solidFill>
                <a:prstClr val="white">
                  <a:alpha val="0"/>
                </a:prstClr>
              </a:solidFill>
            </a:endParaRPr>
          </a:p>
        </p:txBody>
      </p:sp>
      <p:sp>
        <p:nvSpPr>
          <p:cNvPr id="19" name="Espace réservé du pied de page 11"/>
          <p:cNvSpPr>
            <a:spLocks noGrp="1"/>
          </p:cNvSpPr>
          <p:nvPr>
            <p:ph type="ftr" sz="quarter" idx="23"/>
          </p:nvPr>
        </p:nvSpPr>
        <p:spPr>
          <a:xfrm>
            <a:off x="468313" y="523875"/>
            <a:ext cx="4824412" cy="360363"/>
          </a:xfrm>
        </p:spPr>
        <p:txBody>
          <a:bodyPr/>
          <a:lstStyle>
            <a:lvl1pPr algn="l">
              <a:defRPr sz="1800" b="0">
                <a:solidFill>
                  <a:schemeClr val="bg1"/>
                </a:solidFill>
              </a:defRPr>
            </a:lvl1pPr>
          </a:lstStyle>
          <a:p>
            <a:pPr>
              <a:defRPr/>
            </a:pPr>
            <a:r>
              <a:rPr lang="en-US">
                <a:solidFill>
                  <a:prstClr val="white"/>
                </a:solidFill>
              </a:rPr>
              <a:t>#</a:t>
            </a:r>
            <a:r>
              <a:rPr lang="en-US" err="1">
                <a:solidFill>
                  <a:prstClr val="white"/>
                </a:solidFill>
              </a:rPr>
              <a:t>vaccineswork</a:t>
            </a:r>
            <a:endParaRPr lang="en-US">
              <a:solidFill>
                <a:prstClr val="white"/>
              </a:solidFill>
            </a:endParaRPr>
          </a:p>
        </p:txBody>
      </p:sp>
    </p:spTree>
    <p:extLst>
      <p:ext uri="{BB962C8B-B14F-4D97-AF65-F5344CB8AC3E}">
        <p14:creationId xmlns:p14="http://schemas.microsoft.com/office/powerpoint/2010/main" val="1245818891"/>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Chapter_Layout">
    <p:spTree>
      <p:nvGrpSpPr>
        <p:cNvPr id="1" name=""/>
        <p:cNvGrpSpPr/>
        <p:nvPr/>
      </p:nvGrpSpPr>
      <p:grpSpPr>
        <a:xfrm>
          <a:off x="0" y="0"/>
          <a:ext cx="0" cy="0"/>
          <a:chOff x="0" y="0"/>
          <a:chExt cx="0" cy="0"/>
        </a:xfrm>
      </p:grpSpPr>
      <p:pic>
        <p:nvPicPr>
          <p:cNvPr id="6" name="Image 17" descr="FD_03_chap_110x190,5.pn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gray">
          <a:xfrm>
            <a:off x="0" y="0"/>
            <a:ext cx="3959225" cy="68580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cxnSp>
        <p:nvCxnSpPr>
          <p:cNvPr id="7" name="Connecteur droit 14"/>
          <p:cNvCxnSpPr/>
          <p:nvPr userDrawn="1"/>
        </p:nvCxnSpPr>
        <p:spPr bwMode="gray">
          <a:xfrm flipH="1">
            <a:off x="3635375" y="2389188"/>
            <a:ext cx="1584325" cy="0"/>
          </a:xfrm>
          <a:prstGeom prst="line">
            <a:avLst/>
          </a:prstGeom>
          <a:ln w="24130">
            <a:solidFill>
              <a:schemeClr val="accent1"/>
            </a:solidFill>
          </a:ln>
        </p:spPr>
        <p:style>
          <a:lnRef idx="1">
            <a:schemeClr val="accent1"/>
          </a:lnRef>
          <a:fillRef idx="0">
            <a:schemeClr val="accent1"/>
          </a:fillRef>
          <a:effectRef idx="0">
            <a:schemeClr val="accent1"/>
          </a:effectRef>
          <a:fontRef idx="minor">
            <a:schemeClr val="tx1"/>
          </a:fontRef>
        </p:style>
      </p:cxnSp>
      <p:sp>
        <p:nvSpPr>
          <p:cNvPr id="2" name="Titre 1"/>
          <p:cNvSpPr>
            <a:spLocks noGrp="1"/>
          </p:cNvSpPr>
          <p:nvPr>
            <p:ph type="title"/>
          </p:nvPr>
        </p:nvSpPr>
        <p:spPr bwMode="gray">
          <a:xfrm>
            <a:off x="3635374" y="1036638"/>
            <a:ext cx="3263901" cy="1268759"/>
          </a:xfrm>
        </p:spPr>
        <p:txBody>
          <a:bodyPr/>
          <a:lstStyle/>
          <a:p>
            <a:r>
              <a:rPr lang="en-US" noProof="0"/>
              <a:t>Click to edit Master title style</a:t>
            </a:r>
          </a:p>
        </p:txBody>
      </p:sp>
      <p:sp>
        <p:nvSpPr>
          <p:cNvPr id="10" name="Espace réservé du texte 9"/>
          <p:cNvSpPr>
            <a:spLocks noGrp="1"/>
          </p:cNvSpPr>
          <p:nvPr>
            <p:ph type="body" sz="quarter" idx="13"/>
          </p:nvPr>
        </p:nvSpPr>
        <p:spPr bwMode="gray">
          <a:xfrm>
            <a:off x="3635376" y="2574000"/>
            <a:ext cx="3263900" cy="3447388"/>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Espace réservé du texte 9"/>
          <p:cNvSpPr>
            <a:spLocks noGrp="1"/>
          </p:cNvSpPr>
          <p:nvPr>
            <p:ph type="body" sz="quarter" idx="14"/>
          </p:nvPr>
        </p:nvSpPr>
        <p:spPr bwMode="gray">
          <a:xfrm>
            <a:off x="0" y="139974"/>
            <a:ext cx="2628000" cy="5017814"/>
          </a:xfrm>
        </p:spPr>
        <p:txBody>
          <a:bodyPr/>
          <a:lstStyle>
            <a:lvl1pPr algn="r">
              <a:defRPr sz="16600" b="1">
                <a:solidFill>
                  <a:schemeClr val="bg1"/>
                </a:solidFill>
              </a:defRPr>
            </a:lvl1pPr>
          </a:lstStyle>
          <a:p>
            <a:pPr lvl="0"/>
            <a:r>
              <a:rPr lang="en-US" noProof="0"/>
              <a:t>Click to edit Master text styles</a:t>
            </a:r>
          </a:p>
        </p:txBody>
      </p:sp>
      <p:sp>
        <p:nvSpPr>
          <p:cNvPr id="19" name="Espace réservé pour une image  17"/>
          <p:cNvSpPr>
            <a:spLocks noGrp="1"/>
          </p:cNvSpPr>
          <p:nvPr>
            <p:ph type="pic" sz="quarter" idx="18"/>
          </p:nvPr>
        </p:nvSpPr>
        <p:spPr bwMode="gray">
          <a:xfrm>
            <a:off x="7254332" y="132082"/>
            <a:ext cx="1899827" cy="5812641"/>
          </a:xfrm>
          <a:custGeom>
            <a:avLst/>
            <a:gdLst>
              <a:gd name="connsiteX0" fmla="*/ 0 w 3851275"/>
              <a:gd name="connsiteY0" fmla="*/ 0 h 5157788"/>
              <a:gd name="connsiteX1" fmla="*/ 3851275 w 3851275"/>
              <a:gd name="connsiteY1" fmla="*/ 0 h 5157788"/>
              <a:gd name="connsiteX2" fmla="*/ 3851275 w 3851275"/>
              <a:gd name="connsiteY2" fmla="*/ 5157788 h 5157788"/>
              <a:gd name="connsiteX3" fmla="*/ 0 w 3851275"/>
              <a:gd name="connsiteY3" fmla="*/ 5157788 h 5157788"/>
              <a:gd name="connsiteX4" fmla="*/ 0 w 3851275"/>
              <a:gd name="connsiteY4"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0 w 3851275"/>
              <a:gd name="connsiteY3" fmla="*/ 5157788 h 5157788"/>
              <a:gd name="connsiteX4" fmla="*/ 1692275 w 3851275"/>
              <a:gd name="connsiteY4" fmla="*/ 0 h 5157788"/>
              <a:gd name="connsiteX0" fmla="*/ 0 w 2159000"/>
              <a:gd name="connsiteY0" fmla="*/ 0 h 5157788"/>
              <a:gd name="connsiteX1" fmla="*/ 2159000 w 2159000"/>
              <a:gd name="connsiteY1" fmla="*/ 0 h 5157788"/>
              <a:gd name="connsiteX2" fmla="*/ 2159000 w 2159000"/>
              <a:gd name="connsiteY2" fmla="*/ 5157788 h 5157788"/>
              <a:gd name="connsiteX3" fmla="*/ 0 w 2159000"/>
              <a:gd name="connsiteY3" fmla="*/ 5157788 h 5157788"/>
              <a:gd name="connsiteX4" fmla="*/ 0 w 2159000"/>
              <a:gd name="connsiteY4" fmla="*/ 0 h 5157788"/>
              <a:gd name="connsiteX0" fmla="*/ 2625271 w 4784271"/>
              <a:gd name="connsiteY0" fmla="*/ 0 h 5157788"/>
              <a:gd name="connsiteX1" fmla="*/ 4784271 w 4784271"/>
              <a:gd name="connsiteY1" fmla="*/ 0 h 5157788"/>
              <a:gd name="connsiteX2" fmla="*/ 4784271 w 4784271"/>
              <a:gd name="connsiteY2" fmla="*/ 5157788 h 5157788"/>
              <a:gd name="connsiteX3" fmla="*/ 2625271 w 4784271"/>
              <a:gd name="connsiteY3" fmla="*/ 5157788 h 5157788"/>
              <a:gd name="connsiteX4" fmla="*/ 2625271 w 4784271"/>
              <a:gd name="connsiteY4" fmla="*/ 0 h 5157788"/>
              <a:gd name="connsiteX0" fmla="*/ 2625271 w 4784271"/>
              <a:gd name="connsiteY0" fmla="*/ 0 h 5157788"/>
              <a:gd name="connsiteX1" fmla="*/ 4784271 w 4784271"/>
              <a:gd name="connsiteY1" fmla="*/ 0 h 5157788"/>
              <a:gd name="connsiteX2" fmla="*/ 4784271 w 4784271"/>
              <a:gd name="connsiteY2" fmla="*/ 5157788 h 5157788"/>
              <a:gd name="connsiteX3" fmla="*/ 2625271 w 4784271"/>
              <a:gd name="connsiteY3" fmla="*/ 5157788 h 5157788"/>
              <a:gd name="connsiteX4" fmla="*/ 2625271 w 4784271"/>
              <a:gd name="connsiteY4" fmla="*/ 0 h 5157788"/>
              <a:gd name="connsiteX0" fmla="*/ 3568576 w 5727576"/>
              <a:gd name="connsiteY0" fmla="*/ 0 h 5157788"/>
              <a:gd name="connsiteX1" fmla="*/ 5727576 w 5727576"/>
              <a:gd name="connsiteY1" fmla="*/ 0 h 5157788"/>
              <a:gd name="connsiteX2" fmla="*/ 5727576 w 5727576"/>
              <a:gd name="connsiteY2" fmla="*/ 5157788 h 5157788"/>
              <a:gd name="connsiteX3" fmla="*/ 3568576 w 5727576"/>
              <a:gd name="connsiteY3" fmla="*/ 5157788 h 5157788"/>
              <a:gd name="connsiteX4" fmla="*/ 3568576 w 5727576"/>
              <a:gd name="connsiteY4" fmla="*/ 0 h 5157788"/>
              <a:gd name="connsiteX0" fmla="*/ 3306355 w 5465355"/>
              <a:gd name="connsiteY0" fmla="*/ 0 h 5157788"/>
              <a:gd name="connsiteX1" fmla="*/ 5465355 w 5465355"/>
              <a:gd name="connsiteY1" fmla="*/ 0 h 5157788"/>
              <a:gd name="connsiteX2" fmla="*/ 5465355 w 5465355"/>
              <a:gd name="connsiteY2" fmla="*/ 5157788 h 5157788"/>
              <a:gd name="connsiteX3" fmla="*/ 3306355 w 5465355"/>
              <a:gd name="connsiteY3" fmla="*/ 5157788 h 5157788"/>
              <a:gd name="connsiteX4" fmla="*/ 3306355 w 5465355"/>
              <a:gd name="connsiteY4" fmla="*/ 0 h 5157788"/>
              <a:gd name="connsiteX0" fmla="*/ 1416957 w 3575957"/>
              <a:gd name="connsiteY0" fmla="*/ 0 h 5157788"/>
              <a:gd name="connsiteX1" fmla="*/ 3575957 w 3575957"/>
              <a:gd name="connsiteY1" fmla="*/ 0 h 5157788"/>
              <a:gd name="connsiteX2" fmla="*/ 3575957 w 3575957"/>
              <a:gd name="connsiteY2" fmla="*/ 5157788 h 5157788"/>
              <a:gd name="connsiteX3" fmla="*/ 1416957 w 3575957"/>
              <a:gd name="connsiteY3" fmla="*/ 5157788 h 5157788"/>
              <a:gd name="connsiteX4" fmla="*/ 0 w 3575957"/>
              <a:gd name="connsiteY4" fmla="*/ 3339193 h 5157788"/>
              <a:gd name="connsiteX5" fmla="*/ 1416957 w 3575957"/>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6017419"/>
              <a:gd name="connsiteX1" fmla="*/ 3851275 w 3851275"/>
              <a:gd name="connsiteY1" fmla="*/ 0 h 6017419"/>
              <a:gd name="connsiteX2" fmla="*/ 3851275 w 3851275"/>
              <a:gd name="connsiteY2" fmla="*/ 5157788 h 6017419"/>
              <a:gd name="connsiteX3" fmla="*/ 1692275 w 3851275"/>
              <a:gd name="connsiteY3" fmla="*/ 5157788 h 6017419"/>
              <a:gd name="connsiteX4" fmla="*/ 0 w 3851275"/>
              <a:gd name="connsiteY4" fmla="*/ 3284984 h 6017419"/>
              <a:gd name="connsiteX5" fmla="*/ 1692275 w 3851275"/>
              <a:gd name="connsiteY5" fmla="*/ 0 h 6017419"/>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429000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429000 h 5157788"/>
              <a:gd name="connsiteX5" fmla="*/ 1710871 w 3869871"/>
              <a:gd name="connsiteY5" fmla="*/ 0 h 5157788"/>
              <a:gd name="connsiteX0" fmla="*/ 1704975 w 3863975"/>
              <a:gd name="connsiteY0" fmla="*/ 0 h 5157788"/>
              <a:gd name="connsiteX1" fmla="*/ 3863975 w 3863975"/>
              <a:gd name="connsiteY1" fmla="*/ 0 h 5157788"/>
              <a:gd name="connsiteX2" fmla="*/ 3863975 w 3863975"/>
              <a:gd name="connsiteY2" fmla="*/ 5157788 h 5157788"/>
              <a:gd name="connsiteX3" fmla="*/ 1704975 w 3863975"/>
              <a:gd name="connsiteY3" fmla="*/ 5157788 h 5157788"/>
              <a:gd name="connsiteX4" fmla="*/ 12700 w 3863975"/>
              <a:gd name="connsiteY4" fmla="*/ 3429000 h 5157788"/>
              <a:gd name="connsiteX5" fmla="*/ 1704975 w 3863975"/>
              <a:gd name="connsiteY5" fmla="*/ 0 h 5157788"/>
              <a:gd name="connsiteX0" fmla="*/ 1707243 w 3866243"/>
              <a:gd name="connsiteY0" fmla="*/ 0 h 5157788"/>
              <a:gd name="connsiteX1" fmla="*/ 3866243 w 3866243"/>
              <a:gd name="connsiteY1" fmla="*/ 0 h 5157788"/>
              <a:gd name="connsiteX2" fmla="*/ 3866243 w 3866243"/>
              <a:gd name="connsiteY2" fmla="*/ 5157788 h 5157788"/>
              <a:gd name="connsiteX3" fmla="*/ 1707243 w 3866243"/>
              <a:gd name="connsiteY3" fmla="*/ 5157788 h 5157788"/>
              <a:gd name="connsiteX4" fmla="*/ 14968 w 3866243"/>
              <a:gd name="connsiteY4" fmla="*/ 3429000 h 5157788"/>
              <a:gd name="connsiteX5" fmla="*/ 1707243 w 3866243"/>
              <a:gd name="connsiteY5" fmla="*/ 0 h 5157788"/>
              <a:gd name="connsiteX0" fmla="*/ 1130447 w 3866243"/>
              <a:gd name="connsiteY0" fmla="*/ 0 h 5157788"/>
              <a:gd name="connsiteX1" fmla="*/ 3866243 w 3866243"/>
              <a:gd name="connsiteY1" fmla="*/ 0 h 5157788"/>
              <a:gd name="connsiteX2" fmla="*/ 3866243 w 3866243"/>
              <a:gd name="connsiteY2" fmla="*/ 5157788 h 5157788"/>
              <a:gd name="connsiteX3" fmla="*/ 1707243 w 3866243"/>
              <a:gd name="connsiteY3" fmla="*/ 5157788 h 5157788"/>
              <a:gd name="connsiteX4" fmla="*/ 14968 w 3866243"/>
              <a:gd name="connsiteY4" fmla="*/ 3429000 h 5157788"/>
              <a:gd name="connsiteX5" fmla="*/ 1130447 w 3866243"/>
              <a:gd name="connsiteY5" fmla="*/ 0 h 5157788"/>
              <a:gd name="connsiteX0" fmla="*/ 2746143 w 5481939"/>
              <a:gd name="connsiteY0" fmla="*/ 0 h 5157788"/>
              <a:gd name="connsiteX1" fmla="*/ 5481939 w 5481939"/>
              <a:gd name="connsiteY1" fmla="*/ 0 h 5157788"/>
              <a:gd name="connsiteX2" fmla="*/ 5481939 w 5481939"/>
              <a:gd name="connsiteY2" fmla="*/ 5157788 h 5157788"/>
              <a:gd name="connsiteX3" fmla="*/ 585903 w 5481939"/>
              <a:gd name="connsiteY3" fmla="*/ 5153180 h 5157788"/>
              <a:gd name="connsiteX4" fmla="*/ 1630664 w 5481939"/>
              <a:gd name="connsiteY4" fmla="*/ 3429000 h 5157788"/>
              <a:gd name="connsiteX5" fmla="*/ 2746143 w 5481939"/>
              <a:gd name="connsiteY5" fmla="*/ 0 h 5157788"/>
              <a:gd name="connsiteX0" fmla="*/ 2746143 w 5481939"/>
              <a:gd name="connsiteY0" fmla="*/ 0 h 5157788"/>
              <a:gd name="connsiteX1" fmla="*/ 5481939 w 5481939"/>
              <a:gd name="connsiteY1" fmla="*/ 0 h 5157788"/>
              <a:gd name="connsiteX2" fmla="*/ 5481939 w 5481939"/>
              <a:gd name="connsiteY2" fmla="*/ 5157788 h 5157788"/>
              <a:gd name="connsiteX3" fmla="*/ 585903 w 5481939"/>
              <a:gd name="connsiteY3" fmla="*/ 5153180 h 5157788"/>
              <a:gd name="connsiteX4" fmla="*/ 1630664 w 5481939"/>
              <a:gd name="connsiteY4" fmla="*/ 3429000 h 5157788"/>
              <a:gd name="connsiteX5" fmla="*/ 2746143 w 548193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3574235 w 6310031"/>
              <a:gd name="connsiteY0" fmla="*/ 0 h 5157788"/>
              <a:gd name="connsiteX1" fmla="*/ 6310031 w 6310031"/>
              <a:gd name="connsiteY1" fmla="*/ 0 h 5157788"/>
              <a:gd name="connsiteX2" fmla="*/ 6310031 w 6310031"/>
              <a:gd name="connsiteY2" fmla="*/ 5157788 h 5157788"/>
              <a:gd name="connsiteX3" fmla="*/ 585903 w 6310031"/>
              <a:gd name="connsiteY3" fmla="*/ 5153180 h 5157788"/>
              <a:gd name="connsiteX4" fmla="*/ 1738031 w 6310031"/>
              <a:gd name="connsiteY4" fmla="*/ 3389965 h 5157788"/>
              <a:gd name="connsiteX5" fmla="*/ 3574235 w 6310031"/>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296143 w 5724128"/>
              <a:gd name="connsiteY4" fmla="*/ 3461908 h 5157788"/>
              <a:gd name="connsiteX5" fmla="*/ 2988332 w 5724128"/>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1188132 w 5760132"/>
              <a:gd name="connsiteY4" fmla="*/ 3425937 h 5157788"/>
              <a:gd name="connsiteX5" fmla="*/ 3024336 w 5760132"/>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2736304 w 5760132"/>
              <a:gd name="connsiteY4" fmla="*/ 3461908 h 5157788"/>
              <a:gd name="connsiteX5" fmla="*/ 3024336 w 5760132"/>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2736304 w 5760132"/>
              <a:gd name="connsiteY4" fmla="*/ 3461908 h 5157788"/>
              <a:gd name="connsiteX5" fmla="*/ 3024336 w 5760132"/>
              <a:gd name="connsiteY5" fmla="*/ 0 h 5157788"/>
              <a:gd name="connsiteX0" fmla="*/ 2160240 w 4896036"/>
              <a:gd name="connsiteY0" fmla="*/ 0 h 5157788"/>
              <a:gd name="connsiteX1" fmla="*/ 4896036 w 4896036"/>
              <a:gd name="connsiteY1" fmla="*/ 0 h 5157788"/>
              <a:gd name="connsiteX2" fmla="*/ 4896036 w 4896036"/>
              <a:gd name="connsiteY2" fmla="*/ 5157788 h 5157788"/>
              <a:gd name="connsiteX3" fmla="*/ 0 w 4896036"/>
              <a:gd name="connsiteY3" fmla="*/ 5153180 h 5157788"/>
              <a:gd name="connsiteX4" fmla="*/ 1872208 w 4896036"/>
              <a:gd name="connsiteY4" fmla="*/ 3461908 h 5157788"/>
              <a:gd name="connsiteX5" fmla="*/ 2160240 w 4896036"/>
              <a:gd name="connsiteY5" fmla="*/ 0 h 5157788"/>
              <a:gd name="connsiteX0" fmla="*/ 2232248 w 4968044"/>
              <a:gd name="connsiteY0" fmla="*/ 0 h 5157788"/>
              <a:gd name="connsiteX1" fmla="*/ 4968044 w 4968044"/>
              <a:gd name="connsiteY1" fmla="*/ 0 h 5157788"/>
              <a:gd name="connsiteX2" fmla="*/ 4968044 w 4968044"/>
              <a:gd name="connsiteY2" fmla="*/ 5157788 h 5157788"/>
              <a:gd name="connsiteX3" fmla="*/ 0 w 4968044"/>
              <a:gd name="connsiteY3" fmla="*/ 5153180 h 5157788"/>
              <a:gd name="connsiteX4" fmla="*/ 1944216 w 4968044"/>
              <a:gd name="connsiteY4" fmla="*/ 3461908 h 5157788"/>
              <a:gd name="connsiteX5" fmla="*/ 2232248 w 4968044"/>
              <a:gd name="connsiteY5" fmla="*/ 0 h 5157788"/>
              <a:gd name="connsiteX0" fmla="*/ 2207679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207679 w 4943475"/>
              <a:gd name="connsiteY5" fmla="*/ 0 h 5157788"/>
              <a:gd name="connsiteX0" fmla="*/ 2963763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963763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092200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71575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343583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675731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675731 w 4943475"/>
              <a:gd name="connsiteY5" fmla="*/ 0 h 5157788"/>
              <a:gd name="connsiteX0" fmla="*/ 2675731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675731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9672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19672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1668519 w 3913244"/>
              <a:gd name="connsiteY0" fmla="*/ 0 h 5183692"/>
              <a:gd name="connsiteX1" fmla="*/ 3913244 w 3913244"/>
              <a:gd name="connsiteY1" fmla="*/ 0 h 5183692"/>
              <a:gd name="connsiteX2" fmla="*/ 3913244 w 3913244"/>
              <a:gd name="connsiteY2" fmla="*/ 5157788 h 5183692"/>
              <a:gd name="connsiteX3" fmla="*/ 2456872 w 3913244"/>
              <a:gd name="connsiteY3" fmla="*/ 5183633 h 5183692"/>
              <a:gd name="connsiteX4" fmla="*/ 205340 w 3913244"/>
              <a:gd name="connsiteY4" fmla="*/ 2562613 h 5183692"/>
              <a:gd name="connsiteX5" fmla="*/ 1668519 w 3913244"/>
              <a:gd name="connsiteY5" fmla="*/ 0 h 5183692"/>
              <a:gd name="connsiteX0" fmla="*/ 1668519 w 3923404"/>
              <a:gd name="connsiteY0" fmla="*/ 0 h 5939409"/>
              <a:gd name="connsiteX1" fmla="*/ 3913244 w 3923404"/>
              <a:gd name="connsiteY1" fmla="*/ 0 h 5939409"/>
              <a:gd name="connsiteX2" fmla="*/ 3923404 w 3923404"/>
              <a:gd name="connsiteY2" fmla="*/ 5939409 h 5939409"/>
              <a:gd name="connsiteX3" fmla="*/ 2456872 w 3923404"/>
              <a:gd name="connsiteY3" fmla="*/ 5183633 h 5939409"/>
              <a:gd name="connsiteX4" fmla="*/ 205340 w 3923404"/>
              <a:gd name="connsiteY4" fmla="*/ 2562613 h 5939409"/>
              <a:gd name="connsiteX5" fmla="*/ 1668519 w 3923404"/>
              <a:gd name="connsiteY5" fmla="*/ 0 h 5939409"/>
              <a:gd name="connsiteX0" fmla="*/ 1668519 w 3923404"/>
              <a:gd name="connsiteY0" fmla="*/ 0 h 5939409"/>
              <a:gd name="connsiteX1" fmla="*/ 3913244 w 3923404"/>
              <a:gd name="connsiteY1" fmla="*/ 0 h 5939409"/>
              <a:gd name="connsiteX2" fmla="*/ 3923404 w 3923404"/>
              <a:gd name="connsiteY2" fmla="*/ 5939409 h 5939409"/>
              <a:gd name="connsiteX3" fmla="*/ 2456872 w 3923404"/>
              <a:gd name="connsiteY3" fmla="*/ 5183633 h 5939409"/>
              <a:gd name="connsiteX4" fmla="*/ 205340 w 3923404"/>
              <a:gd name="connsiteY4" fmla="*/ 2562613 h 5939409"/>
              <a:gd name="connsiteX5" fmla="*/ 1668519 w 3923404"/>
              <a:gd name="connsiteY5" fmla="*/ 0 h 5939409"/>
              <a:gd name="connsiteX0" fmla="*/ 1696047 w 3950932"/>
              <a:gd name="connsiteY0" fmla="*/ 0 h 5939409"/>
              <a:gd name="connsiteX1" fmla="*/ 3940772 w 3950932"/>
              <a:gd name="connsiteY1" fmla="*/ 0 h 5939409"/>
              <a:gd name="connsiteX2" fmla="*/ 3950932 w 3950932"/>
              <a:gd name="connsiteY2" fmla="*/ 5939409 h 5939409"/>
              <a:gd name="connsiteX3" fmla="*/ 2484400 w 3950932"/>
              <a:gd name="connsiteY3" fmla="*/ 5183633 h 5939409"/>
              <a:gd name="connsiteX4" fmla="*/ 232868 w 3950932"/>
              <a:gd name="connsiteY4" fmla="*/ 2562613 h 5939409"/>
              <a:gd name="connsiteX5" fmla="*/ 1696047 w 3950932"/>
              <a:gd name="connsiteY5" fmla="*/ 0 h 5939409"/>
              <a:gd name="connsiteX0" fmla="*/ 1463179 w 3718064"/>
              <a:gd name="connsiteY0" fmla="*/ 0 h 5983194"/>
              <a:gd name="connsiteX1" fmla="*/ 3707904 w 3718064"/>
              <a:gd name="connsiteY1" fmla="*/ 0 h 5983194"/>
              <a:gd name="connsiteX2" fmla="*/ 3718064 w 3718064"/>
              <a:gd name="connsiteY2" fmla="*/ 5939409 h 5983194"/>
              <a:gd name="connsiteX3" fmla="*/ 0 w 3718064"/>
              <a:gd name="connsiteY3" fmla="*/ 2562613 h 5983194"/>
              <a:gd name="connsiteX4" fmla="*/ 1463179 w 3718064"/>
              <a:gd name="connsiteY4" fmla="*/ 0 h 5983194"/>
              <a:gd name="connsiteX0" fmla="*/ 1464005 w 3718890"/>
              <a:gd name="connsiteY0" fmla="*/ 0 h 5987401"/>
              <a:gd name="connsiteX1" fmla="*/ 3708730 w 3718890"/>
              <a:gd name="connsiteY1" fmla="*/ 0 h 5987401"/>
              <a:gd name="connsiteX2" fmla="*/ 3718890 w 3718890"/>
              <a:gd name="connsiteY2" fmla="*/ 5939409 h 5987401"/>
              <a:gd name="connsiteX3" fmla="*/ 826 w 3718890"/>
              <a:gd name="connsiteY3" fmla="*/ 2562613 h 5987401"/>
              <a:gd name="connsiteX4" fmla="*/ 1464005 w 3718890"/>
              <a:gd name="connsiteY4" fmla="*/ 0 h 5987401"/>
              <a:gd name="connsiteX0" fmla="*/ 1267 w 2256152"/>
              <a:gd name="connsiteY0" fmla="*/ 0 h 6002954"/>
              <a:gd name="connsiteX1" fmla="*/ 2245992 w 2256152"/>
              <a:gd name="connsiteY1" fmla="*/ 0 h 6002954"/>
              <a:gd name="connsiteX2" fmla="*/ 2256152 w 2256152"/>
              <a:gd name="connsiteY2" fmla="*/ 5939409 h 6002954"/>
              <a:gd name="connsiteX3" fmla="*/ 956168 w 2256152"/>
              <a:gd name="connsiteY3" fmla="*/ 3273178 h 6002954"/>
              <a:gd name="connsiteX4" fmla="*/ 1267 w 2256152"/>
              <a:gd name="connsiteY4" fmla="*/ 0 h 6002954"/>
              <a:gd name="connsiteX0" fmla="*/ 2 w 1299986"/>
              <a:gd name="connsiteY0" fmla="*/ 3321709 h 6044422"/>
              <a:gd name="connsiteX1" fmla="*/ 1289826 w 1299986"/>
              <a:gd name="connsiteY1" fmla="*/ 48531 h 6044422"/>
              <a:gd name="connsiteX2" fmla="*/ 1299986 w 1299986"/>
              <a:gd name="connsiteY2" fmla="*/ 5987940 h 6044422"/>
              <a:gd name="connsiteX3" fmla="*/ 2 w 1299986"/>
              <a:gd name="connsiteY3" fmla="*/ 3321709 h 6044422"/>
              <a:gd name="connsiteX0" fmla="*/ 2 w 1299986"/>
              <a:gd name="connsiteY0" fmla="*/ 3273178 h 5995891"/>
              <a:gd name="connsiteX1" fmla="*/ 1289826 w 1299986"/>
              <a:gd name="connsiteY1" fmla="*/ 0 h 5995891"/>
              <a:gd name="connsiteX2" fmla="*/ 1299986 w 1299986"/>
              <a:gd name="connsiteY2" fmla="*/ 5939409 h 5995891"/>
              <a:gd name="connsiteX3" fmla="*/ 2 w 1299986"/>
              <a:gd name="connsiteY3" fmla="*/ 3273178 h 5995891"/>
              <a:gd name="connsiteX0" fmla="*/ 2 w 1299986"/>
              <a:gd name="connsiteY0" fmla="*/ 3273178 h 5995891"/>
              <a:gd name="connsiteX1" fmla="*/ 1289826 w 1299986"/>
              <a:gd name="connsiteY1" fmla="*/ 0 h 5995891"/>
              <a:gd name="connsiteX2" fmla="*/ 1299986 w 1299986"/>
              <a:gd name="connsiteY2" fmla="*/ 5939409 h 5995891"/>
              <a:gd name="connsiteX3" fmla="*/ 2 w 1299986"/>
              <a:gd name="connsiteY3" fmla="*/ 3273178 h 5995891"/>
              <a:gd name="connsiteX0" fmla="*/ 2 w 1299986"/>
              <a:gd name="connsiteY0" fmla="*/ 3273178 h 5995891"/>
              <a:gd name="connsiteX1" fmla="*/ 1289826 w 1299986"/>
              <a:gd name="connsiteY1" fmla="*/ 0 h 5995891"/>
              <a:gd name="connsiteX2" fmla="*/ 1299986 w 1299986"/>
              <a:gd name="connsiteY2" fmla="*/ 5939409 h 5995891"/>
              <a:gd name="connsiteX3" fmla="*/ 2 w 1299986"/>
              <a:gd name="connsiteY3" fmla="*/ 3273178 h 5995891"/>
              <a:gd name="connsiteX0" fmla="*/ 2 w 1299986"/>
              <a:gd name="connsiteY0" fmla="*/ 2725028 h 5445777"/>
              <a:gd name="connsiteX1" fmla="*/ 1289826 w 1299986"/>
              <a:gd name="connsiteY1" fmla="*/ 0 h 5445777"/>
              <a:gd name="connsiteX2" fmla="*/ 1299986 w 1299986"/>
              <a:gd name="connsiteY2" fmla="*/ 5391259 h 5445777"/>
              <a:gd name="connsiteX3" fmla="*/ 2 w 1299986"/>
              <a:gd name="connsiteY3" fmla="*/ 2725028 h 5445777"/>
              <a:gd name="connsiteX0" fmla="*/ 2 w 1299986"/>
              <a:gd name="connsiteY0" fmla="*/ 3141216 h 5863443"/>
              <a:gd name="connsiteX1" fmla="*/ 1289826 w 1299986"/>
              <a:gd name="connsiteY1" fmla="*/ 0 h 5863443"/>
              <a:gd name="connsiteX2" fmla="*/ 1299986 w 1299986"/>
              <a:gd name="connsiteY2" fmla="*/ 5807447 h 5863443"/>
              <a:gd name="connsiteX3" fmla="*/ 2 w 1299986"/>
              <a:gd name="connsiteY3" fmla="*/ 3141216 h 5863443"/>
              <a:gd name="connsiteX0" fmla="*/ 2 w 1299986"/>
              <a:gd name="connsiteY0" fmla="*/ 3141216 h 5863444"/>
              <a:gd name="connsiteX1" fmla="*/ 1289826 w 1299986"/>
              <a:gd name="connsiteY1" fmla="*/ 0 h 5863444"/>
              <a:gd name="connsiteX2" fmla="*/ 1299986 w 1299986"/>
              <a:gd name="connsiteY2" fmla="*/ 5807447 h 5863444"/>
              <a:gd name="connsiteX3" fmla="*/ 2 w 1299986"/>
              <a:gd name="connsiteY3" fmla="*/ 3141216 h 5863444"/>
              <a:gd name="connsiteX0" fmla="*/ 1 w 1889265"/>
              <a:gd name="connsiteY0" fmla="*/ 3851780 h 5885741"/>
              <a:gd name="connsiteX1" fmla="*/ 1879105 w 1889265"/>
              <a:gd name="connsiteY1" fmla="*/ 0 h 5885741"/>
              <a:gd name="connsiteX2" fmla="*/ 1889265 w 1889265"/>
              <a:gd name="connsiteY2" fmla="*/ 5807447 h 5885741"/>
              <a:gd name="connsiteX3" fmla="*/ 1 w 1889265"/>
              <a:gd name="connsiteY3" fmla="*/ 3851780 h 5885741"/>
              <a:gd name="connsiteX0" fmla="*/ 694 w 1889958"/>
              <a:gd name="connsiteY0" fmla="*/ 3851780 h 5898819"/>
              <a:gd name="connsiteX1" fmla="*/ 1879798 w 1889958"/>
              <a:gd name="connsiteY1" fmla="*/ 0 h 5898819"/>
              <a:gd name="connsiteX2" fmla="*/ 1889958 w 1889958"/>
              <a:gd name="connsiteY2" fmla="*/ 5807447 h 5898819"/>
              <a:gd name="connsiteX3" fmla="*/ 694 w 1889958"/>
              <a:gd name="connsiteY3" fmla="*/ 3851780 h 5898819"/>
              <a:gd name="connsiteX0" fmla="*/ 694 w 1889958"/>
              <a:gd name="connsiteY0" fmla="*/ 3740120 h 5892762"/>
              <a:gd name="connsiteX1" fmla="*/ 1879798 w 1889958"/>
              <a:gd name="connsiteY1" fmla="*/ 0 h 5892762"/>
              <a:gd name="connsiteX2" fmla="*/ 1889958 w 1889958"/>
              <a:gd name="connsiteY2" fmla="*/ 5807447 h 5892762"/>
              <a:gd name="connsiteX3" fmla="*/ 694 w 1889958"/>
              <a:gd name="connsiteY3" fmla="*/ 3740120 h 5892762"/>
              <a:gd name="connsiteX0" fmla="*/ 690 w 1900114"/>
              <a:gd name="connsiteY0" fmla="*/ 3811177 h 5896524"/>
              <a:gd name="connsiteX1" fmla="*/ 1889954 w 1900114"/>
              <a:gd name="connsiteY1" fmla="*/ 0 h 5896524"/>
              <a:gd name="connsiteX2" fmla="*/ 1900114 w 1900114"/>
              <a:gd name="connsiteY2" fmla="*/ 5807447 h 5896524"/>
              <a:gd name="connsiteX3" fmla="*/ 690 w 1900114"/>
              <a:gd name="connsiteY3" fmla="*/ 3811177 h 5896524"/>
              <a:gd name="connsiteX0" fmla="*/ 690 w 1900114"/>
              <a:gd name="connsiteY0" fmla="*/ 3811177 h 5807447"/>
              <a:gd name="connsiteX1" fmla="*/ 1889954 w 1900114"/>
              <a:gd name="connsiteY1" fmla="*/ 0 h 5807447"/>
              <a:gd name="connsiteX2" fmla="*/ 1900114 w 1900114"/>
              <a:gd name="connsiteY2" fmla="*/ 5807447 h 5807447"/>
              <a:gd name="connsiteX3" fmla="*/ 690 w 1900114"/>
              <a:gd name="connsiteY3" fmla="*/ 3811177 h 5807447"/>
              <a:gd name="connsiteX0" fmla="*/ 690 w 1900114"/>
              <a:gd name="connsiteY0" fmla="*/ 3811177 h 5807447"/>
              <a:gd name="connsiteX1" fmla="*/ 1889954 w 1900114"/>
              <a:gd name="connsiteY1" fmla="*/ 0 h 5807447"/>
              <a:gd name="connsiteX2" fmla="*/ 1900114 w 1900114"/>
              <a:gd name="connsiteY2" fmla="*/ 5807447 h 5807447"/>
              <a:gd name="connsiteX3" fmla="*/ 690 w 1900114"/>
              <a:gd name="connsiteY3" fmla="*/ 3811177 h 5807447"/>
              <a:gd name="connsiteX0" fmla="*/ 403 w 1899827"/>
              <a:gd name="connsiteY0" fmla="*/ 3811177 h 5807447"/>
              <a:gd name="connsiteX1" fmla="*/ 1889667 w 1899827"/>
              <a:gd name="connsiteY1" fmla="*/ 0 h 5807447"/>
              <a:gd name="connsiteX2" fmla="*/ 1899827 w 1899827"/>
              <a:gd name="connsiteY2" fmla="*/ 5807447 h 5807447"/>
              <a:gd name="connsiteX3" fmla="*/ 403 w 1899827"/>
              <a:gd name="connsiteY3" fmla="*/ 3811177 h 5807447"/>
            </a:gdLst>
            <a:ahLst/>
            <a:cxnLst>
              <a:cxn ang="0">
                <a:pos x="connsiteX0" y="connsiteY0"/>
              </a:cxn>
              <a:cxn ang="0">
                <a:pos x="connsiteX1" y="connsiteY1"/>
              </a:cxn>
              <a:cxn ang="0">
                <a:pos x="connsiteX2" y="connsiteY2"/>
              </a:cxn>
              <a:cxn ang="0">
                <a:pos x="connsiteX3" y="connsiteY3"/>
              </a:cxn>
            </a:cxnLst>
            <a:rect l="l" t="t" r="r" b="b"/>
            <a:pathLst>
              <a:path w="1899827" h="5807447">
                <a:moveTo>
                  <a:pt x="403" y="3811177"/>
                </a:moveTo>
                <a:cubicBezTo>
                  <a:pt x="-31770" y="2467685"/>
                  <a:pt x="1876203" y="854946"/>
                  <a:pt x="1889667" y="0"/>
                </a:cubicBezTo>
                <a:cubicBezTo>
                  <a:pt x="1893054" y="1979803"/>
                  <a:pt x="1896440" y="3827644"/>
                  <a:pt x="1899827" y="5807447"/>
                </a:cubicBezTo>
                <a:cubicBezTo>
                  <a:pt x="1007523" y="5706703"/>
                  <a:pt x="32576" y="5154669"/>
                  <a:pt x="403" y="3811177"/>
                </a:cubicBezTo>
                <a:close/>
              </a:path>
            </a:pathLst>
          </a:custGeom>
          <a:solidFill>
            <a:schemeClr val="bg2"/>
          </a:solidFill>
          <a:ln w="3175">
            <a:noFill/>
          </a:ln>
        </p:spPr>
        <p:txBody>
          <a:bodyPr tIns="720000" rtlCol="0" anchor="ctr">
            <a:noAutofit/>
          </a:bodyPr>
          <a:lstStyle>
            <a:lvl1pPr algn="ctr">
              <a:defRPr sz="1500">
                <a:solidFill>
                  <a:schemeClr val="bg1"/>
                </a:solidFill>
              </a:defRPr>
            </a:lvl1pPr>
          </a:lstStyle>
          <a:p>
            <a:pPr lvl="0"/>
            <a:r>
              <a:rPr lang="en-US" noProof="0"/>
              <a:t>Click icon to add picture</a:t>
            </a:r>
          </a:p>
        </p:txBody>
      </p:sp>
      <p:sp>
        <p:nvSpPr>
          <p:cNvPr id="8" name="Espace réservé de la date 10"/>
          <p:cNvSpPr>
            <a:spLocks noGrp="1"/>
          </p:cNvSpPr>
          <p:nvPr>
            <p:ph type="dt" sz="half" idx="19"/>
          </p:nvPr>
        </p:nvSpPr>
        <p:spPr/>
        <p:txBody>
          <a:bodyPr/>
          <a:lstStyle>
            <a:lvl1pPr>
              <a:defRPr/>
            </a:lvl1pPr>
          </a:lstStyle>
          <a:p>
            <a:pPr>
              <a:defRPr/>
            </a:pPr>
            <a:r>
              <a:rPr lang="en-US">
                <a:solidFill>
                  <a:prstClr val="white">
                    <a:alpha val="0"/>
                  </a:prstClr>
                </a:solidFill>
              </a:rPr>
              <a:t>Date</a:t>
            </a:r>
          </a:p>
        </p:txBody>
      </p:sp>
      <p:sp>
        <p:nvSpPr>
          <p:cNvPr id="9" name="Espace réservé du numéro de diapositive 11"/>
          <p:cNvSpPr>
            <a:spLocks noGrp="1"/>
          </p:cNvSpPr>
          <p:nvPr>
            <p:ph type="sldNum" sz="quarter" idx="20"/>
          </p:nvPr>
        </p:nvSpPr>
        <p:spPr/>
        <p:txBody>
          <a:bodyPr/>
          <a:lstStyle>
            <a:lvl1pPr>
              <a:defRPr/>
            </a:lvl1pPr>
          </a:lstStyle>
          <a:p>
            <a:pPr>
              <a:defRPr/>
            </a:pPr>
            <a:fld id="{669CD8F2-86ED-43C7-A24E-82A206DEE6AE}" type="slidenum">
              <a:rPr lang="en-US">
                <a:solidFill>
                  <a:srgbClr val="343434"/>
                </a:solidFill>
              </a:rPr>
              <a:pPr>
                <a:defRPr/>
              </a:pPr>
              <a:t>‹#›</a:t>
            </a:fld>
            <a:endParaRPr lang="en-US">
              <a:solidFill>
                <a:srgbClr val="343434"/>
              </a:solidFill>
            </a:endParaRPr>
          </a:p>
        </p:txBody>
      </p:sp>
      <p:sp>
        <p:nvSpPr>
          <p:cNvPr id="11" name="Espace réservé du pied de page 12"/>
          <p:cNvSpPr>
            <a:spLocks noGrp="1"/>
          </p:cNvSpPr>
          <p:nvPr>
            <p:ph type="ftr" sz="quarter" idx="21"/>
          </p:nvPr>
        </p:nvSpPr>
        <p:spPr/>
        <p:txBody>
          <a:bodyPr/>
          <a:lstStyle>
            <a:lvl1pPr>
              <a:defRPr/>
            </a:lvl1pPr>
          </a:lstStyle>
          <a:p>
            <a:pPr>
              <a:defRPr/>
            </a:pPr>
            <a:r>
              <a:rPr lang="en-US">
                <a:solidFill>
                  <a:srgbClr val="005CB9"/>
                </a:solidFill>
              </a:rPr>
              <a:t>#</a:t>
            </a:r>
            <a:r>
              <a:rPr lang="en-US" err="1">
                <a:solidFill>
                  <a:srgbClr val="005CB9"/>
                </a:solidFill>
              </a:rPr>
              <a:t>vaccineswork</a:t>
            </a:r>
            <a:endParaRPr lang="en-US">
              <a:solidFill>
                <a:srgbClr val="005CB9"/>
              </a:solidFill>
            </a:endParaRPr>
          </a:p>
        </p:txBody>
      </p:sp>
    </p:spTree>
    <p:extLst>
      <p:ext uri="{BB962C8B-B14F-4D97-AF65-F5344CB8AC3E}">
        <p14:creationId xmlns:p14="http://schemas.microsoft.com/office/powerpoint/2010/main" val="6419994"/>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Picture_Layout">
    <p:spTree>
      <p:nvGrpSpPr>
        <p:cNvPr id="1" name=""/>
        <p:cNvGrpSpPr/>
        <p:nvPr/>
      </p:nvGrpSpPr>
      <p:grpSpPr>
        <a:xfrm>
          <a:off x="0" y="0"/>
          <a:ext cx="0" cy="0"/>
          <a:chOff x="0" y="0"/>
          <a:chExt cx="0" cy="0"/>
        </a:xfrm>
      </p:grpSpPr>
      <p:sp>
        <p:nvSpPr>
          <p:cNvPr id="2" name="Titre 1"/>
          <p:cNvSpPr>
            <a:spLocks noGrp="1"/>
          </p:cNvSpPr>
          <p:nvPr>
            <p:ph type="title"/>
          </p:nvPr>
        </p:nvSpPr>
        <p:spPr bwMode="gray"/>
        <p:txBody>
          <a:bodyPr/>
          <a:lstStyle/>
          <a:p>
            <a:r>
              <a:rPr lang="en-US" noProof="0"/>
              <a:t>Click to edit Master title style</a:t>
            </a:r>
          </a:p>
        </p:txBody>
      </p:sp>
      <p:sp>
        <p:nvSpPr>
          <p:cNvPr id="3" name="Espace réservé du contenu 2"/>
          <p:cNvSpPr>
            <a:spLocks noGrp="1"/>
          </p:cNvSpPr>
          <p:nvPr>
            <p:ph idx="1"/>
          </p:nvPr>
        </p:nvSpPr>
        <p:spPr bwMode="gray">
          <a:xfrm>
            <a:off x="3635896" y="1304925"/>
            <a:ext cx="4644504" cy="4716463"/>
          </a:xfrm>
        </p:spPr>
        <p:txBody>
          <a:bodyPr/>
          <a:lstStyle>
            <a:lvl2pPr>
              <a:defRPr/>
            </a:lvl2pPr>
            <a:lvl3pPr>
              <a:defRPr/>
            </a:lvl3pPr>
            <a:lvl4pPr>
              <a:defRPr baseline="0"/>
            </a:lvl4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Espace réservé pour une image  8"/>
          <p:cNvSpPr>
            <a:spLocks noGrp="1"/>
          </p:cNvSpPr>
          <p:nvPr>
            <p:ph type="pic" sz="quarter" idx="13"/>
          </p:nvPr>
        </p:nvSpPr>
        <p:spPr bwMode="gray">
          <a:xfrm>
            <a:off x="0" y="1341438"/>
            <a:ext cx="3419038" cy="4679950"/>
          </a:xfrm>
        </p:spPr>
        <p:txBody>
          <a:bodyPr tIns="1008000" rtlCol="0" anchor="ctr">
            <a:noAutofit/>
          </a:bodyPr>
          <a:lstStyle>
            <a:lvl1pPr algn="ctr">
              <a:defRPr/>
            </a:lvl1pPr>
          </a:lstStyle>
          <a:p>
            <a:pPr lvl="0"/>
            <a:r>
              <a:rPr lang="en-US" noProof="0"/>
              <a:t>Click icon to add picture</a:t>
            </a:r>
          </a:p>
        </p:txBody>
      </p:sp>
      <p:sp>
        <p:nvSpPr>
          <p:cNvPr id="5" name="Espace réservé de la date 3"/>
          <p:cNvSpPr>
            <a:spLocks noGrp="1"/>
          </p:cNvSpPr>
          <p:nvPr>
            <p:ph type="dt" sz="half" idx="14"/>
          </p:nvPr>
        </p:nvSpPr>
        <p:spPr/>
        <p:txBody>
          <a:bodyPr/>
          <a:lstStyle>
            <a:lvl1pPr>
              <a:defRPr/>
            </a:lvl1pPr>
          </a:lstStyle>
          <a:p>
            <a:pPr>
              <a:defRPr/>
            </a:pPr>
            <a:r>
              <a:rPr lang="en-US">
                <a:solidFill>
                  <a:prstClr val="white">
                    <a:alpha val="0"/>
                  </a:prstClr>
                </a:solidFill>
              </a:rPr>
              <a:t>Date</a:t>
            </a:r>
          </a:p>
        </p:txBody>
      </p:sp>
      <p:sp>
        <p:nvSpPr>
          <p:cNvPr id="6" name="Espace réservé du pied de page 4"/>
          <p:cNvSpPr>
            <a:spLocks noGrp="1"/>
          </p:cNvSpPr>
          <p:nvPr>
            <p:ph type="ftr" sz="quarter" idx="15"/>
          </p:nvPr>
        </p:nvSpPr>
        <p:spPr/>
        <p:txBody>
          <a:bodyPr/>
          <a:lstStyle>
            <a:lvl1pPr>
              <a:defRPr/>
            </a:lvl1pPr>
          </a:lstStyle>
          <a:p>
            <a:pPr>
              <a:defRPr/>
            </a:pPr>
            <a:r>
              <a:rPr lang="en-US">
                <a:solidFill>
                  <a:srgbClr val="005CB9"/>
                </a:solidFill>
              </a:rPr>
              <a:t>#</a:t>
            </a:r>
            <a:r>
              <a:rPr lang="en-US" err="1">
                <a:solidFill>
                  <a:srgbClr val="005CB9"/>
                </a:solidFill>
              </a:rPr>
              <a:t>vaccineswork</a:t>
            </a:r>
            <a:endParaRPr lang="en-US">
              <a:solidFill>
                <a:srgbClr val="005CB9"/>
              </a:solidFill>
            </a:endParaRPr>
          </a:p>
        </p:txBody>
      </p:sp>
      <p:sp>
        <p:nvSpPr>
          <p:cNvPr id="7" name="Espace réservé du numéro de diapositive 5"/>
          <p:cNvSpPr>
            <a:spLocks noGrp="1"/>
          </p:cNvSpPr>
          <p:nvPr>
            <p:ph type="sldNum" sz="quarter" idx="16"/>
          </p:nvPr>
        </p:nvSpPr>
        <p:spPr/>
        <p:txBody>
          <a:bodyPr/>
          <a:lstStyle>
            <a:lvl1pPr>
              <a:defRPr/>
            </a:lvl1pPr>
          </a:lstStyle>
          <a:p>
            <a:pPr>
              <a:defRPr/>
            </a:pPr>
            <a:fld id="{D8886677-8A24-41A7-8E0F-301076E1EA36}" type="slidenum">
              <a:rPr lang="en-US">
                <a:solidFill>
                  <a:srgbClr val="343434"/>
                </a:solidFill>
              </a:rPr>
              <a:pPr>
                <a:defRPr/>
              </a:pPr>
              <a:t>‹#›</a:t>
            </a:fld>
            <a:endParaRPr lang="en-US">
              <a:solidFill>
                <a:srgbClr val="343434"/>
              </a:solidFill>
            </a:endParaRPr>
          </a:p>
        </p:txBody>
      </p:sp>
    </p:spTree>
    <p:extLst>
      <p:ext uri="{BB962C8B-B14F-4D97-AF65-F5344CB8AC3E}">
        <p14:creationId xmlns:p14="http://schemas.microsoft.com/office/powerpoint/2010/main" val="382408715"/>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ext&amp;Content_Layout">
    <p:spTree>
      <p:nvGrpSpPr>
        <p:cNvPr id="1" name=""/>
        <p:cNvGrpSpPr/>
        <p:nvPr/>
      </p:nvGrpSpPr>
      <p:grpSpPr>
        <a:xfrm>
          <a:off x="0" y="0"/>
          <a:ext cx="0" cy="0"/>
          <a:chOff x="0" y="0"/>
          <a:chExt cx="0" cy="0"/>
        </a:xfrm>
      </p:grpSpPr>
      <p:sp>
        <p:nvSpPr>
          <p:cNvPr id="2" name="Titre 1"/>
          <p:cNvSpPr>
            <a:spLocks noGrp="1"/>
          </p:cNvSpPr>
          <p:nvPr>
            <p:ph type="title"/>
          </p:nvPr>
        </p:nvSpPr>
        <p:spPr bwMode="gray"/>
        <p:txBody>
          <a:bodyPr/>
          <a:lstStyle/>
          <a:p>
            <a:r>
              <a:rPr lang="en-US" noProof="0"/>
              <a:t>Click to edit Master title style</a:t>
            </a:r>
          </a:p>
        </p:txBody>
      </p:sp>
      <p:sp>
        <p:nvSpPr>
          <p:cNvPr id="3" name="Espace réservé du contenu 2"/>
          <p:cNvSpPr>
            <a:spLocks noGrp="1"/>
          </p:cNvSpPr>
          <p:nvPr>
            <p:ph idx="1"/>
          </p:nvPr>
        </p:nvSpPr>
        <p:spPr bwMode="gray">
          <a:xfrm>
            <a:off x="935038" y="2781388"/>
            <a:ext cx="7345362" cy="3240000"/>
          </a:xfrm>
        </p:spPr>
        <p:txBody>
          <a:bodyPr/>
          <a:lstStyle>
            <a:lvl2pPr>
              <a:defRPr/>
            </a:lvl2pPr>
            <a:lvl3pPr>
              <a:defRPr/>
            </a:lvl3pPr>
            <a:lvl4pPr>
              <a:defRPr baseline="0"/>
            </a:lvl4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Espace réservé du texte 9"/>
          <p:cNvSpPr>
            <a:spLocks noGrp="1"/>
          </p:cNvSpPr>
          <p:nvPr>
            <p:ph type="body" sz="quarter" idx="13"/>
          </p:nvPr>
        </p:nvSpPr>
        <p:spPr bwMode="gray">
          <a:xfrm>
            <a:off x="935038" y="1304924"/>
            <a:ext cx="7345362" cy="126000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Espace réservé de la date 3"/>
          <p:cNvSpPr>
            <a:spLocks noGrp="1"/>
          </p:cNvSpPr>
          <p:nvPr>
            <p:ph type="dt" sz="half" idx="14"/>
          </p:nvPr>
        </p:nvSpPr>
        <p:spPr/>
        <p:txBody>
          <a:bodyPr/>
          <a:lstStyle>
            <a:lvl1pPr>
              <a:defRPr/>
            </a:lvl1pPr>
          </a:lstStyle>
          <a:p>
            <a:pPr>
              <a:defRPr/>
            </a:pPr>
            <a:r>
              <a:rPr lang="en-US">
                <a:solidFill>
                  <a:prstClr val="white">
                    <a:alpha val="0"/>
                  </a:prstClr>
                </a:solidFill>
              </a:rPr>
              <a:t>Date</a:t>
            </a:r>
          </a:p>
        </p:txBody>
      </p:sp>
      <p:sp>
        <p:nvSpPr>
          <p:cNvPr id="6" name="Espace réservé du pied de page 4"/>
          <p:cNvSpPr>
            <a:spLocks noGrp="1"/>
          </p:cNvSpPr>
          <p:nvPr>
            <p:ph type="ftr" sz="quarter" idx="15"/>
          </p:nvPr>
        </p:nvSpPr>
        <p:spPr/>
        <p:txBody>
          <a:bodyPr/>
          <a:lstStyle>
            <a:lvl1pPr>
              <a:defRPr/>
            </a:lvl1pPr>
          </a:lstStyle>
          <a:p>
            <a:pPr>
              <a:defRPr/>
            </a:pPr>
            <a:r>
              <a:rPr lang="en-US">
                <a:solidFill>
                  <a:srgbClr val="005CB9"/>
                </a:solidFill>
              </a:rPr>
              <a:t>#</a:t>
            </a:r>
            <a:r>
              <a:rPr lang="en-US" err="1">
                <a:solidFill>
                  <a:srgbClr val="005CB9"/>
                </a:solidFill>
              </a:rPr>
              <a:t>vaccineswork</a:t>
            </a:r>
            <a:endParaRPr lang="en-US">
              <a:solidFill>
                <a:srgbClr val="005CB9"/>
              </a:solidFill>
            </a:endParaRPr>
          </a:p>
        </p:txBody>
      </p:sp>
      <p:sp>
        <p:nvSpPr>
          <p:cNvPr id="7" name="Espace réservé du numéro de diapositive 5"/>
          <p:cNvSpPr>
            <a:spLocks noGrp="1"/>
          </p:cNvSpPr>
          <p:nvPr>
            <p:ph type="sldNum" sz="quarter" idx="16"/>
          </p:nvPr>
        </p:nvSpPr>
        <p:spPr/>
        <p:txBody>
          <a:bodyPr/>
          <a:lstStyle>
            <a:lvl1pPr>
              <a:defRPr/>
            </a:lvl1pPr>
          </a:lstStyle>
          <a:p>
            <a:pPr>
              <a:defRPr/>
            </a:pPr>
            <a:fld id="{8779425B-3CAA-48C9-9B95-57BAD5A3D82E}" type="slidenum">
              <a:rPr lang="en-US">
                <a:solidFill>
                  <a:srgbClr val="343434"/>
                </a:solidFill>
              </a:rPr>
              <a:pPr>
                <a:defRPr/>
              </a:pPr>
              <a:t>‹#›</a:t>
            </a:fld>
            <a:endParaRPr lang="en-US">
              <a:solidFill>
                <a:srgbClr val="343434"/>
              </a:solidFill>
            </a:endParaRPr>
          </a:p>
        </p:txBody>
      </p:sp>
    </p:spTree>
    <p:extLst>
      <p:ext uri="{BB962C8B-B14F-4D97-AF65-F5344CB8AC3E}">
        <p14:creationId xmlns:p14="http://schemas.microsoft.com/office/powerpoint/2010/main" val="3056270565"/>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hank_you_1">
    <p:spTree>
      <p:nvGrpSpPr>
        <p:cNvPr id="1" name=""/>
        <p:cNvGrpSpPr/>
        <p:nvPr/>
      </p:nvGrpSpPr>
      <p:grpSpPr>
        <a:xfrm>
          <a:off x="0" y="0"/>
          <a:ext cx="0" cy="0"/>
          <a:chOff x="0" y="0"/>
          <a:chExt cx="0" cy="0"/>
        </a:xfrm>
      </p:grpSpPr>
      <p:pic>
        <p:nvPicPr>
          <p:cNvPr id="5" name="Image 18" descr="FD_1_L254.png"/>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gray">
          <a:xfrm>
            <a:off x="0" y="0"/>
            <a:ext cx="9144000" cy="51577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6" name="Rectangle 5"/>
          <p:cNvSpPr/>
          <p:nvPr userDrawn="1"/>
        </p:nvSpPr>
        <p:spPr bwMode="gray">
          <a:xfrm>
            <a:off x="3635375" y="5265738"/>
            <a:ext cx="5508625" cy="15922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prstClr val="white"/>
              </a:solidFill>
            </a:endParaRPr>
          </a:p>
        </p:txBody>
      </p:sp>
      <p:pic>
        <p:nvPicPr>
          <p:cNvPr id="7" name="Image 19" descr="Bas_couv.png"/>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gray">
          <a:xfrm>
            <a:off x="0" y="5172075"/>
            <a:ext cx="3635375" cy="16859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8" name="Rectangle 7"/>
          <p:cNvSpPr/>
          <p:nvPr userDrawn="1"/>
        </p:nvSpPr>
        <p:spPr bwMode="gray">
          <a:xfrm>
            <a:off x="3635375" y="6354763"/>
            <a:ext cx="5113338" cy="2873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p>
            <a:pPr algn="r">
              <a:defRPr/>
            </a:pPr>
            <a:r>
              <a:rPr lang="en-US" sz="1000" err="1">
                <a:solidFill>
                  <a:srgbClr val="95D600"/>
                </a:solidFill>
              </a:rPr>
              <a:t>www.gavi.org</a:t>
            </a:r>
            <a:endParaRPr lang="en-US" sz="1000">
              <a:solidFill>
                <a:srgbClr val="95D600"/>
              </a:solidFill>
            </a:endParaRPr>
          </a:p>
        </p:txBody>
      </p:sp>
      <p:cxnSp>
        <p:nvCxnSpPr>
          <p:cNvPr id="10" name="Connecteur droit 13"/>
          <p:cNvCxnSpPr/>
          <p:nvPr userDrawn="1"/>
        </p:nvCxnSpPr>
        <p:spPr bwMode="gray">
          <a:xfrm flipH="1">
            <a:off x="468313" y="3400425"/>
            <a:ext cx="2447925" cy="0"/>
          </a:xfrm>
          <a:prstGeom prst="line">
            <a:avLst/>
          </a:prstGeom>
          <a:ln w="24130">
            <a:solidFill>
              <a:schemeClr val="accent1"/>
            </a:solidFill>
          </a:ln>
        </p:spPr>
        <p:style>
          <a:lnRef idx="1">
            <a:schemeClr val="accent1"/>
          </a:lnRef>
          <a:fillRef idx="0">
            <a:schemeClr val="accent1"/>
          </a:fillRef>
          <a:effectRef idx="0">
            <a:schemeClr val="accent1"/>
          </a:effectRef>
          <a:fontRef idx="minor">
            <a:schemeClr val="tx1"/>
          </a:fontRef>
        </p:style>
      </p:cxnSp>
      <p:sp>
        <p:nvSpPr>
          <p:cNvPr id="9" name="Espace réservé du texte 8"/>
          <p:cNvSpPr>
            <a:spLocks noGrp="1"/>
          </p:cNvSpPr>
          <p:nvPr>
            <p:ph type="body" sz="quarter" idx="13"/>
          </p:nvPr>
        </p:nvSpPr>
        <p:spPr bwMode="gray">
          <a:xfrm>
            <a:off x="468314" y="1036638"/>
            <a:ext cx="4824412" cy="2242966"/>
          </a:xfrm>
        </p:spPr>
        <p:txBody>
          <a:bodyPr anchor="b"/>
          <a:lstStyle>
            <a:lvl1pPr marL="0" indent="0" algn="l">
              <a:lnSpc>
                <a:spcPct val="90000"/>
              </a:lnSpc>
              <a:buNone/>
              <a:defRPr sz="2800" b="1" cap="none" baseline="0">
                <a:solidFill>
                  <a:schemeClr val="bg1"/>
                </a:solidFill>
              </a:defRPr>
            </a:lvl1pPr>
            <a:lvl2pPr marL="0" algn="ctr">
              <a:lnSpc>
                <a:spcPct val="100000"/>
              </a:lnSpc>
              <a:spcBef>
                <a:spcPts val="6900"/>
              </a:spcBef>
              <a:defRPr sz="2000" b="1">
                <a:solidFill>
                  <a:schemeClr val="bg1"/>
                </a:solidFill>
              </a:defRPr>
            </a:lvl2pPr>
          </a:lstStyle>
          <a:p>
            <a:pPr lvl="0"/>
            <a:r>
              <a:rPr lang="en-US" noProof="0"/>
              <a:t>Click to edit Master text styles</a:t>
            </a:r>
          </a:p>
        </p:txBody>
      </p:sp>
      <p:sp>
        <p:nvSpPr>
          <p:cNvPr id="15" name="Espace réservé du texte 14"/>
          <p:cNvSpPr>
            <a:spLocks noGrp="1"/>
          </p:cNvSpPr>
          <p:nvPr>
            <p:ph type="body" sz="quarter" idx="19"/>
          </p:nvPr>
        </p:nvSpPr>
        <p:spPr bwMode="gray">
          <a:xfrm>
            <a:off x="3635376" y="6021388"/>
            <a:ext cx="5113338" cy="324000"/>
          </a:xfrm>
        </p:spPr>
        <p:txBody>
          <a:bodyPr anchor="b"/>
          <a:lstStyle>
            <a:lvl1pPr algn="r">
              <a:lnSpc>
                <a:spcPct val="100000"/>
              </a:lnSpc>
              <a:defRPr sz="1000" b="1">
                <a:solidFill>
                  <a:schemeClr val="accent3"/>
                </a:solidFill>
              </a:defRPr>
            </a:lvl1pPr>
          </a:lstStyle>
          <a:p>
            <a:pPr lvl="0"/>
            <a:r>
              <a:rPr lang="en-US" noProof="0"/>
              <a:t>Click to edit Master text styles</a:t>
            </a:r>
          </a:p>
        </p:txBody>
      </p:sp>
      <p:sp>
        <p:nvSpPr>
          <p:cNvPr id="13" name="Espace réservé pour une image  17"/>
          <p:cNvSpPr>
            <a:spLocks noGrp="1"/>
          </p:cNvSpPr>
          <p:nvPr>
            <p:ph type="pic" sz="quarter" idx="18"/>
          </p:nvPr>
        </p:nvSpPr>
        <p:spPr bwMode="gray">
          <a:xfrm>
            <a:off x="4192588" y="0"/>
            <a:ext cx="4951412" cy="5162400"/>
          </a:xfrm>
          <a:custGeom>
            <a:avLst/>
            <a:gdLst>
              <a:gd name="connsiteX0" fmla="*/ 0 w 3851275"/>
              <a:gd name="connsiteY0" fmla="*/ 0 h 5157788"/>
              <a:gd name="connsiteX1" fmla="*/ 3851275 w 3851275"/>
              <a:gd name="connsiteY1" fmla="*/ 0 h 5157788"/>
              <a:gd name="connsiteX2" fmla="*/ 3851275 w 3851275"/>
              <a:gd name="connsiteY2" fmla="*/ 5157788 h 5157788"/>
              <a:gd name="connsiteX3" fmla="*/ 0 w 3851275"/>
              <a:gd name="connsiteY3" fmla="*/ 5157788 h 5157788"/>
              <a:gd name="connsiteX4" fmla="*/ 0 w 3851275"/>
              <a:gd name="connsiteY4"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0 w 3851275"/>
              <a:gd name="connsiteY3" fmla="*/ 5157788 h 5157788"/>
              <a:gd name="connsiteX4" fmla="*/ 1692275 w 3851275"/>
              <a:gd name="connsiteY4" fmla="*/ 0 h 5157788"/>
              <a:gd name="connsiteX0" fmla="*/ 0 w 2159000"/>
              <a:gd name="connsiteY0" fmla="*/ 0 h 5157788"/>
              <a:gd name="connsiteX1" fmla="*/ 2159000 w 2159000"/>
              <a:gd name="connsiteY1" fmla="*/ 0 h 5157788"/>
              <a:gd name="connsiteX2" fmla="*/ 2159000 w 2159000"/>
              <a:gd name="connsiteY2" fmla="*/ 5157788 h 5157788"/>
              <a:gd name="connsiteX3" fmla="*/ 0 w 2159000"/>
              <a:gd name="connsiteY3" fmla="*/ 5157788 h 5157788"/>
              <a:gd name="connsiteX4" fmla="*/ 0 w 2159000"/>
              <a:gd name="connsiteY4" fmla="*/ 0 h 5157788"/>
              <a:gd name="connsiteX0" fmla="*/ 2625271 w 4784271"/>
              <a:gd name="connsiteY0" fmla="*/ 0 h 5157788"/>
              <a:gd name="connsiteX1" fmla="*/ 4784271 w 4784271"/>
              <a:gd name="connsiteY1" fmla="*/ 0 h 5157788"/>
              <a:gd name="connsiteX2" fmla="*/ 4784271 w 4784271"/>
              <a:gd name="connsiteY2" fmla="*/ 5157788 h 5157788"/>
              <a:gd name="connsiteX3" fmla="*/ 2625271 w 4784271"/>
              <a:gd name="connsiteY3" fmla="*/ 5157788 h 5157788"/>
              <a:gd name="connsiteX4" fmla="*/ 2625271 w 4784271"/>
              <a:gd name="connsiteY4" fmla="*/ 0 h 5157788"/>
              <a:gd name="connsiteX0" fmla="*/ 2625271 w 4784271"/>
              <a:gd name="connsiteY0" fmla="*/ 0 h 5157788"/>
              <a:gd name="connsiteX1" fmla="*/ 4784271 w 4784271"/>
              <a:gd name="connsiteY1" fmla="*/ 0 h 5157788"/>
              <a:gd name="connsiteX2" fmla="*/ 4784271 w 4784271"/>
              <a:gd name="connsiteY2" fmla="*/ 5157788 h 5157788"/>
              <a:gd name="connsiteX3" fmla="*/ 2625271 w 4784271"/>
              <a:gd name="connsiteY3" fmla="*/ 5157788 h 5157788"/>
              <a:gd name="connsiteX4" fmla="*/ 2625271 w 4784271"/>
              <a:gd name="connsiteY4" fmla="*/ 0 h 5157788"/>
              <a:gd name="connsiteX0" fmla="*/ 3568576 w 5727576"/>
              <a:gd name="connsiteY0" fmla="*/ 0 h 5157788"/>
              <a:gd name="connsiteX1" fmla="*/ 5727576 w 5727576"/>
              <a:gd name="connsiteY1" fmla="*/ 0 h 5157788"/>
              <a:gd name="connsiteX2" fmla="*/ 5727576 w 5727576"/>
              <a:gd name="connsiteY2" fmla="*/ 5157788 h 5157788"/>
              <a:gd name="connsiteX3" fmla="*/ 3568576 w 5727576"/>
              <a:gd name="connsiteY3" fmla="*/ 5157788 h 5157788"/>
              <a:gd name="connsiteX4" fmla="*/ 3568576 w 5727576"/>
              <a:gd name="connsiteY4" fmla="*/ 0 h 5157788"/>
              <a:gd name="connsiteX0" fmla="*/ 3306355 w 5465355"/>
              <a:gd name="connsiteY0" fmla="*/ 0 h 5157788"/>
              <a:gd name="connsiteX1" fmla="*/ 5465355 w 5465355"/>
              <a:gd name="connsiteY1" fmla="*/ 0 h 5157788"/>
              <a:gd name="connsiteX2" fmla="*/ 5465355 w 5465355"/>
              <a:gd name="connsiteY2" fmla="*/ 5157788 h 5157788"/>
              <a:gd name="connsiteX3" fmla="*/ 3306355 w 5465355"/>
              <a:gd name="connsiteY3" fmla="*/ 5157788 h 5157788"/>
              <a:gd name="connsiteX4" fmla="*/ 3306355 w 5465355"/>
              <a:gd name="connsiteY4" fmla="*/ 0 h 5157788"/>
              <a:gd name="connsiteX0" fmla="*/ 1416957 w 3575957"/>
              <a:gd name="connsiteY0" fmla="*/ 0 h 5157788"/>
              <a:gd name="connsiteX1" fmla="*/ 3575957 w 3575957"/>
              <a:gd name="connsiteY1" fmla="*/ 0 h 5157788"/>
              <a:gd name="connsiteX2" fmla="*/ 3575957 w 3575957"/>
              <a:gd name="connsiteY2" fmla="*/ 5157788 h 5157788"/>
              <a:gd name="connsiteX3" fmla="*/ 1416957 w 3575957"/>
              <a:gd name="connsiteY3" fmla="*/ 5157788 h 5157788"/>
              <a:gd name="connsiteX4" fmla="*/ 0 w 3575957"/>
              <a:gd name="connsiteY4" fmla="*/ 3339193 h 5157788"/>
              <a:gd name="connsiteX5" fmla="*/ 1416957 w 3575957"/>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6017419"/>
              <a:gd name="connsiteX1" fmla="*/ 3851275 w 3851275"/>
              <a:gd name="connsiteY1" fmla="*/ 0 h 6017419"/>
              <a:gd name="connsiteX2" fmla="*/ 3851275 w 3851275"/>
              <a:gd name="connsiteY2" fmla="*/ 5157788 h 6017419"/>
              <a:gd name="connsiteX3" fmla="*/ 1692275 w 3851275"/>
              <a:gd name="connsiteY3" fmla="*/ 5157788 h 6017419"/>
              <a:gd name="connsiteX4" fmla="*/ 0 w 3851275"/>
              <a:gd name="connsiteY4" fmla="*/ 3284984 h 6017419"/>
              <a:gd name="connsiteX5" fmla="*/ 1692275 w 3851275"/>
              <a:gd name="connsiteY5" fmla="*/ 0 h 6017419"/>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429000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429000 h 5157788"/>
              <a:gd name="connsiteX5" fmla="*/ 1710871 w 3869871"/>
              <a:gd name="connsiteY5" fmla="*/ 0 h 5157788"/>
              <a:gd name="connsiteX0" fmla="*/ 1704975 w 3863975"/>
              <a:gd name="connsiteY0" fmla="*/ 0 h 5157788"/>
              <a:gd name="connsiteX1" fmla="*/ 3863975 w 3863975"/>
              <a:gd name="connsiteY1" fmla="*/ 0 h 5157788"/>
              <a:gd name="connsiteX2" fmla="*/ 3863975 w 3863975"/>
              <a:gd name="connsiteY2" fmla="*/ 5157788 h 5157788"/>
              <a:gd name="connsiteX3" fmla="*/ 1704975 w 3863975"/>
              <a:gd name="connsiteY3" fmla="*/ 5157788 h 5157788"/>
              <a:gd name="connsiteX4" fmla="*/ 12700 w 3863975"/>
              <a:gd name="connsiteY4" fmla="*/ 3429000 h 5157788"/>
              <a:gd name="connsiteX5" fmla="*/ 1704975 w 3863975"/>
              <a:gd name="connsiteY5" fmla="*/ 0 h 5157788"/>
              <a:gd name="connsiteX0" fmla="*/ 1707243 w 3866243"/>
              <a:gd name="connsiteY0" fmla="*/ 0 h 5157788"/>
              <a:gd name="connsiteX1" fmla="*/ 3866243 w 3866243"/>
              <a:gd name="connsiteY1" fmla="*/ 0 h 5157788"/>
              <a:gd name="connsiteX2" fmla="*/ 3866243 w 3866243"/>
              <a:gd name="connsiteY2" fmla="*/ 5157788 h 5157788"/>
              <a:gd name="connsiteX3" fmla="*/ 1707243 w 3866243"/>
              <a:gd name="connsiteY3" fmla="*/ 5157788 h 5157788"/>
              <a:gd name="connsiteX4" fmla="*/ 14968 w 3866243"/>
              <a:gd name="connsiteY4" fmla="*/ 3429000 h 5157788"/>
              <a:gd name="connsiteX5" fmla="*/ 1707243 w 3866243"/>
              <a:gd name="connsiteY5" fmla="*/ 0 h 5157788"/>
              <a:gd name="connsiteX0" fmla="*/ 1130447 w 3866243"/>
              <a:gd name="connsiteY0" fmla="*/ 0 h 5157788"/>
              <a:gd name="connsiteX1" fmla="*/ 3866243 w 3866243"/>
              <a:gd name="connsiteY1" fmla="*/ 0 h 5157788"/>
              <a:gd name="connsiteX2" fmla="*/ 3866243 w 3866243"/>
              <a:gd name="connsiteY2" fmla="*/ 5157788 h 5157788"/>
              <a:gd name="connsiteX3" fmla="*/ 1707243 w 3866243"/>
              <a:gd name="connsiteY3" fmla="*/ 5157788 h 5157788"/>
              <a:gd name="connsiteX4" fmla="*/ 14968 w 3866243"/>
              <a:gd name="connsiteY4" fmla="*/ 3429000 h 5157788"/>
              <a:gd name="connsiteX5" fmla="*/ 1130447 w 3866243"/>
              <a:gd name="connsiteY5" fmla="*/ 0 h 5157788"/>
              <a:gd name="connsiteX0" fmla="*/ 2746143 w 5481939"/>
              <a:gd name="connsiteY0" fmla="*/ 0 h 5157788"/>
              <a:gd name="connsiteX1" fmla="*/ 5481939 w 5481939"/>
              <a:gd name="connsiteY1" fmla="*/ 0 h 5157788"/>
              <a:gd name="connsiteX2" fmla="*/ 5481939 w 5481939"/>
              <a:gd name="connsiteY2" fmla="*/ 5157788 h 5157788"/>
              <a:gd name="connsiteX3" fmla="*/ 585903 w 5481939"/>
              <a:gd name="connsiteY3" fmla="*/ 5153180 h 5157788"/>
              <a:gd name="connsiteX4" fmla="*/ 1630664 w 5481939"/>
              <a:gd name="connsiteY4" fmla="*/ 3429000 h 5157788"/>
              <a:gd name="connsiteX5" fmla="*/ 2746143 w 5481939"/>
              <a:gd name="connsiteY5" fmla="*/ 0 h 5157788"/>
              <a:gd name="connsiteX0" fmla="*/ 2746143 w 5481939"/>
              <a:gd name="connsiteY0" fmla="*/ 0 h 5157788"/>
              <a:gd name="connsiteX1" fmla="*/ 5481939 w 5481939"/>
              <a:gd name="connsiteY1" fmla="*/ 0 h 5157788"/>
              <a:gd name="connsiteX2" fmla="*/ 5481939 w 5481939"/>
              <a:gd name="connsiteY2" fmla="*/ 5157788 h 5157788"/>
              <a:gd name="connsiteX3" fmla="*/ 585903 w 5481939"/>
              <a:gd name="connsiteY3" fmla="*/ 5153180 h 5157788"/>
              <a:gd name="connsiteX4" fmla="*/ 1630664 w 5481939"/>
              <a:gd name="connsiteY4" fmla="*/ 3429000 h 5157788"/>
              <a:gd name="connsiteX5" fmla="*/ 2746143 w 548193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3574235 w 6310031"/>
              <a:gd name="connsiteY0" fmla="*/ 0 h 5157788"/>
              <a:gd name="connsiteX1" fmla="*/ 6310031 w 6310031"/>
              <a:gd name="connsiteY1" fmla="*/ 0 h 5157788"/>
              <a:gd name="connsiteX2" fmla="*/ 6310031 w 6310031"/>
              <a:gd name="connsiteY2" fmla="*/ 5157788 h 5157788"/>
              <a:gd name="connsiteX3" fmla="*/ 585903 w 6310031"/>
              <a:gd name="connsiteY3" fmla="*/ 5153180 h 5157788"/>
              <a:gd name="connsiteX4" fmla="*/ 1738031 w 6310031"/>
              <a:gd name="connsiteY4" fmla="*/ 3389965 h 5157788"/>
              <a:gd name="connsiteX5" fmla="*/ 3574235 w 6310031"/>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296143 w 5724128"/>
              <a:gd name="connsiteY4" fmla="*/ 3461908 h 5157788"/>
              <a:gd name="connsiteX5" fmla="*/ 2988332 w 5724128"/>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1188132 w 5760132"/>
              <a:gd name="connsiteY4" fmla="*/ 3425937 h 5157788"/>
              <a:gd name="connsiteX5" fmla="*/ 3024336 w 5760132"/>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2736304 w 5760132"/>
              <a:gd name="connsiteY4" fmla="*/ 3461908 h 5157788"/>
              <a:gd name="connsiteX5" fmla="*/ 3024336 w 5760132"/>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2736304 w 5760132"/>
              <a:gd name="connsiteY4" fmla="*/ 3461908 h 5157788"/>
              <a:gd name="connsiteX5" fmla="*/ 3024336 w 5760132"/>
              <a:gd name="connsiteY5" fmla="*/ 0 h 5157788"/>
              <a:gd name="connsiteX0" fmla="*/ 2160240 w 4896036"/>
              <a:gd name="connsiteY0" fmla="*/ 0 h 5157788"/>
              <a:gd name="connsiteX1" fmla="*/ 4896036 w 4896036"/>
              <a:gd name="connsiteY1" fmla="*/ 0 h 5157788"/>
              <a:gd name="connsiteX2" fmla="*/ 4896036 w 4896036"/>
              <a:gd name="connsiteY2" fmla="*/ 5157788 h 5157788"/>
              <a:gd name="connsiteX3" fmla="*/ 0 w 4896036"/>
              <a:gd name="connsiteY3" fmla="*/ 5153180 h 5157788"/>
              <a:gd name="connsiteX4" fmla="*/ 1872208 w 4896036"/>
              <a:gd name="connsiteY4" fmla="*/ 3461908 h 5157788"/>
              <a:gd name="connsiteX5" fmla="*/ 2160240 w 4896036"/>
              <a:gd name="connsiteY5" fmla="*/ 0 h 5157788"/>
              <a:gd name="connsiteX0" fmla="*/ 2232248 w 4968044"/>
              <a:gd name="connsiteY0" fmla="*/ 0 h 5157788"/>
              <a:gd name="connsiteX1" fmla="*/ 4968044 w 4968044"/>
              <a:gd name="connsiteY1" fmla="*/ 0 h 5157788"/>
              <a:gd name="connsiteX2" fmla="*/ 4968044 w 4968044"/>
              <a:gd name="connsiteY2" fmla="*/ 5157788 h 5157788"/>
              <a:gd name="connsiteX3" fmla="*/ 0 w 4968044"/>
              <a:gd name="connsiteY3" fmla="*/ 5153180 h 5157788"/>
              <a:gd name="connsiteX4" fmla="*/ 1944216 w 4968044"/>
              <a:gd name="connsiteY4" fmla="*/ 3461908 h 5157788"/>
              <a:gd name="connsiteX5" fmla="*/ 2232248 w 4968044"/>
              <a:gd name="connsiteY5" fmla="*/ 0 h 5157788"/>
              <a:gd name="connsiteX0" fmla="*/ 2207679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207679 w 4943475"/>
              <a:gd name="connsiteY5" fmla="*/ 0 h 5157788"/>
              <a:gd name="connsiteX0" fmla="*/ 2963763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963763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092200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71575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343583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675731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675731 w 4943475"/>
              <a:gd name="connsiteY5" fmla="*/ 0 h 5157788"/>
              <a:gd name="connsiteX0" fmla="*/ 2675731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675731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9672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19672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51412" h="5157788">
                <a:moveTo>
                  <a:pt x="2706687" y="0"/>
                </a:moveTo>
                <a:lnTo>
                  <a:pt x="4951412" y="0"/>
                </a:lnTo>
                <a:lnTo>
                  <a:pt x="4951412" y="5157788"/>
                </a:lnTo>
                <a:lnTo>
                  <a:pt x="0" y="5153180"/>
                </a:lnTo>
                <a:cubicBezTo>
                  <a:pt x="84411" y="4542509"/>
                  <a:pt x="183041" y="4024723"/>
                  <a:pt x="1243508" y="2562613"/>
                </a:cubicBezTo>
                <a:cubicBezTo>
                  <a:pt x="1867447" y="1704780"/>
                  <a:pt x="2665955" y="709265"/>
                  <a:pt x="2706687" y="0"/>
                </a:cubicBezTo>
                <a:close/>
              </a:path>
            </a:pathLst>
          </a:custGeom>
          <a:solidFill>
            <a:schemeClr val="bg2"/>
          </a:solidFill>
          <a:ln w="3175">
            <a:noFill/>
          </a:ln>
        </p:spPr>
        <p:txBody>
          <a:bodyPr tIns="720000" rtlCol="0" anchor="ctr">
            <a:noAutofit/>
          </a:bodyPr>
          <a:lstStyle>
            <a:lvl1pPr algn="ctr">
              <a:defRPr sz="1500">
                <a:solidFill>
                  <a:schemeClr val="bg1"/>
                </a:solidFill>
              </a:defRPr>
            </a:lvl1pPr>
          </a:lstStyle>
          <a:p>
            <a:pPr lvl="0"/>
            <a:r>
              <a:rPr lang="en-US" noProof="0"/>
              <a:t>Click icon to add picture</a:t>
            </a:r>
          </a:p>
        </p:txBody>
      </p:sp>
      <p:sp>
        <p:nvSpPr>
          <p:cNvPr id="11" name="Espace réservé de la date 9"/>
          <p:cNvSpPr>
            <a:spLocks noGrp="1"/>
          </p:cNvSpPr>
          <p:nvPr>
            <p:ph type="dt" sz="half" idx="20"/>
          </p:nvPr>
        </p:nvSpPr>
        <p:spPr/>
        <p:txBody>
          <a:bodyPr/>
          <a:lstStyle>
            <a:lvl1pPr>
              <a:defRPr/>
            </a:lvl1pPr>
          </a:lstStyle>
          <a:p>
            <a:pPr>
              <a:defRPr/>
            </a:pPr>
            <a:r>
              <a:rPr lang="en-US">
                <a:solidFill>
                  <a:prstClr val="white">
                    <a:alpha val="0"/>
                  </a:prstClr>
                </a:solidFill>
              </a:rPr>
              <a:t>Date</a:t>
            </a:r>
          </a:p>
        </p:txBody>
      </p:sp>
      <p:sp>
        <p:nvSpPr>
          <p:cNvPr id="12" name="Espace réservé du numéro de diapositive 10"/>
          <p:cNvSpPr>
            <a:spLocks noGrp="1"/>
          </p:cNvSpPr>
          <p:nvPr>
            <p:ph type="sldNum" sz="quarter" idx="21"/>
          </p:nvPr>
        </p:nvSpPr>
        <p:spPr/>
        <p:txBody>
          <a:bodyPr/>
          <a:lstStyle>
            <a:lvl1pPr>
              <a:defRPr sz="100">
                <a:solidFill>
                  <a:schemeClr val="bg1">
                    <a:alpha val="0"/>
                  </a:schemeClr>
                </a:solidFill>
              </a:defRPr>
            </a:lvl1pPr>
          </a:lstStyle>
          <a:p>
            <a:pPr>
              <a:defRPr/>
            </a:pPr>
            <a:r>
              <a:rPr lang="en-US">
                <a:solidFill>
                  <a:prstClr val="white">
                    <a:alpha val="0"/>
                  </a:prstClr>
                </a:solidFill>
              </a:rPr>
              <a:t>Page: </a:t>
            </a:r>
            <a:fld id="{4AF4F797-1FBC-44F9-B7CF-6A5F893B852E}" type="slidenum">
              <a:rPr lang="en-US">
                <a:solidFill>
                  <a:prstClr val="white">
                    <a:alpha val="0"/>
                  </a:prstClr>
                </a:solidFill>
              </a:rPr>
              <a:pPr>
                <a:defRPr/>
              </a:pPr>
              <a:t>‹#›</a:t>
            </a:fld>
            <a:endParaRPr lang="en-US">
              <a:solidFill>
                <a:prstClr val="white">
                  <a:alpha val="0"/>
                </a:prstClr>
              </a:solidFill>
            </a:endParaRPr>
          </a:p>
        </p:txBody>
      </p:sp>
      <p:sp>
        <p:nvSpPr>
          <p:cNvPr id="14" name="Espace réservé du pied de page 11"/>
          <p:cNvSpPr>
            <a:spLocks noGrp="1"/>
          </p:cNvSpPr>
          <p:nvPr>
            <p:ph type="ftr" sz="quarter" idx="22"/>
          </p:nvPr>
        </p:nvSpPr>
        <p:spPr>
          <a:xfrm>
            <a:off x="468313" y="523875"/>
            <a:ext cx="4824412" cy="360363"/>
          </a:xfrm>
        </p:spPr>
        <p:txBody>
          <a:bodyPr/>
          <a:lstStyle>
            <a:lvl1pPr algn="l">
              <a:defRPr sz="1800" b="0">
                <a:solidFill>
                  <a:schemeClr val="bg1"/>
                </a:solidFill>
              </a:defRPr>
            </a:lvl1pPr>
          </a:lstStyle>
          <a:p>
            <a:pPr>
              <a:defRPr/>
            </a:pPr>
            <a:r>
              <a:rPr lang="en-US">
                <a:solidFill>
                  <a:prstClr val="white"/>
                </a:solidFill>
              </a:rPr>
              <a:t>#</a:t>
            </a:r>
            <a:r>
              <a:rPr lang="en-US" err="1">
                <a:solidFill>
                  <a:prstClr val="white"/>
                </a:solidFill>
              </a:rPr>
              <a:t>vaccineswork</a:t>
            </a:r>
            <a:endParaRPr lang="en-US">
              <a:solidFill>
                <a:prstClr val="white"/>
              </a:solidFill>
            </a:endParaRPr>
          </a:p>
        </p:txBody>
      </p:sp>
    </p:spTree>
    <p:extLst>
      <p:ext uri="{BB962C8B-B14F-4D97-AF65-F5344CB8AC3E}">
        <p14:creationId xmlns:p14="http://schemas.microsoft.com/office/powerpoint/2010/main" val="43225589"/>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hank_you_2">
    <p:spTree>
      <p:nvGrpSpPr>
        <p:cNvPr id="1" name=""/>
        <p:cNvGrpSpPr/>
        <p:nvPr/>
      </p:nvGrpSpPr>
      <p:grpSpPr>
        <a:xfrm>
          <a:off x="0" y="0"/>
          <a:ext cx="0" cy="0"/>
          <a:chOff x="0" y="0"/>
          <a:chExt cx="0" cy="0"/>
        </a:xfrm>
      </p:grpSpPr>
      <p:sp>
        <p:nvSpPr>
          <p:cNvPr id="5" name="Rectangle 4"/>
          <p:cNvSpPr/>
          <p:nvPr userDrawn="1"/>
        </p:nvSpPr>
        <p:spPr bwMode="gray">
          <a:xfrm>
            <a:off x="3635375" y="5265738"/>
            <a:ext cx="5508625" cy="15922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prstClr val="white"/>
              </a:solidFill>
            </a:endParaRPr>
          </a:p>
        </p:txBody>
      </p:sp>
      <p:pic>
        <p:nvPicPr>
          <p:cNvPr id="6" name="Image 20" descr="FD_1_L254.png"/>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gray">
          <a:xfrm>
            <a:off x="0" y="0"/>
            <a:ext cx="9144000" cy="51577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7" name="Image 19" descr="Bas_couv.png"/>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gray">
          <a:xfrm>
            <a:off x="0" y="5172075"/>
            <a:ext cx="3635375" cy="16859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8" name="Rectangle 7"/>
          <p:cNvSpPr/>
          <p:nvPr userDrawn="1"/>
        </p:nvSpPr>
        <p:spPr bwMode="gray">
          <a:xfrm>
            <a:off x="3635375" y="6354763"/>
            <a:ext cx="5113338" cy="2873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p>
            <a:pPr algn="r">
              <a:defRPr/>
            </a:pPr>
            <a:r>
              <a:rPr lang="en-US" sz="1000" err="1">
                <a:solidFill>
                  <a:srgbClr val="95D600"/>
                </a:solidFill>
              </a:rPr>
              <a:t>www.gavi.org</a:t>
            </a:r>
            <a:endParaRPr lang="en-US" sz="1000">
              <a:solidFill>
                <a:srgbClr val="95D600"/>
              </a:solidFill>
            </a:endParaRPr>
          </a:p>
        </p:txBody>
      </p:sp>
      <p:cxnSp>
        <p:nvCxnSpPr>
          <p:cNvPr id="10" name="Connecteur droit 13"/>
          <p:cNvCxnSpPr/>
          <p:nvPr userDrawn="1"/>
        </p:nvCxnSpPr>
        <p:spPr bwMode="gray">
          <a:xfrm flipH="1">
            <a:off x="468313" y="3402013"/>
            <a:ext cx="2447925" cy="0"/>
          </a:xfrm>
          <a:prstGeom prst="line">
            <a:avLst/>
          </a:prstGeom>
          <a:ln w="24130">
            <a:solidFill>
              <a:schemeClr val="accent1"/>
            </a:solidFill>
          </a:ln>
        </p:spPr>
        <p:style>
          <a:lnRef idx="1">
            <a:schemeClr val="accent1"/>
          </a:lnRef>
          <a:fillRef idx="0">
            <a:schemeClr val="accent1"/>
          </a:fillRef>
          <a:effectRef idx="0">
            <a:schemeClr val="accent1"/>
          </a:effectRef>
          <a:fontRef idx="minor">
            <a:schemeClr val="tx1"/>
          </a:fontRef>
        </p:style>
      </p:cxnSp>
      <p:sp>
        <p:nvSpPr>
          <p:cNvPr id="9" name="Espace réservé du texte 8"/>
          <p:cNvSpPr>
            <a:spLocks noGrp="1"/>
          </p:cNvSpPr>
          <p:nvPr>
            <p:ph type="body" sz="quarter" idx="13"/>
          </p:nvPr>
        </p:nvSpPr>
        <p:spPr bwMode="gray">
          <a:xfrm>
            <a:off x="468314" y="1036800"/>
            <a:ext cx="4824000" cy="2242800"/>
          </a:xfrm>
        </p:spPr>
        <p:txBody>
          <a:bodyPr anchor="b"/>
          <a:lstStyle>
            <a:lvl1pPr marL="0" indent="0" algn="l">
              <a:lnSpc>
                <a:spcPct val="90000"/>
              </a:lnSpc>
              <a:buNone/>
              <a:defRPr sz="2800" b="1" cap="none" baseline="0">
                <a:solidFill>
                  <a:schemeClr val="bg1"/>
                </a:solidFill>
              </a:defRPr>
            </a:lvl1pPr>
            <a:lvl2pPr marL="0" algn="ctr">
              <a:lnSpc>
                <a:spcPct val="100000"/>
              </a:lnSpc>
              <a:spcBef>
                <a:spcPts val="6900"/>
              </a:spcBef>
              <a:defRPr sz="2000" b="1">
                <a:solidFill>
                  <a:schemeClr val="bg1"/>
                </a:solidFill>
              </a:defRPr>
            </a:lvl2pPr>
          </a:lstStyle>
          <a:p>
            <a:pPr lvl="0"/>
            <a:r>
              <a:rPr lang="en-US" noProof="0"/>
              <a:t>Click to edit Master text styles</a:t>
            </a:r>
          </a:p>
        </p:txBody>
      </p:sp>
      <p:sp>
        <p:nvSpPr>
          <p:cNvPr id="15" name="Espace réservé du texte 14"/>
          <p:cNvSpPr>
            <a:spLocks noGrp="1"/>
          </p:cNvSpPr>
          <p:nvPr>
            <p:ph type="body" sz="quarter" idx="19"/>
          </p:nvPr>
        </p:nvSpPr>
        <p:spPr bwMode="gray">
          <a:xfrm>
            <a:off x="3635376" y="6021388"/>
            <a:ext cx="5113338" cy="324000"/>
          </a:xfrm>
        </p:spPr>
        <p:txBody>
          <a:bodyPr anchor="b"/>
          <a:lstStyle>
            <a:lvl1pPr algn="r">
              <a:lnSpc>
                <a:spcPct val="100000"/>
              </a:lnSpc>
              <a:defRPr sz="1000" b="1">
                <a:solidFill>
                  <a:schemeClr val="accent3"/>
                </a:solidFill>
              </a:defRPr>
            </a:lvl1pPr>
          </a:lstStyle>
          <a:p>
            <a:pPr lvl="0"/>
            <a:r>
              <a:rPr lang="en-US" noProof="0"/>
              <a:t>Click to edit Master text styles</a:t>
            </a:r>
          </a:p>
        </p:txBody>
      </p:sp>
      <p:sp>
        <p:nvSpPr>
          <p:cNvPr id="13" name="Espace réservé pour une image  17"/>
          <p:cNvSpPr>
            <a:spLocks noGrp="1"/>
          </p:cNvSpPr>
          <p:nvPr>
            <p:ph type="pic" sz="quarter" idx="18"/>
          </p:nvPr>
        </p:nvSpPr>
        <p:spPr bwMode="gray">
          <a:xfrm>
            <a:off x="4192588" y="0"/>
            <a:ext cx="4951412" cy="5162400"/>
          </a:xfrm>
          <a:custGeom>
            <a:avLst/>
            <a:gdLst>
              <a:gd name="connsiteX0" fmla="*/ 0 w 3851275"/>
              <a:gd name="connsiteY0" fmla="*/ 0 h 5157788"/>
              <a:gd name="connsiteX1" fmla="*/ 3851275 w 3851275"/>
              <a:gd name="connsiteY1" fmla="*/ 0 h 5157788"/>
              <a:gd name="connsiteX2" fmla="*/ 3851275 w 3851275"/>
              <a:gd name="connsiteY2" fmla="*/ 5157788 h 5157788"/>
              <a:gd name="connsiteX3" fmla="*/ 0 w 3851275"/>
              <a:gd name="connsiteY3" fmla="*/ 5157788 h 5157788"/>
              <a:gd name="connsiteX4" fmla="*/ 0 w 3851275"/>
              <a:gd name="connsiteY4"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0 w 3851275"/>
              <a:gd name="connsiteY3" fmla="*/ 5157788 h 5157788"/>
              <a:gd name="connsiteX4" fmla="*/ 1692275 w 3851275"/>
              <a:gd name="connsiteY4" fmla="*/ 0 h 5157788"/>
              <a:gd name="connsiteX0" fmla="*/ 0 w 2159000"/>
              <a:gd name="connsiteY0" fmla="*/ 0 h 5157788"/>
              <a:gd name="connsiteX1" fmla="*/ 2159000 w 2159000"/>
              <a:gd name="connsiteY1" fmla="*/ 0 h 5157788"/>
              <a:gd name="connsiteX2" fmla="*/ 2159000 w 2159000"/>
              <a:gd name="connsiteY2" fmla="*/ 5157788 h 5157788"/>
              <a:gd name="connsiteX3" fmla="*/ 0 w 2159000"/>
              <a:gd name="connsiteY3" fmla="*/ 5157788 h 5157788"/>
              <a:gd name="connsiteX4" fmla="*/ 0 w 2159000"/>
              <a:gd name="connsiteY4" fmla="*/ 0 h 5157788"/>
              <a:gd name="connsiteX0" fmla="*/ 2625271 w 4784271"/>
              <a:gd name="connsiteY0" fmla="*/ 0 h 5157788"/>
              <a:gd name="connsiteX1" fmla="*/ 4784271 w 4784271"/>
              <a:gd name="connsiteY1" fmla="*/ 0 h 5157788"/>
              <a:gd name="connsiteX2" fmla="*/ 4784271 w 4784271"/>
              <a:gd name="connsiteY2" fmla="*/ 5157788 h 5157788"/>
              <a:gd name="connsiteX3" fmla="*/ 2625271 w 4784271"/>
              <a:gd name="connsiteY3" fmla="*/ 5157788 h 5157788"/>
              <a:gd name="connsiteX4" fmla="*/ 2625271 w 4784271"/>
              <a:gd name="connsiteY4" fmla="*/ 0 h 5157788"/>
              <a:gd name="connsiteX0" fmla="*/ 2625271 w 4784271"/>
              <a:gd name="connsiteY0" fmla="*/ 0 h 5157788"/>
              <a:gd name="connsiteX1" fmla="*/ 4784271 w 4784271"/>
              <a:gd name="connsiteY1" fmla="*/ 0 h 5157788"/>
              <a:gd name="connsiteX2" fmla="*/ 4784271 w 4784271"/>
              <a:gd name="connsiteY2" fmla="*/ 5157788 h 5157788"/>
              <a:gd name="connsiteX3" fmla="*/ 2625271 w 4784271"/>
              <a:gd name="connsiteY3" fmla="*/ 5157788 h 5157788"/>
              <a:gd name="connsiteX4" fmla="*/ 2625271 w 4784271"/>
              <a:gd name="connsiteY4" fmla="*/ 0 h 5157788"/>
              <a:gd name="connsiteX0" fmla="*/ 3568576 w 5727576"/>
              <a:gd name="connsiteY0" fmla="*/ 0 h 5157788"/>
              <a:gd name="connsiteX1" fmla="*/ 5727576 w 5727576"/>
              <a:gd name="connsiteY1" fmla="*/ 0 h 5157788"/>
              <a:gd name="connsiteX2" fmla="*/ 5727576 w 5727576"/>
              <a:gd name="connsiteY2" fmla="*/ 5157788 h 5157788"/>
              <a:gd name="connsiteX3" fmla="*/ 3568576 w 5727576"/>
              <a:gd name="connsiteY3" fmla="*/ 5157788 h 5157788"/>
              <a:gd name="connsiteX4" fmla="*/ 3568576 w 5727576"/>
              <a:gd name="connsiteY4" fmla="*/ 0 h 5157788"/>
              <a:gd name="connsiteX0" fmla="*/ 3306355 w 5465355"/>
              <a:gd name="connsiteY0" fmla="*/ 0 h 5157788"/>
              <a:gd name="connsiteX1" fmla="*/ 5465355 w 5465355"/>
              <a:gd name="connsiteY1" fmla="*/ 0 h 5157788"/>
              <a:gd name="connsiteX2" fmla="*/ 5465355 w 5465355"/>
              <a:gd name="connsiteY2" fmla="*/ 5157788 h 5157788"/>
              <a:gd name="connsiteX3" fmla="*/ 3306355 w 5465355"/>
              <a:gd name="connsiteY3" fmla="*/ 5157788 h 5157788"/>
              <a:gd name="connsiteX4" fmla="*/ 3306355 w 5465355"/>
              <a:gd name="connsiteY4" fmla="*/ 0 h 5157788"/>
              <a:gd name="connsiteX0" fmla="*/ 1416957 w 3575957"/>
              <a:gd name="connsiteY0" fmla="*/ 0 h 5157788"/>
              <a:gd name="connsiteX1" fmla="*/ 3575957 w 3575957"/>
              <a:gd name="connsiteY1" fmla="*/ 0 h 5157788"/>
              <a:gd name="connsiteX2" fmla="*/ 3575957 w 3575957"/>
              <a:gd name="connsiteY2" fmla="*/ 5157788 h 5157788"/>
              <a:gd name="connsiteX3" fmla="*/ 1416957 w 3575957"/>
              <a:gd name="connsiteY3" fmla="*/ 5157788 h 5157788"/>
              <a:gd name="connsiteX4" fmla="*/ 0 w 3575957"/>
              <a:gd name="connsiteY4" fmla="*/ 3339193 h 5157788"/>
              <a:gd name="connsiteX5" fmla="*/ 1416957 w 3575957"/>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6017419"/>
              <a:gd name="connsiteX1" fmla="*/ 3851275 w 3851275"/>
              <a:gd name="connsiteY1" fmla="*/ 0 h 6017419"/>
              <a:gd name="connsiteX2" fmla="*/ 3851275 w 3851275"/>
              <a:gd name="connsiteY2" fmla="*/ 5157788 h 6017419"/>
              <a:gd name="connsiteX3" fmla="*/ 1692275 w 3851275"/>
              <a:gd name="connsiteY3" fmla="*/ 5157788 h 6017419"/>
              <a:gd name="connsiteX4" fmla="*/ 0 w 3851275"/>
              <a:gd name="connsiteY4" fmla="*/ 3284984 h 6017419"/>
              <a:gd name="connsiteX5" fmla="*/ 1692275 w 3851275"/>
              <a:gd name="connsiteY5" fmla="*/ 0 h 6017419"/>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429000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429000 h 5157788"/>
              <a:gd name="connsiteX5" fmla="*/ 1710871 w 3869871"/>
              <a:gd name="connsiteY5" fmla="*/ 0 h 5157788"/>
              <a:gd name="connsiteX0" fmla="*/ 1704975 w 3863975"/>
              <a:gd name="connsiteY0" fmla="*/ 0 h 5157788"/>
              <a:gd name="connsiteX1" fmla="*/ 3863975 w 3863975"/>
              <a:gd name="connsiteY1" fmla="*/ 0 h 5157788"/>
              <a:gd name="connsiteX2" fmla="*/ 3863975 w 3863975"/>
              <a:gd name="connsiteY2" fmla="*/ 5157788 h 5157788"/>
              <a:gd name="connsiteX3" fmla="*/ 1704975 w 3863975"/>
              <a:gd name="connsiteY3" fmla="*/ 5157788 h 5157788"/>
              <a:gd name="connsiteX4" fmla="*/ 12700 w 3863975"/>
              <a:gd name="connsiteY4" fmla="*/ 3429000 h 5157788"/>
              <a:gd name="connsiteX5" fmla="*/ 1704975 w 3863975"/>
              <a:gd name="connsiteY5" fmla="*/ 0 h 5157788"/>
              <a:gd name="connsiteX0" fmla="*/ 1707243 w 3866243"/>
              <a:gd name="connsiteY0" fmla="*/ 0 h 5157788"/>
              <a:gd name="connsiteX1" fmla="*/ 3866243 w 3866243"/>
              <a:gd name="connsiteY1" fmla="*/ 0 h 5157788"/>
              <a:gd name="connsiteX2" fmla="*/ 3866243 w 3866243"/>
              <a:gd name="connsiteY2" fmla="*/ 5157788 h 5157788"/>
              <a:gd name="connsiteX3" fmla="*/ 1707243 w 3866243"/>
              <a:gd name="connsiteY3" fmla="*/ 5157788 h 5157788"/>
              <a:gd name="connsiteX4" fmla="*/ 14968 w 3866243"/>
              <a:gd name="connsiteY4" fmla="*/ 3429000 h 5157788"/>
              <a:gd name="connsiteX5" fmla="*/ 1707243 w 3866243"/>
              <a:gd name="connsiteY5" fmla="*/ 0 h 5157788"/>
              <a:gd name="connsiteX0" fmla="*/ 1130447 w 3866243"/>
              <a:gd name="connsiteY0" fmla="*/ 0 h 5157788"/>
              <a:gd name="connsiteX1" fmla="*/ 3866243 w 3866243"/>
              <a:gd name="connsiteY1" fmla="*/ 0 h 5157788"/>
              <a:gd name="connsiteX2" fmla="*/ 3866243 w 3866243"/>
              <a:gd name="connsiteY2" fmla="*/ 5157788 h 5157788"/>
              <a:gd name="connsiteX3" fmla="*/ 1707243 w 3866243"/>
              <a:gd name="connsiteY3" fmla="*/ 5157788 h 5157788"/>
              <a:gd name="connsiteX4" fmla="*/ 14968 w 3866243"/>
              <a:gd name="connsiteY4" fmla="*/ 3429000 h 5157788"/>
              <a:gd name="connsiteX5" fmla="*/ 1130447 w 3866243"/>
              <a:gd name="connsiteY5" fmla="*/ 0 h 5157788"/>
              <a:gd name="connsiteX0" fmla="*/ 2746143 w 5481939"/>
              <a:gd name="connsiteY0" fmla="*/ 0 h 5157788"/>
              <a:gd name="connsiteX1" fmla="*/ 5481939 w 5481939"/>
              <a:gd name="connsiteY1" fmla="*/ 0 h 5157788"/>
              <a:gd name="connsiteX2" fmla="*/ 5481939 w 5481939"/>
              <a:gd name="connsiteY2" fmla="*/ 5157788 h 5157788"/>
              <a:gd name="connsiteX3" fmla="*/ 585903 w 5481939"/>
              <a:gd name="connsiteY3" fmla="*/ 5153180 h 5157788"/>
              <a:gd name="connsiteX4" fmla="*/ 1630664 w 5481939"/>
              <a:gd name="connsiteY4" fmla="*/ 3429000 h 5157788"/>
              <a:gd name="connsiteX5" fmla="*/ 2746143 w 5481939"/>
              <a:gd name="connsiteY5" fmla="*/ 0 h 5157788"/>
              <a:gd name="connsiteX0" fmla="*/ 2746143 w 5481939"/>
              <a:gd name="connsiteY0" fmla="*/ 0 h 5157788"/>
              <a:gd name="connsiteX1" fmla="*/ 5481939 w 5481939"/>
              <a:gd name="connsiteY1" fmla="*/ 0 h 5157788"/>
              <a:gd name="connsiteX2" fmla="*/ 5481939 w 5481939"/>
              <a:gd name="connsiteY2" fmla="*/ 5157788 h 5157788"/>
              <a:gd name="connsiteX3" fmla="*/ 585903 w 5481939"/>
              <a:gd name="connsiteY3" fmla="*/ 5153180 h 5157788"/>
              <a:gd name="connsiteX4" fmla="*/ 1630664 w 5481939"/>
              <a:gd name="connsiteY4" fmla="*/ 3429000 h 5157788"/>
              <a:gd name="connsiteX5" fmla="*/ 2746143 w 548193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3574235 w 6310031"/>
              <a:gd name="connsiteY0" fmla="*/ 0 h 5157788"/>
              <a:gd name="connsiteX1" fmla="*/ 6310031 w 6310031"/>
              <a:gd name="connsiteY1" fmla="*/ 0 h 5157788"/>
              <a:gd name="connsiteX2" fmla="*/ 6310031 w 6310031"/>
              <a:gd name="connsiteY2" fmla="*/ 5157788 h 5157788"/>
              <a:gd name="connsiteX3" fmla="*/ 585903 w 6310031"/>
              <a:gd name="connsiteY3" fmla="*/ 5153180 h 5157788"/>
              <a:gd name="connsiteX4" fmla="*/ 1738031 w 6310031"/>
              <a:gd name="connsiteY4" fmla="*/ 3389965 h 5157788"/>
              <a:gd name="connsiteX5" fmla="*/ 3574235 w 6310031"/>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296143 w 5724128"/>
              <a:gd name="connsiteY4" fmla="*/ 3461908 h 5157788"/>
              <a:gd name="connsiteX5" fmla="*/ 2988332 w 5724128"/>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1188132 w 5760132"/>
              <a:gd name="connsiteY4" fmla="*/ 3425937 h 5157788"/>
              <a:gd name="connsiteX5" fmla="*/ 3024336 w 5760132"/>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2736304 w 5760132"/>
              <a:gd name="connsiteY4" fmla="*/ 3461908 h 5157788"/>
              <a:gd name="connsiteX5" fmla="*/ 3024336 w 5760132"/>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2736304 w 5760132"/>
              <a:gd name="connsiteY4" fmla="*/ 3461908 h 5157788"/>
              <a:gd name="connsiteX5" fmla="*/ 3024336 w 5760132"/>
              <a:gd name="connsiteY5" fmla="*/ 0 h 5157788"/>
              <a:gd name="connsiteX0" fmla="*/ 2160240 w 4896036"/>
              <a:gd name="connsiteY0" fmla="*/ 0 h 5157788"/>
              <a:gd name="connsiteX1" fmla="*/ 4896036 w 4896036"/>
              <a:gd name="connsiteY1" fmla="*/ 0 h 5157788"/>
              <a:gd name="connsiteX2" fmla="*/ 4896036 w 4896036"/>
              <a:gd name="connsiteY2" fmla="*/ 5157788 h 5157788"/>
              <a:gd name="connsiteX3" fmla="*/ 0 w 4896036"/>
              <a:gd name="connsiteY3" fmla="*/ 5153180 h 5157788"/>
              <a:gd name="connsiteX4" fmla="*/ 1872208 w 4896036"/>
              <a:gd name="connsiteY4" fmla="*/ 3461908 h 5157788"/>
              <a:gd name="connsiteX5" fmla="*/ 2160240 w 4896036"/>
              <a:gd name="connsiteY5" fmla="*/ 0 h 5157788"/>
              <a:gd name="connsiteX0" fmla="*/ 2232248 w 4968044"/>
              <a:gd name="connsiteY0" fmla="*/ 0 h 5157788"/>
              <a:gd name="connsiteX1" fmla="*/ 4968044 w 4968044"/>
              <a:gd name="connsiteY1" fmla="*/ 0 h 5157788"/>
              <a:gd name="connsiteX2" fmla="*/ 4968044 w 4968044"/>
              <a:gd name="connsiteY2" fmla="*/ 5157788 h 5157788"/>
              <a:gd name="connsiteX3" fmla="*/ 0 w 4968044"/>
              <a:gd name="connsiteY3" fmla="*/ 5153180 h 5157788"/>
              <a:gd name="connsiteX4" fmla="*/ 1944216 w 4968044"/>
              <a:gd name="connsiteY4" fmla="*/ 3461908 h 5157788"/>
              <a:gd name="connsiteX5" fmla="*/ 2232248 w 4968044"/>
              <a:gd name="connsiteY5" fmla="*/ 0 h 5157788"/>
              <a:gd name="connsiteX0" fmla="*/ 2207679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207679 w 4943475"/>
              <a:gd name="connsiteY5" fmla="*/ 0 h 5157788"/>
              <a:gd name="connsiteX0" fmla="*/ 2963763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963763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092200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71575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343583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675731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675731 w 4943475"/>
              <a:gd name="connsiteY5" fmla="*/ 0 h 5157788"/>
              <a:gd name="connsiteX0" fmla="*/ 2675731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675731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9672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19672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51412" h="5157788">
                <a:moveTo>
                  <a:pt x="2706687" y="0"/>
                </a:moveTo>
                <a:lnTo>
                  <a:pt x="4951412" y="0"/>
                </a:lnTo>
                <a:lnTo>
                  <a:pt x="4951412" y="5157788"/>
                </a:lnTo>
                <a:lnTo>
                  <a:pt x="0" y="5153180"/>
                </a:lnTo>
                <a:cubicBezTo>
                  <a:pt x="84411" y="4542509"/>
                  <a:pt x="183041" y="4024723"/>
                  <a:pt x="1243508" y="2562613"/>
                </a:cubicBezTo>
                <a:cubicBezTo>
                  <a:pt x="1867447" y="1704780"/>
                  <a:pt x="2665955" y="709265"/>
                  <a:pt x="2706687" y="0"/>
                </a:cubicBezTo>
                <a:close/>
              </a:path>
            </a:pathLst>
          </a:custGeom>
          <a:solidFill>
            <a:schemeClr val="bg2"/>
          </a:solidFill>
          <a:ln w="3175">
            <a:noFill/>
          </a:ln>
        </p:spPr>
        <p:txBody>
          <a:bodyPr tIns="720000" rtlCol="0" anchor="ctr">
            <a:noAutofit/>
          </a:bodyPr>
          <a:lstStyle>
            <a:lvl1pPr algn="ctr">
              <a:defRPr sz="1500">
                <a:solidFill>
                  <a:schemeClr val="bg1"/>
                </a:solidFill>
              </a:defRPr>
            </a:lvl1pPr>
          </a:lstStyle>
          <a:p>
            <a:pPr lvl="0"/>
            <a:r>
              <a:rPr lang="en-US" noProof="0"/>
              <a:t>Click icon to add picture</a:t>
            </a:r>
          </a:p>
        </p:txBody>
      </p:sp>
      <p:sp>
        <p:nvSpPr>
          <p:cNvPr id="11" name="Espace réservé de la date 9"/>
          <p:cNvSpPr>
            <a:spLocks noGrp="1"/>
          </p:cNvSpPr>
          <p:nvPr>
            <p:ph type="dt" sz="half" idx="20"/>
          </p:nvPr>
        </p:nvSpPr>
        <p:spPr/>
        <p:txBody>
          <a:bodyPr/>
          <a:lstStyle>
            <a:lvl1pPr>
              <a:defRPr/>
            </a:lvl1pPr>
          </a:lstStyle>
          <a:p>
            <a:pPr>
              <a:defRPr/>
            </a:pPr>
            <a:r>
              <a:rPr lang="en-US">
                <a:solidFill>
                  <a:prstClr val="white">
                    <a:alpha val="0"/>
                  </a:prstClr>
                </a:solidFill>
              </a:rPr>
              <a:t>Date</a:t>
            </a:r>
          </a:p>
        </p:txBody>
      </p:sp>
      <p:sp>
        <p:nvSpPr>
          <p:cNvPr id="12" name="Espace réservé du numéro de diapositive 10"/>
          <p:cNvSpPr>
            <a:spLocks noGrp="1"/>
          </p:cNvSpPr>
          <p:nvPr>
            <p:ph type="sldNum" sz="quarter" idx="21"/>
          </p:nvPr>
        </p:nvSpPr>
        <p:spPr/>
        <p:txBody>
          <a:bodyPr/>
          <a:lstStyle>
            <a:lvl1pPr>
              <a:defRPr sz="100">
                <a:solidFill>
                  <a:schemeClr val="bg1">
                    <a:alpha val="0"/>
                  </a:schemeClr>
                </a:solidFill>
              </a:defRPr>
            </a:lvl1pPr>
          </a:lstStyle>
          <a:p>
            <a:pPr>
              <a:defRPr/>
            </a:pPr>
            <a:r>
              <a:rPr lang="en-US">
                <a:solidFill>
                  <a:prstClr val="white">
                    <a:alpha val="0"/>
                  </a:prstClr>
                </a:solidFill>
              </a:rPr>
              <a:t>Page: </a:t>
            </a:r>
            <a:fld id="{168EB3F5-198F-4211-80D0-E690EB6CEA77}" type="slidenum">
              <a:rPr lang="en-US">
                <a:solidFill>
                  <a:prstClr val="white">
                    <a:alpha val="0"/>
                  </a:prstClr>
                </a:solidFill>
              </a:rPr>
              <a:pPr>
                <a:defRPr/>
              </a:pPr>
              <a:t>‹#›</a:t>
            </a:fld>
            <a:endParaRPr lang="en-US">
              <a:solidFill>
                <a:prstClr val="white">
                  <a:alpha val="0"/>
                </a:prstClr>
              </a:solidFill>
            </a:endParaRPr>
          </a:p>
        </p:txBody>
      </p:sp>
      <p:sp>
        <p:nvSpPr>
          <p:cNvPr id="14" name="Espace réservé du pied de page 11"/>
          <p:cNvSpPr>
            <a:spLocks noGrp="1"/>
          </p:cNvSpPr>
          <p:nvPr>
            <p:ph type="ftr" sz="quarter" idx="22"/>
          </p:nvPr>
        </p:nvSpPr>
        <p:spPr>
          <a:xfrm>
            <a:off x="468313" y="523875"/>
            <a:ext cx="4824412" cy="360363"/>
          </a:xfrm>
        </p:spPr>
        <p:txBody>
          <a:bodyPr/>
          <a:lstStyle>
            <a:lvl1pPr algn="l">
              <a:defRPr sz="1800" b="0">
                <a:solidFill>
                  <a:schemeClr val="bg1"/>
                </a:solidFill>
              </a:defRPr>
            </a:lvl1pPr>
          </a:lstStyle>
          <a:p>
            <a:pPr>
              <a:defRPr/>
            </a:pPr>
            <a:r>
              <a:rPr lang="en-US">
                <a:solidFill>
                  <a:prstClr val="white"/>
                </a:solidFill>
              </a:rPr>
              <a:t>#</a:t>
            </a:r>
            <a:r>
              <a:rPr lang="en-US" err="1">
                <a:solidFill>
                  <a:prstClr val="white"/>
                </a:solidFill>
              </a:rPr>
              <a:t>vaccineswork</a:t>
            </a:r>
            <a:endParaRPr lang="en-US">
              <a:solidFill>
                <a:prstClr val="white"/>
              </a:solidFill>
            </a:endParaRPr>
          </a:p>
        </p:txBody>
      </p:sp>
    </p:spTree>
    <p:extLst>
      <p:ext uri="{BB962C8B-B14F-4D97-AF65-F5344CB8AC3E}">
        <p14:creationId xmlns:p14="http://schemas.microsoft.com/office/powerpoint/2010/main" val="3568170886"/>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userDrawn="1">
  <p:cSld name="Text and Visual">
    <p:spTree>
      <p:nvGrpSpPr>
        <p:cNvPr id="1" name=""/>
        <p:cNvGrpSpPr/>
        <p:nvPr/>
      </p:nvGrpSpPr>
      <p:grpSpPr>
        <a:xfrm>
          <a:off x="0" y="0"/>
          <a:ext cx="0" cy="0"/>
          <a:chOff x="0" y="0"/>
          <a:chExt cx="0" cy="0"/>
        </a:xfrm>
      </p:grpSpPr>
      <p:sp>
        <p:nvSpPr>
          <p:cNvPr id="2" name="Title 1"/>
          <p:cNvSpPr>
            <a:spLocks noGrp="1"/>
          </p:cNvSpPr>
          <p:nvPr>
            <p:ph type="title"/>
          </p:nvPr>
        </p:nvSpPr>
        <p:spPr>
          <a:xfrm>
            <a:off x="973138" y="225211"/>
            <a:ext cx="7207249" cy="697999"/>
          </a:xfrm>
        </p:spPr>
        <p:txBody>
          <a:bodyPr/>
          <a:lstStyle/>
          <a:p>
            <a:r>
              <a:rPr lang="en-US"/>
              <a:t>Click to edit Master title style</a:t>
            </a:r>
          </a:p>
        </p:txBody>
      </p:sp>
      <p:sp>
        <p:nvSpPr>
          <p:cNvPr id="4" name="Content Placeholder 3"/>
          <p:cNvSpPr>
            <a:spLocks noGrp="1"/>
          </p:cNvSpPr>
          <p:nvPr>
            <p:ph sz="half" idx="2"/>
          </p:nvPr>
        </p:nvSpPr>
        <p:spPr>
          <a:xfrm>
            <a:off x="3425825" y="2302159"/>
            <a:ext cx="4754564" cy="2541673"/>
          </a:xfrm>
        </p:spPr>
        <p:txBody>
          <a:bodyPr/>
          <a:lstStyle>
            <a:lvl1pPr>
              <a:defRPr sz="1600"/>
            </a:lvl1pPr>
            <a:lvl2pPr marL="457200" indent="0">
              <a:buNone/>
              <a:defRPr sz="1600"/>
            </a:lvl2pPr>
            <a:lvl3pPr marL="914400" indent="0">
              <a:buNone/>
              <a:defRPr sz="1600"/>
            </a:lvl3pPr>
            <a:lvl4pPr marL="1371600" indent="0">
              <a:buNone/>
              <a:defRPr sz="1600"/>
            </a:lvl4pPr>
            <a:lvl5pPr marL="1828800" indent="0">
              <a:buNone/>
              <a:defRPr sz="16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p:cNvSpPr>
            <a:spLocks noGrp="1"/>
          </p:cNvSpPr>
          <p:nvPr>
            <p:ph type="pic" sz="quarter" idx="13"/>
          </p:nvPr>
        </p:nvSpPr>
        <p:spPr>
          <a:xfrm>
            <a:off x="973138" y="1247776"/>
            <a:ext cx="2300287" cy="3450384"/>
          </a:xfrm>
        </p:spPr>
        <p:txBody>
          <a:bodyPr rtlCol="0">
            <a:noAutofit/>
          </a:bodyPr>
          <a:lstStyle/>
          <a:p>
            <a:pPr lvl="0"/>
            <a:endParaRPr lang="en-US" noProof="0"/>
          </a:p>
        </p:txBody>
      </p:sp>
      <p:sp>
        <p:nvSpPr>
          <p:cNvPr id="10" name="Content Placeholder 3"/>
          <p:cNvSpPr>
            <a:spLocks noGrp="1"/>
          </p:cNvSpPr>
          <p:nvPr>
            <p:ph sz="half" idx="14"/>
          </p:nvPr>
        </p:nvSpPr>
        <p:spPr>
          <a:xfrm>
            <a:off x="3425825" y="1241426"/>
            <a:ext cx="4754564" cy="879316"/>
          </a:xfrm>
        </p:spPr>
        <p:txBody>
          <a:bodyPr/>
          <a:lstStyle>
            <a:lvl1pPr marL="0" indent="0">
              <a:buNone/>
              <a:defRPr sz="1600">
                <a:solidFill>
                  <a:srgbClr val="005CB9"/>
                </a:solidFill>
              </a:defRPr>
            </a:lvl1pPr>
            <a:lvl2pPr marL="457200" indent="0">
              <a:buNone/>
              <a:defRPr sz="1400">
                <a:solidFill>
                  <a:srgbClr val="005CB9"/>
                </a:solidFill>
              </a:defRPr>
            </a:lvl2pPr>
            <a:lvl3pPr marL="914400" indent="0">
              <a:buNone/>
              <a:defRPr sz="1400">
                <a:solidFill>
                  <a:srgbClr val="005CB9"/>
                </a:solidFill>
              </a:defRPr>
            </a:lvl3pPr>
            <a:lvl4pPr marL="1371600" indent="0">
              <a:buNone/>
              <a:defRPr sz="1400">
                <a:solidFill>
                  <a:srgbClr val="005CB9"/>
                </a:solidFill>
              </a:defRPr>
            </a:lvl4pPr>
            <a:lvl5pPr marL="1828800" indent="0">
              <a:buNone/>
              <a:defRPr sz="1400">
                <a:solidFill>
                  <a:srgbClr val="005CB9"/>
                </a:solidFill>
              </a:defRPr>
            </a:lvl5pPr>
            <a:lvl6pPr>
              <a:defRPr sz="1800"/>
            </a:lvl6pPr>
            <a:lvl7pPr>
              <a:defRPr sz="1800"/>
            </a:lvl7pPr>
            <a:lvl8pPr>
              <a:defRPr sz="1800"/>
            </a:lvl8pPr>
            <a:lvl9pPr>
              <a:defRPr sz="1800"/>
            </a:lvl9pPr>
          </a:lstStyle>
          <a:p>
            <a:pPr lvl="0"/>
            <a:r>
              <a:rPr lang="en-US"/>
              <a:t>Click to edit Master text styles</a:t>
            </a:r>
          </a:p>
        </p:txBody>
      </p:sp>
      <p:sp>
        <p:nvSpPr>
          <p:cNvPr id="6" name="Footer Placeholder 5"/>
          <p:cNvSpPr>
            <a:spLocks noGrp="1"/>
          </p:cNvSpPr>
          <p:nvPr>
            <p:ph type="ftr" sz="quarter" idx="15"/>
          </p:nvPr>
        </p:nvSpPr>
        <p:spPr/>
        <p:txBody>
          <a:bodyPr/>
          <a:lstStyle>
            <a:lvl1pPr>
              <a:defRPr/>
            </a:lvl1pPr>
          </a:lstStyle>
          <a:p>
            <a:pPr>
              <a:defRPr/>
            </a:pPr>
            <a:r>
              <a:rPr lang="en-US">
                <a:solidFill>
                  <a:srgbClr val="005CB9"/>
                </a:solidFill>
              </a:rPr>
              <a:t>Basic facts about </a:t>
            </a:r>
            <a:r>
              <a:rPr lang="en-US" err="1">
                <a:solidFill>
                  <a:srgbClr val="005CB9"/>
                </a:solidFill>
              </a:rPr>
              <a:t>Gavi</a:t>
            </a:r>
            <a:r>
              <a:rPr lang="en-US">
                <a:solidFill>
                  <a:srgbClr val="005CB9"/>
                </a:solidFill>
              </a:rPr>
              <a:t> the Vaccine Alliance</a:t>
            </a:r>
          </a:p>
        </p:txBody>
      </p:sp>
      <p:sp>
        <p:nvSpPr>
          <p:cNvPr id="7" name="Slide Number Placeholder 6"/>
          <p:cNvSpPr>
            <a:spLocks noGrp="1"/>
          </p:cNvSpPr>
          <p:nvPr>
            <p:ph type="sldNum" sz="quarter" idx="16"/>
          </p:nvPr>
        </p:nvSpPr>
        <p:spPr/>
        <p:txBody>
          <a:bodyPr/>
          <a:lstStyle>
            <a:lvl1pPr algn="ctr">
              <a:defRPr/>
            </a:lvl1pPr>
          </a:lstStyle>
          <a:p>
            <a:pPr>
              <a:defRPr/>
            </a:pPr>
            <a:fld id="{FFE8DD00-E6C1-42A5-A44D-4115350A5429}" type="slidenum">
              <a:rPr lang="en-US">
                <a:solidFill>
                  <a:srgbClr val="343434"/>
                </a:solidFill>
              </a:rPr>
              <a:pPr>
                <a:defRPr/>
              </a:pPr>
              <a:t>‹#›</a:t>
            </a:fld>
            <a:endParaRPr lang="en-US">
              <a:solidFill>
                <a:srgbClr val="343434"/>
              </a:solidFill>
            </a:endParaRPr>
          </a:p>
        </p:txBody>
      </p:sp>
    </p:spTree>
    <p:extLst>
      <p:ext uri="{BB962C8B-B14F-4D97-AF65-F5344CB8AC3E}">
        <p14:creationId xmlns:p14="http://schemas.microsoft.com/office/powerpoint/2010/main" val="302762670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ext&amp;4_Blocks_Layout">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p:txBody>
          <a:bodyPr/>
          <a:lstStyle/>
          <a:p>
            <a:r>
              <a:rPr lang="en-US" noProof="0"/>
              <a:t>TITLE</a:t>
            </a:r>
          </a:p>
        </p:txBody>
      </p:sp>
      <p:sp>
        <p:nvSpPr>
          <p:cNvPr id="10" name="Espace réservé du texte 9"/>
          <p:cNvSpPr>
            <a:spLocks noGrp="1"/>
          </p:cNvSpPr>
          <p:nvPr>
            <p:ph type="body" sz="quarter" idx="13" hasCustomPrompt="1"/>
          </p:nvPr>
        </p:nvSpPr>
        <p:spPr bwMode="gray">
          <a:xfrm>
            <a:off x="935038" y="1304924"/>
            <a:ext cx="7345362" cy="936626"/>
          </a:xfrm>
        </p:spPr>
        <p:txBody>
          <a:bodyPr/>
          <a:lstStyle/>
          <a:p>
            <a:pPr lvl="0"/>
            <a:r>
              <a:rPr lang="en-US" noProof="0"/>
              <a:t>Text level 1</a:t>
            </a:r>
          </a:p>
          <a:p>
            <a:pPr lvl="1"/>
            <a:r>
              <a:rPr lang="en-US" noProof="0"/>
              <a:t>Text level 2</a:t>
            </a:r>
          </a:p>
          <a:p>
            <a:pPr lvl="2"/>
            <a:r>
              <a:rPr lang="en-US" noProof="0"/>
              <a:t>Text level 3</a:t>
            </a:r>
          </a:p>
          <a:p>
            <a:pPr lvl="3"/>
            <a:r>
              <a:rPr lang="en-US" noProof="0"/>
              <a:t>Text level 4</a:t>
            </a:r>
          </a:p>
          <a:p>
            <a:pPr lvl="4"/>
            <a:r>
              <a:rPr lang="en-US" noProof="0"/>
              <a:t>Text level 5</a:t>
            </a:r>
          </a:p>
        </p:txBody>
      </p:sp>
      <p:sp>
        <p:nvSpPr>
          <p:cNvPr id="8" name="Espace réservé de la date 7"/>
          <p:cNvSpPr>
            <a:spLocks noGrp="1"/>
          </p:cNvSpPr>
          <p:nvPr>
            <p:ph type="dt" sz="half" idx="14"/>
          </p:nvPr>
        </p:nvSpPr>
        <p:spPr bwMode="gray"/>
        <p:txBody>
          <a:bodyPr/>
          <a:lstStyle/>
          <a:p>
            <a:r>
              <a:rPr lang="en-US" noProof="0"/>
              <a:t>Date</a:t>
            </a:r>
          </a:p>
        </p:txBody>
      </p:sp>
      <p:sp>
        <p:nvSpPr>
          <p:cNvPr id="9" name="Espace réservé du numéro de diapositive 8"/>
          <p:cNvSpPr>
            <a:spLocks noGrp="1"/>
          </p:cNvSpPr>
          <p:nvPr>
            <p:ph type="sldNum" sz="quarter" idx="15"/>
          </p:nvPr>
        </p:nvSpPr>
        <p:spPr bwMode="gray"/>
        <p:txBody>
          <a:bodyPr/>
          <a:lstStyle/>
          <a:p>
            <a:pPr algn="l"/>
            <a:fld id="{733122C9-A0B9-462F-8757-0847AD287B63}" type="slidenum">
              <a:rPr lang="en-US" noProof="0" smtClean="0"/>
              <a:pPr algn="l"/>
              <a:t>‹#›</a:t>
            </a:fld>
            <a:endParaRPr lang="en-US" noProof="0"/>
          </a:p>
        </p:txBody>
      </p:sp>
      <p:sp>
        <p:nvSpPr>
          <p:cNvPr id="11" name="Espace réservé du pied de page 10"/>
          <p:cNvSpPr>
            <a:spLocks noGrp="1"/>
          </p:cNvSpPr>
          <p:nvPr>
            <p:ph type="ftr" sz="quarter" idx="16"/>
          </p:nvPr>
        </p:nvSpPr>
        <p:spPr bwMode="gray"/>
        <p:txBody>
          <a:bodyPr/>
          <a:lstStyle/>
          <a:p>
            <a:r>
              <a:rPr lang="en-US" noProof="0"/>
              <a:t>#add your hashtag</a:t>
            </a:r>
          </a:p>
        </p:txBody>
      </p:sp>
      <p:sp>
        <p:nvSpPr>
          <p:cNvPr id="21" name="Espace réservé du texte 9"/>
          <p:cNvSpPr>
            <a:spLocks noGrp="1"/>
          </p:cNvSpPr>
          <p:nvPr>
            <p:ph type="body" sz="quarter" idx="19" hasCustomPrompt="1"/>
          </p:nvPr>
        </p:nvSpPr>
        <p:spPr bwMode="gray">
          <a:xfrm>
            <a:off x="935038" y="2241550"/>
            <a:ext cx="3564000" cy="324000"/>
          </a:xfrm>
          <a:solidFill>
            <a:schemeClr val="accent1"/>
          </a:solidFill>
          <a:ln w="9525">
            <a:solidFill>
              <a:schemeClr val="accent1"/>
            </a:solidFill>
          </a:ln>
        </p:spPr>
        <p:txBody>
          <a:bodyPr anchor="ctr" anchorCtr="0"/>
          <a:lstStyle>
            <a:lvl1pPr algn="ctr">
              <a:lnSpc>
                <a:spcPct val="100000"/>
              </a:lnSpc>
              <a:defRPr>
                <a:solidFill>
                  <a:schemeClr val="bg1"/>
                </a:solidFill>
              </a:defRPr>
            </a:lvl1pPr>
          </a:lstStyle>
          <a:p>
            <a:pPr lvl="0"/>
            <a:r>
              <a:rPr lang="en-US" noProof="0"/>
              <a:t>Text level 1</a:t>
            </a:r>
          </a:p>
        </p:txBody>
      </p:sp>
      <p:sp>
        <p:nvSpPr>
          <p:cNvPr id="22" name="Espace réservé du texte 9"/>
          <p:cNvSpPr>
            <a:spLocks noGrp="1"/>
          </p:cNvSpPr>
          <p:nvPr>
            <p:ph type="body" sz="quarter" idx="20" hasCustomPrompt="1"/>
          </p:nvPr>
        </p:nvSpPr>
        <p:spPr bwMode="gray">
          <a:xfrm>
            <a:off x="935038" y="2565550"/>
            <a:ext cx="3564000" cy="1350000"/>
          </a:xfrm>
          <a:ln w="9525">
            <a:solidFill>
              <a:schemeClr val="accent1"/>
            </a:solidFill>
          </a:ln>
        </p:spPr>
        <p:txBody>
          <a:bodyPr tIns="72000"/>
          <a:lstStyle>
            <a:lvl1pPr marL="324000" indent="-180000">
              <a:lnSpc>
                <a:spcPct val="100000"/>
              </a:lnSpc>
              <a:spcBef>
                <a:spcPts val="300"/>
              </a:spcBef>
              <a:buClr>
                <a:schemeClr val="accent3"/>
              </a:buClr>
              <a:buFont typeface="Arial" pitchFamily="34" charset="0"/>
              <a:buChar char="•"/>
              <a:defRPr sz="1800">
                <a:solidFill>
                  <a:schemeClr val="tx1"/>
                </a:solidFill>
              </a:defRPr>
            </a:lvl1pPr>
            <a:lvl2pPr marL="504000">
              <a:buClr>
                <a:schemeClr val="tx1"/>
              </a:buClr>
              <a:defRPr sz="1600" b="0"/>
            </a:lvl2pPr>
            <a:lvl3pPr indent="0">
              <a:buNone/>
              <a:defRPr/>
            </a:lvl3pPr>
            <a:lvl4pPr marL="684000" indent="-180000">
              <a:buClr>
                <a:schemeClr val="tx1"/>
              </a:buClr>
              <a:buFont typeface="Arial" pitchFamily="34" charset="0"/>
              <a:buChar char="•"/>
              <a:defRPr sz="1400"/>
            </a:lvl4pPr>
          </a:lstStyle>
          <a:p>
            <a:pPr lvl="0"/>
            <a:r>
              <a:rPr lang="en-US" noProof="0"/>
              <a:t>Text level 2</a:t>
            </a:r>
          </a:p>
          <a:p>
            <a:pPr lvl="1"/>
            <a:r>
              <a:rPr lang="en-US" noProof="0"/>
              <a:t>Text level 3</a:t>
            </a:r>
          </a:p>
          <a:p>
            <a:pPr lvl="2"/>
            <a:r>
              <a:rPr lang="en-US" noProof="0"/>
              <a:t>Text level 4</a:t>
            </a:r>
          </a:p>
          <a:p>
            <a:pPr lvl="3"/>
            <a:r>
              <a:rPr lang="en-US" noProof="0"/>
              <a:t>Text level 5</a:t>
            </a:r>
          </a:p>
        </p:txBody>
      </p:sp>
      <p:sp>
        <p:nvSpPr>
          <p:cNvPr id="23" name="Espace réservé du texte 9"/>
          <p:cNvSpPr>
            <a:spLocks noGrp="1"/>
          </p:cNvSpPr>
          <p:nvPr>
            <p:ph type="body" sz="quarter" idx="21" hasCustomPrompt="1"/>
          </p:nvPr>
        </p:nvSpPr>
        <p:spPr bwMode="gray">
          <a:xfrm>
            <a:off x="4716400" y="2241550"/>
            <a:ext cx="3564000" cy="324000"/>
          </a:xfrm>
          <a:solidFill>
            <a:schemeClr val="accent2"/>
          </a:solidFill>
          <a:ln w="9525">
            <a:solidFill>
              <a:schemeClr val="accent2"/>
            </a:solidFill>
          </a:ln>
        </p:spPr>
        <p:txBody>
          <a:bodyPr anchor="ctr" anchorCtr="0"/>
          <a:lstStyle>
            <a:lvl1pPr algn="ctr">
              <a:lnSpc>
                <a:spcPct val="100000"/>
              </a:lnSpc>
              <a:defRPr>
                <a:solidFill>
                  <a:schemeClr val="bg1"/>
                </a:solidFill>
              </a:defRPr>
            </a:lvl1pPr>
          </a:lstStyle>
          <a:p>
            <a:pPr lvl="0"/>
            <a:r>
              <a:rPr lang="en-US" noProof="0"/>
              <a:t>Text level 1</a:t>
            </a:r>
          </a:p>
        </p:txBody>
      </p:sp>
      <p:sp>
        <p:nvSpPr>
          <p:cNvPr id="24" name="Espace réservé du texte 9"/>
          <p:cNvSpPr>
            <a:spLocks noGrp="1"/>
          </p:cNvSpPr>
          <p:nvPr>
            <p:ph type="body" sz="quarter" idx="22" hasCustomPrompt="1"/>
          </p:nvPr>
        </p:nvSpPr>
        <p:spPr bwMode="gray">
          <a:xfrm>
            <a:off x="4716400" y="2565550"/>
            <a:ext cx="3564000" cy="1350000"/>
          </a:xfrm>
          <a:ln w="9525">
            <a:solidFill>
              <a:schemeClr val="accent2"/>
            </a:solidFill>
          </a:ln>
        </p:spPr>
        <p:txBody>
          <a:bodyPr tIns="72000"/>
          <a:lstStyle>
            <a:lvl1pPr marL="324000" indent="-180000">
              <a:lnSpc>
                <a:spcPct val="100000"/>
              </a:lnSpc>
              <a:spcBef>
                <a:spcPts val="300"/>
              </a:spcBef>
              <a:buClr>
                <a:schemeClr val="accent3"/>
              </a:buClr>
              <a:buFont typeface="Arial" pitchFamily="34" charset="0"/>
              <a:buChar char="•"/>
              <a:defRPr sz="1800">
                <a:solidFill>
                  <a:schemeClr val="tx1"/>
                </a:solidFill>
              </a:defRPr>
            </a:lvl1pPr>
            <a:lvl2pPr marL="504000">
              <a:buClr>
                <a:schemeClr val="tx1"/>
              </a:buClr>
              <a:defRPr sz="1600" b="0"/>
            </a:lvl2pPr>
            <a:lvl3pPr indent="0">
              <a:buNone/>
              <a:defRPr/>
            </a:lvl3pPr>
            <a:lvl4pPr marL="684000" indent="-180000">
              <a:buClr>
                <a:schemeClr val="tx1"/>
              </a:buClr>
              <a:buFont typeface="Arial" pitchFamily="34" charset="0"/>
              <a:buChar char="•"/>
              <a:defRPr sz="1400"/>
            </a:lvl4pPr>
          </a:lstStyle>
          <a:p>
            <a:pPr lvl="0"/>
            <a:r>
              <a:rPr lang="en-US" noProof="0"/>
              <a:t>Text level 2</a:t>
            </a:r>
          </a:p>
          <a:p>
            <a:pPr lvl="1"/>
            <a:r>
              <a:rPr lang="en-US" noProof="0"/>
              <a:t>Text level 3</a:t>
            </a:r>
          </a:p>
          <a:p>
            <a:pPr lvl="2"/>
            <a:r>
              <a:rPr lang="en-US" noProof="0"/>
              <a:t>Text level 4</a:t>
            </a:r>
          </a:p>
          <a:p>
            <a:pPr lvl="3"/>
            <a:r>
              <a:rPr lang="en-US" noProof="0"/>
              <a:t>Text level 5</a:t>
            </a:r>
          </a:p>
        </p:txBody>
      </p:sp>
      <p:sp>
        <p:nvSpPr>
          <p:cNvPr id="25" name="Espace réservé du texte 9"/>
          <p:cNvSpPr>
            <a:spLocks noGrp="1"/>
          </p:cNvSpPr>
          <p:nvPr>
            <p:ph type="body" sz="quarter" idx="23" hasCustomPrompt="1"/>
          </p:nvPr>
        </p:nvSpPr>
        <p:spPr bwMode="gray">
          <a:xfrm>
            <a:off x="935038" y="4131488"/>
            <a:ext cx="3564000" cy="324000"/>
          </a:xfrm>
          <a:solidFill>
            <a:schemeClr val="accent3"/>
          </a:solidFill>
          <a:ln w="9525">
            <a:solidFill>
              <a:schemeClr val="accent3"/>
            </a:solidFill>
          </a:ln>
        </p:spPr>
        <p:txBody>
          <a:bodyPr anchor="ctr" anchorCtr="0"/>
          <a:lstStyle>
            <a:lvl1pPr algn="ctr">
              <a:lnSpc>
                <a:spcPct val="100000"/>
              </a:lnSpc>
              <a:defRPr>
                <a:solidFill>
                  <a:schemeClr val="bg1"/>
                </a:solidFill>
              </a:defRPr>
            </a:lvl1pPr>
          </a:lstStyle>
          <a:p>
            <a:pPr lvl="0"/>
            <a:r>
              <a:rPr lang="en-US" noProof="0"/>
              <a:t>Text level 1</a:t>
            </a:r>
          </a:p>
        </p:txBody>
      </p:sp>
      <p:sp>
        <p:nvSpPr>
          <p:cNvPr id="26" name="Espace réservé du texte 9"/>
          <p:cNvSpPr>
            <a:spLocks noGrp="1"/>
          </p:cNvSpPr>
          <p:nvPr>
            <p:ph type="body" sz="quarter" idx="24" hasCustomPrompt="1"/>
          </p:nvPr>
        </p:nvSpPr>
        <p:spPr bwMode="gray">
          <a:xfrm>
            <a:off x="935038" y="4455488"/>
            <a:ext cx="3564000" cy="1350000"/>
          </a:xfrm>
          <a:ln w="9525">
            <a:solidFill>
              <a:schemeClr val="accent3"/>
            </a:solidFill>
          </a:ln>
        </p:spPr>
        <p:txBody>
          <a:bodyPr tIns="72000"/>
          <a:lstStyle>
            <a:lvl1pPr marL="324000" indent="-180000">
              <a:lnSpc>
                <a:spcPct val="100000"/>
              </a:lnSpc>
              <a:spcBef>
                <a:spcPts val="300"/>
              </a:spcBef>
              <a:buClr>
                <a:schemeClr val="accent3"/>
              </a:buClr>
              <a:buFont typeface="Arial" pitchFamily="34" charset="0"/>
              <a:buChar char="•"/>
              <a:defRPr sz="1800">
                <a:solidFill>
                  <a:schemeClr val="tx1"/>
                </a:solidFill>
              </a:defRPr>
            </a:lvl1pPr>
            <a:lvl2pPr marL="504000">
              <a:buClr>
                <a:schemeClr val="tx1"/>
              </a:buClr>
              <a:defRPr sz="1600" b="0"/>
            </a:lvl2pPr>
            <a:lvl3pPr indent="0">
              <a:buNone/>
              <a:defRPr/>
            </a:lvl3pPr>
            <a:lvl4pPr marL="684000" indent="-180000">
              <a:buClr>
                <a:schemeClr val="tx1"/>
              </a:buClr>
              <a:buFont typeface="Arial" pitchFamily="34" charset="0"/>
              <a:buChar char="•"/>
              <a:defRPr sz="1400"/>
            </a:lvl4pPr>
          </a:lstStyle>
          <a:p>
            <a:pPr lvl="0"/>
            <a:r>
              <a:rPr lang="en-US" noProof="0"/>
              <a:t>Text level 2</a:t>
            </a:r>
          </a:p>
          <a:p>
            <a:pPr lvl="1"/>
            <a:r>
              <a:rPr lang="en-US" noProof="0"/>
              <a:t>Text level 3</a:t>
            </a:r>
          </a:p>
          <a:p>
            <a:pPr lvl="2"/>
            <a:r>
              <a:rPr lang="en-US" noProof="0"/>
              <a:t>Text level 4</a:t>
            </a:r>
          </a:p>
          <a:p>
            <a:pPr lvl="3"/>
            <a:r>
              <a:rPr lang="en-US" noProof="0"/>
              <a:t>Text level 5</a:t>
            </a:r>
          </a:p>
        </p:txBody>
      </p:sp>
      <p:sp>
        <p:nvSpPr>
          <p:cNvPr id="27" name="Espace réservé du texte 9"/>
          <p:cNvSpPr>
            <a:spLocks noGrp="1"/>
          </p:cNvSpPr>
          <p:nvPr>
            <p:ph type="body" sz="quarter" idx="25" hasCustomPrompt="1"/>
          </p:nvPr>
        </p:nvSpPr>
        <p:spPr bwMode="gray">
          <a:xfrm>
            <a:off x="4716400" y="4131488"/>
            <a:ext cx="3564000" cy="324000"/>
          </a:xfrm>
          <a:solidFill>
            <a:schemeClr val="bg2"/>
          </a:solidFill>
          <a:ln w="9525">
            <a:solidFill>
              <a:schemeClr val="bg2"/>
            </a:solidFill>
          </a:ln>
        </p:spPr>
        <p:txBody>
          <a:bodyPr anchor="ctr" anchorCtr="0"/>
          <a:lstStyle>
            <a:lvl1pPr algn="ctr">
              <a:lnSpc>
                <a:spcPct val="100000"/>
              </a:lnSpc>
              <a:defRPr>
                <a:solidFill>
                  <a:schemeClr val="bg1"/>
                </a:solidFill>
              </a:defRPr>
            </a:lvl1pPr>
          </a:lstStyle>
          <a:p>
            <a:pPr lvl="0"/>
            <a:r>
              <a:rPr lang="en-US" noProof="0"/>
              <a:t>Text level 1</a:t>
            </a:r>
          </a:p>
        </p:txBody>
      </p:sp>
      <p:sp>
        <p:nvSpPr>
          <p:cNvPr id="28" name="Espace réservé du texte 9"/>
          <p:cNvSpPr>
            <a:spLocks noGrp="1"/>
          </p:cNvSpPr>
          <p:nvPr>
            <p:ph type="body" sz="quarter" idx="26" hasCustomPrompt="1"/>
          </p:nvPr>
        </p:nvSpPr>
        <p:spPr bwMode="gray">
          <a:xfrm>
            <a:off x="4716400" y="4455488"/>
            <a:ext cx="3564000" cy="1350000"/>
          </a:xfrm>
          <a:ln w="9525">
            <a:solidFill>
              <a:schemeClr val="bg2"/>
            </a:solidFill>
          </a:ln>
        </p:spPr>
        <p:txBody>
          <a:bodyPr tIns="72000"/>
          <a:lstStyle>
            <a:lvl1pPr marL="324000" indent="-180000">
              <a:lnSpc>
                <a:spcPct val="100000"/>
              </a:lnSpc>
              <a:spcBef>
                <a:spcPts val="300"/>
              </a:spcBef>
              <a:buClr>
                <a:schemeClr val="accent3"/>
              </a:buClr>
              <a:buFont typeface="Arial" pitchFamily="34" charset="0"/>
              <a:buChar char="•"/>
              <a:defRPr sz="1800">
                <a:solidFill>
                  <a:schemeClr val="tx1"/>
                </a:solidFill>
              </a:defRPr>
            </a:lvl1pPr>
            <a:lvl2pPr marL="504000">
              <a:buClr>
                <a:schemeClr val="tx1"/>
              </a:buClr>
              <a:defRPr sz="1600" b="0"/>
            </a:lvl2pPr>
            <a:lvl3pPr indent="0">
              <a:buNone/>
              <a:defRPr/>
            </a:lvl3pPr>
            <a:lvl4pPr marL="684000" indent="-180000">
              <a:buClr>
                <a:schemeClr val="tx1"/>
              </a:buClr>
              <a:buFont typeface="Arial" pitchFamily="34" charset="0"/>
              <a:buChar char="•"/>
              <a:defRPr sz="1400"/>
            </a:lvl4pPr>
          </a:lstStyle>
          <a:p>
            <a:pPr lvl="0"/>
            <a:r>
              <a:rPr lang="en-US" noProof="0"/>
              <a:t>Text level 2</a:t>
            </a:r>
          </a:p>
          <a:p>
            <a:pPr lvl="1"/>
            <a:r>
              <a:rPr lang="en-US" noProof="0"/>
              <a:t>Text level 3</a:t>
            </a:r>
          </a:p>
          <a:p>
            <a:pPr lvl="2"/>
            <a:r>
              <a:rPr lang="en-US" noProof="0"/>
              <a:t>Text level 4</a:t>
            </a:r>
          </a:p>
          <a:p>
            <a:pPr lvl="3"/>
            <a:r>
              <a:rPr lang="en-US" noProof="0"/>
              <a:t>Text level 5</a:t>
            </a:r>
          </a:p>
        </p:txBody>
      </p:sp>
    </p:spTree>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userDrawn="1">
  <p:cSld name="Text&amp;4_Blocks_Layout">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p:txBody>
          <a:bodyPr/>
          <a:lstStyle/>
          <a:p>
            <a:r>
              <a:rPr lang="en-GB" noProof="0"/>
              <a:t>TITLE</a:t>
            </a:r>
          </a:p>
        </p:txBody>
      </p:sp>
      <p:sp>
        <p:nvSpPr>
          <p:cNvPr id="10" name="Espace réservé du texte 9"/>
          <p:cNvSpPr>
            <a:spLocks noGrp="1"/>
          </p:cNvSpPr>
          <p:nvPr>
            <p:ph type="body" sz="quarter" idx="13" hasCustomPrompt="1"/>
          </p:nvPr>
        </p:nvSpPr>
        <p:spPr bwMode="gray">
          <a:xfrm>
            <a:off x="935038" y="1304924"/>
            <a:ext cx="7345362" cy="936626"/>
          </a:xfrm>
        </p:spPr>
        <p:txBody>
          <a:body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8" name="Espace réservé de la date 7"/>
          <p:cNvSpPr>
            <a:spLocks noGrp="1"/>
          </p:cNvSpPr>
          <p:nvPr>
            <p:ph type="dt" sz="half" idx="14"/>
          </p:nvPr>
        </p:nvSpPr>
        <p:spPr bwMode="gray"/>
        <p:txBody>
          <a:bodyPr/>
          <a:lstStyle/>
          <a:p>
            <a:r>
              <a:rPr lang="en-US">
                <a:solidFill>
                  <a:prstClr val="white">
                    <a:alpha val="0"/>
                  </a:prstClr>
                </a:solidFill>
              </a:rPr>
              <a:t>Date</a:t>
            </a:r>
            <a:endParaRPr lang="en-GB">
              <a:solidFill>
                <a:prstClr val="white">
                  <a:alpha val="0"/>
                </a:prstClr>
              </a:solidFill>
            </a:endParaRPr>
          </a:p>
        </p:txBody>
      </p:sp>
      <p:sp>
        <p:nvSpPr>
          <p:cNvPr id="9" name="Espace réservé du numéro de diapositive 8"/>
          <p:cNvSpPr>
            <a:spLocks noGrp="1"/>
          </p:cNvSpPr>
          <p:nvPr>
            <p:ph type="sldNum" sz="quarter" idx="15"/>
          </p:nvPr>
        </p:nvSpPr>
        <p:spPr bwMode="gray"/>
        <p:txBody>
          <a:bodyPr/>
          <a:lstStyle/>
          <a:p>
            <a:fld id="{733122C9-A0B9-462F-8757-0847AD287B63}" type="slidenum">
              <a:rPr lang="en-GB" smtClean="0">
                <a:solidFill>
                  <a:srgbClr val="343434"/>
                </a:solidFill>
              </a:rPr>
              <a:pPr/>
              <a:t>‹#›</a:t>
            </a:fld>
            <a:endParaRPr lang="en-GB">
              <a:solidFill>
                <a:srgbClr val="343434"/>
              </a:solidFill>
            </a:endParaRPr>
          </a:p>
        </p:txBody>
      </p:sp>
      <p:sp>
        <p:nvSpPr>
          <p:cNvPr id="11" name="Espace réservé du pied de page 10"/>
          <p:cNvSpPr>
            <a:spLocks noGrp="1"/>
          </p:cNvSpPr>
          <p:nvPr>
            <p:ph type="ftr" sz="quarter" idx="16"/>
          </p:nvPr>
        </p:nvSpPr>
        <p:spPr bwMode="gray"/>
        <p:txBody>
          <a:bodyPr/>
          <a:lstStyle/>
          <a:p>
            <a:r>
              <a:rPr lang="en-GB">
                <a:solidFill>
                  <a:srgbClr val="005CB9"/>
                </a:solidFill>
              </a:rPr>
              <a:t>#vaccineswork</a:t>
            </a:r>
          </a:p>
        </p:txBody>
      </p:sp>
      <p:sp>
        <p:nvSpPr>
          <p:cNvPr id="21" name="Espace réservé du texte 9"/>
          <p:cNvSpPr>
            <a:spLocks noGrp="1"/>
          </p:cNvSpPr>
          <p:nvPr>
            <p:ph type="body" sz="quarter" idx="19" hasCustomPrompt="1"/>
          </p:nvPr>
        </p:nvSpPr>
        <p:spPr bwMode="gray">
          <a:xfrm>
            <a:off x="935038" y="2241550"/>
            <a:ext cx="3564000" cy="324000"/>
          </a:xfrm>
          <a:solidFill>
            <a:schemeClr val="accent1"/>
          </a:solidFill>
          <a:ln w="9525">
            <a:solidFill>
              <a:schemeClr val="accent1"/>
            </a:solidFill>
          </a:ln>
        </p:spPr>
        <p:txBody>
          <a:bodyPr anchor="ctr" anchorCtr="0"/>
          <a:lstStyle>
            <a:lvl1pPr algn="ctr">
              <a:lnSpc>
                <a:spcPct val="100000"/>
              </a:lnSpc>
              <a:defRPr>
                <a:solidFill>
                  <a:schemeClr val="bg1"/>
                </a:solidFill>
              </a:defRPr>
            </a:lvl1pPr>
          </a:lstStyle>
          <a:p>
            <a:pPr lvl="0"/>
            <a:r>
              <a:rPr lang="en-GB" noProof="0"/>
              <a:t>Text level 1</a:t>
            </a:r>
          </a:p>
        </p:txBody>
      </p:sp>
      <p:sp>
        <p:nvSpPr>
          <p:cNvPr id="22" name="Espace réservé du texte 9"/>
          <p:cNvSpPr>
            <a:spLocks noGrp="1"/>
          </p:cNvSpPr>
          <p:nvPr>
            <p:ph type="body" sz="quarter" idx="20" hasCustomPrompt="1"/>
          </p:nvPr>
        </p:nvSpPr>
        <p:spPr bwMode="gray">
          <a:xfrm>
            <a:off x="935038" y="2565550"/>
            <a:ext cx="3564000" cy="1350000"/>
          </a:xfrm>
          <a:ln w="9525">
            <a:solidFill>
              <a:schemeClr val="accent1"/>
            </a:solidFill>
          </a:ln>
        </p:spPr>
        <p:txBody>
          <a:bodyPr tIns="72000"/>
          <a:lstStyle>
            <a:lvl1pPr marL="324000" indent="-180000">
              <a:lnSpc>
                <a:spcPct val="100000"/>
              </a:lnSpc>
              <a:spcBef>
                <a:spcPts val="300"/>
              </a:spcBef>
              <a:buClr>
                <a:schemeClr val="accent3"/>
              </a:buClr>
              <a:buFont typeface="Arial" pitchFamily="34" charset="0"/>
              <a:buChar char="•"/>
              <a:defRPr sz="1800">
                <a:solidFill>
                  <a:schemeClr val="tx1"/>
                </a:solidFill>
              </a:defRPr>
            </a:lvl1pPr>
            <a:lvl2pPr marL="504000">
              <a:buClr>
                <a:schemeClr val="tx1"/>
              </a:buClr>
              <a:defRPr sz="1600" b="0"/>
            </a:lvl2pPr>
            <a:lvl3pPr indent="0">
              <a:buNone/>
              <a:defRPr/>
            </a:lvl3pPr>
            <a:lvl4pPr marL="684000" indent="-180000">
              <a:buClr>
                <a:schemeClr val="tx1"/>
              </a:buClr>
              <a:buFont typeface="Arial" pitchFamily="34" charset="0"/>
              <a:buChar char="•"/>
              <a:defRPr sz="1400"/>
            </a:lvl4pPr>
          </a:lstStyle>
          <a:p>
            <a:pPr lvl="0"/>
            <a:r>
              <a:rPr lang="en-GB" noProof="0"/>
              <a:t>Text level 2</a:t>
            </a:r>
          </a:p>
          <a:p>
            <a:pPr lvl="1"/>
            <a:r>
              <a:rPr lang="en-GB" noProof="0"/>
              <a:t>Text level 3</a:t>
            </a:r>
          </a:p>
          <a:p>
            <a:pPr lvl="2"/>
            <a:r>
              <a:rPr lang="en-GB" noProof="0"/>
              <a:t>Text level 4</a:t>
            </a:r>
          </a:p>
          <a:p>
            <a:pPr lvl="3"/>
            <a:r>
              <a:rPr lang="en-GB" noProof="0"/>
              <a:t>Text level 5</a:t>
            </a:r>
          </a:p>
        </p:txBody>
      </p:sp>
      <p:sp>
        <p:nvSpPr>
          <p:cNvPr id="23" name="Espace réservé du texte 9"/>
          <p:cNvSpPr>
            <a:spLocks noGrp="1"/>
          </p:cNvSpPr>
          <p:nvPr>
            <p:ph type="body" sz="quarter" idx="21" hasCustomPrompt="1"/>
          </p:nvPr>
        </p:nvSpPr>
        <p:spPr bwMode="gray">
          <a:xfrm>
            <a:off x="4716400" y="2241550"/>
            <a:ext cx="3564000" cy="324000"/>
          </a:xfrm>
          <a:solidFill>
            <a:schemeClr val="accent2"/>
          </a:solidFill>
          <a:ln w="9525">
            <a:solidFill>
              <a:schemeClr val="accent2"/>
            </a:solidFill>
          </a:ln>
        </p:spPr>
        <p:txBody>
          <a:bodyPr anchor="ctr" anchorCtr="0"/>
          <a:lstStyle>
            <a:lvl1pPr algn="ctr">
              <a:lnSpc>
                <a:spcPct val="100000"/>
              </a:lnSpc>
              <a:defRPr>
                <a:solidFill>
                  <a:schemeClr val="bg1"/>
                </a:solidFill>
              </a:defRPr>
            </a:lvl1pPr>
          </a:lstStyle>
          <a:p>
            <a:pPr lvl="0"/>
            <a:r>
              <a:rPr lang="en-GB" noProof="0"/>
              <a:t>Text level 1</a:t>
            </a:r>
          </a:p>
        </p:txBody>
      </p:sp>
      <p:sp>
        <p:nvSpPr>
          <p:cNvPr id="24" name="Espace réservé du texte 9"/>
          <p:cNvSpPr>
            <a:spLocks noGrp="1"/>
          </p:cNvSpPr>
          <p:nvPr>
            <p:ph type="body" sz="quarter" idx="22" hasCustomPrompt="1"/>
          </p:nvPr>
        </p:nvSpPr>
        <p:spPr bwMode="gray">
          <a:xfrm>
            <a:off x="4716400" y="2565550"/>
            <a:ext cx="3564000" cy="1350000"/>
          </a:xfrm>
          <a:ln w="9525">
            <a:solidFill>
              <a:schemeClr val="accent2"/>
            </a:solidFill>
          </a:ln>
        </p:spPr>
        <p:txBody>
          <a:bodyPr tIns="72000"/>
          <a:lstStyle>
            <a:lvl1pPr marL="324000" indent="-180000">
              <a:lnSpc>
                <a:spcPct val="100000"/>
              </a:lnSpc>
              <a:spcBef>
                <a:spcPts val="300"/>
              </a:spcBef>
              <a:buClr>
                <a:schemeClr val="accent3"/>
              </a:buClr>
              <a:buFont typeface="Arial" pitchFamily="34" charset="0"/>
              <a:buChar char="•"/>
              <a:defRPr sz="1800">
                <a:solidFill>
                  <a:schemeClr val="tx1"/>
                </a:solidFill>
              </a:defRPr>
            </a:lvl1pPr>
            <a:lvl2pPr marL="504000">
              <a:buClr>
                <a:schemeClr val="tx1"/>
              </a:buClr>
              <a:defRPr sz="1600" b="0"/>
            </a:lvl2pPr>
            <a:lvl3pPr indent="0">
              <a:buNone/>
              <a:defRPr/>
            </a:lvl3pPr>
            <a:lvl4pPr marL="684000" indent="-180000">
              <a:buClr>
                <a:schemeClr val="tx1"/>
              </a:buClr>
              <a:buFont typeface="Arial" pitchFamily="34" charset="0"/>
              <a:buChar char="•"/>
              <a:defRPr sz="1400"/>
            </a:lvl4pPr>
          </a:lstStyle>
          <a:p>
            <a:pPr lvl="0"/>
            <a:r>
              <a:rPr lang="en-GB" noProof="0"/>
              <a:t>Text level 2</a:t>
            </a:r>
          </a:p>
          <a:p>
            <a:pPr lvl="1"/>
            <a:r>
              <a:rPr lang="en-GB" noProof="0"/>
              <a:t>Text level 3</a:t>
            </a:r>
          </a:p>
          <a:p>
            <a:pPr lvl="2"/>
            <a:r>
              <a:rPr lang="en-GB" noProof="0"/>
              <a:t>Text level 4</a:t>
            </a:r>
          </a:p>
          <a:p>
            <a:pPr lvl="3"/>
            <a:r>
              <a:rPr lang="en-GB" noProof="0"/>
              <a:t>Text level 5</a:t>
            </a:r>
          </a:p>
        </p:txBody>
      </p:sp>
      <p:sp>
        <p:nvSpPr>
          <p:cNvPr id="25" name="Espace réservé du texte 9"/>
          <p:cNvSpPr>
            <a:spLocks noGrp="1"/>
          </p:cNvSpPr>
          <p:nvPr>
            <p:ph type="body" sz="quarter" idx="23" hasCustomPrompt="1"/>
          </p:nvPr>
        </p:nvSpPr>
        <p:spPr bwMode="gray">
          <a:xfrm>
            <a:off x="935038" y="4131488"/>
            <a:ext cx="3564000" cy="324000"/>
          </a:xfrm>
          <a:solidFill>
            <a:schemeClr val="accent3"/>
          </a:solidFill>
          <a:ln w="9525">
            <a:solidFill>
              <a:schemeClr val="accent3"/>
            </a:solidFill>
          </a:ln>
        </p:spPr>
        <p:txBody>
          <a:bodyPr anchor="ctr" anchorCtr="0"/>
          <a:lstStyle>
            <a:lvl1pPr algn="ctr">
              <a:lnSpc>
                <a:spcPct val="100000"/>
              </a:lnSpc>
              <a:defRPr>
                <a:solidFill>
                  <a:schemeClr val="bg1"/>
                </a:solidFill>
              </a:defRPr>
            </a:lvl1pPr>
          </a:lstStyle>
          <a:p>
            <a:pPr lvl="0"/>
            <a:r>
              <a:rPr lang="en-GB" noProof="0"/>
              <a:t>Text level 1</a:t>
            </a:r>
          </a:p>
        </p:txBody>
      </p:sp>
      <p:sp>
        <p:nvSpPr>
          <p:cNvPr id="26" name="Espace réservé du texte 9"/>
          <p:cNvSpPr>
            <a:spLocks noGrp="1"/>
          </p:cNvSpPr>
          <p:nvPr>
            <p:ph type="body" sz="quarter" idx="24" hasCustomPrompt="1"/>
          </p:nvPr>
        </p:nvSpPr>
        <p:spPr bwMode="gray">
          <a:xfrm>
            <a:off x="935038" y="4455488"/>
            <a:ext cx="3564000" cy="1350000"/>
          </a:xfrm>
          <a:ln w="9525">
            <a:solidFill>
              <a:schemeClr val="accent3"/>
            </a:solidFill>
          </a:ln>
        </p:spPr>
        <p:txBody>
          <a:bodyPr tIns="72000"/>
          <a:lstStyle>
            <a:lvl1pPr marL="324000" indent="-180000">
              <a:lnSpc>
                <a:spcPct val="100000"/>
              </a:lnSpc>
              <a:spcBef>
                <a:spcPts val="300"/>
              </a:spcBef>
              <a:buClr>
                <a:schemeClr val="accent3"/>
              </a:buClr>
              <a:buFont typeface="Arial" pitchFamily="34" charset="0"/>
              <a:buChar char="•"/>
              <a:defRPr sz="1800">
                <a:solidFill>
                  <a:schemeClr val="tx1"/>
                </a:solidFill>
              </a:defRPr>
            </a:lvl1pPr>
            <a:lvl2pPr marL="504000">
              <a:buClr>
                <a:schemeClr val="tx1"/>
              </a:buClr>
              <a:defRPr sz="1600" b="0"/>
            </a:lvl2pPr>
            <a:lvl3pPr indent="0">
              <a:buNone/>
              <a:defRPr/>
            </a:lvl3pPr>
            <a:lvl4pPr marL="684000" indent="-180000">
              <a:buClr>
                <a:schemeClr val="tx1"/>
              </a:buClr>
              <a:buFont typeface="Arial" pitchFamily="34" charset="0"/>
              <a:buChar char="•"/>
              <a:defRPr sz="1400"/>
            </a:lvl4pPr>
          </a:lstStyle>
          <a:p>
            <a:pPr lvl="0"/>
            <a:r>
              <a:rPr lang="en-GB" noProof="0"/>
              <a:t>Text level 2</a:t>
            </a:r>
          </a:p>
          <a:p>
            <a:pPr lvl="1"/>
            <a:r>
              <a:rPr lang="en-GB" noProof="0"/>
              <a:t>Text level 3</a:t>
            </a:r>
          </a:p>
          <a:p>
            <a:pPr lvl="2"/>
            <a:r>
              <a:rPr lang="en-GB" noProof="0"/>
              <a:t>Text level 4</a:t>
            </a:r>
          </a:p>
          <a:p>
            <a:pPr lvl="3"/>
            <a:r>
              <a:rPr lang="en-GB" noProof="0"/>
              <a:t>Text level 5</a:t>
            </a:r>
          </a:p>
        </p:txBody>
      </p:sp>
      <p:sp>
        <p:nvSpPr>
          <p:cNvPr id="27" name="Espace réservé du texte 9"/>
          <p:cNvSpPr>
            <a:spLocks noGrp="1"/>
          </p:cNvSpPr>
          <p:nvPr>
            <p:ph type="body" sz="quarter" idx="25" hasCustomPrompt="1"/>
          </p:nvPr>
        </p:nvSpPr>
        <p:spPr bwMode="gray">
          <a:xfrm>
            <a:off x="4716400" y="4131488"/>
            <a:ext cx="3564000" cy="324000"/>
          </a:xfrm>
          <a:solidFill>
            <a:schemeClr val="bg2"/>
          </a:solidFill>
          <a:ln w="9525">
            <a:solidFill>
              <a:schemeClr val="bg2"/>
            </a:solidFill>
          </a:ln>
        </p:spPr>
        <p:txBody>
          <a:bodyPr anchor="ctr" anchorCtr="0"/>
          <a:lstStyle>
            <a:lvl1pPr algn="ctr">
              <a:lnSpc>
                <a:spcPct val="100000"/>
              </a:lnSpc>
              <a:defRPr>
                <a:solidFill>
                  <a:schemeClr val="bg1"/>
                </a:solidFill>
              </a:defRPr>
            </a:lvl1pPr>
          </a:lstStyle>
          <a:p>
            <a:pPr lvl="0"/>
            <a:r>
              <a:rPr lang="en-GB" noProof="0"/>
              <a:t>Text level 1</a:t>
            </a:r>
          </a:p>
        </p:txBody>
      </p:sp>
      <p:sp>
        <p:nvSpPr>
          <p:cNvPr id="28" name="Espace réservé du texte 9"/>
          <p:cNvSpPr>
            <a:spLocks noGrp="1"/>
          </p:cNvSpPr>
          <p:nvPr>
            <p:ph type="body" sz="quarter" idx="26" hasCustomPrompt="1"/>
          </p:nvPr>
        </p:nvSpPr>
        <p:spPr bwMode="gray">
          <a:xfrm>
            <a:off x="4716400" y="4455488"/>
            <a:ext cx="3564000" cy="1350000"/>
          </a:xfrm>
          <a:ln w="9525">
            <a:solidFill>
              <a:schemeClr val="bg2"/>
            </a:solidFill>
          </a:ln>
        </p:spPr>
        <p:txBody>
          <a:bodyPr tIns="72000"/>
          <a:lstStyle>
            <a:lvl1pPr marL="324000" indent="-180000">
              <a:lnSpc>
                <a:spcPct val="100000"/>
              </a:lnSpc>
              <a:spcBef>
                <a:spcPts val="300"/>
              </a:spcBef>
              <a:buClr>
                <a:schemeClr val="accent3"/>
              </a:buClr>
              <a:buFont typeface="Arial" pitchFamily="34" charset="0"/>
              <a:buChar char="•"/>
              <a:defRPr sz="1800">
                <a:solidFill>
                  <a:schemeClr val="tx1"/>
                </a:solidFill>
              </a:defRPr>
            </a:lvl1pPr>
            <a:lvl2pPr marL="504000">
              <a:buClr>
                <a:schemeClr val="tx1"/>
              </a:buClr>
              <a:defRPr sz="1600" b="0"/>
            </a:lvl2pPr>
            <a:lvl3pPr indent="0">
              <a:buNone/>
              <a:defRPr/>
            </a:lvl3pPr>
            <a:lvl4pPr marL="684000" indent="-180000">
              <a:buClr>
                <a:schemeClr val="tx1"/>
              </a:buClr>
              <a:buFont typeface="Arial" pitchFamily="34" charset="0"/>
              <a:buChar char="•"/>
              <a:defRPr sz="1400"/>
            </a:lvl4pPr>
          </a:lstStyle>
          <a:p>
            <a:pPr lvl="0"/>
            <a:r>
              <a:rPr lang="en-GB" noProof="0"/>
              <a:t>Text level 2</a:t>
            </a:r>
          </a:p>
          <a:p>
            <a:pPr lvl="1"/>
            <a:r>
              <a:rPr lang="en-GB" noProof="0"/>
              <a:t>Text level 3</a:t>
            </a:r>
          </a:p>
          <a:p>
            <a:pPr lvl="2"/>
            <a:r>
              <a:rPr lang="en-GB" noProof="0"/>
              <a:t>Text level 4</a:t>
            </a:r>
          </a:p>
          <a:p>
            <a:pPr lvl="3"/>
            <a:r>
              <a:rPr lang="en-GB" noProof="0"/>
              <a:t>Text level 5</a:t>
            </a:r>
          </a:p>
        </p:txBody>
      </p:sp>
    </p:spTree>
    <p:extLst>
      <p:ext uri="{BB962C8B-B14F-4D97-AF65-F5344CB8AC3E}">
        <p14:creationId xmlns:p14="http://schemas.microsoft.com/office/powerpoint/2010/main" val="2097671770"/>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pic>
        <p:nvPicPr>
          <p:cNvPr id="6" name="Image 18" descr="FD_02.pn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gray">
          <a:xfrm>
            <a:off x="0" y="0"/>
            <a:ext cx="9144000" cy="51577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7" name="Rectangle 6"/>
          <p:cNvSpPr/>
          <p:nvPr userDrawn="1"/>
        </p:nvSpPr>
        <p:spPr bwMode="gray">
          <a:xfrm>
            <a:off x="3635375" y="5265738"/>
            <a:ext cx="5508625" cy="15922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prstClr val="white"/>
              </a:solidFill>
            </a:endParaRPr>
          </a:p>
        </p:txBody>
      </p:sp>
      <p:pic>
        <p:nvPicPr>
          <p:cNvPr id="10" name="Image 19" descr="Bas_couv.png"/>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gray">
          <a:xfrm>
            <a:off x="0" y="5172075"/>
            <a:ext cx="3635375" cy="16859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1" name="Rectangle 10"/>
          <p:cNvSpPr/>
          <p:nvPr userDrawn="1"/>
        </p:nvSpPr>
        <p:spPr bwMode="gray">
          <a:xfrm>
            <a:off x="3635375" y="6354763"/>
            <a:ext cx="5113338" cy="2873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p>
            <a:pPr algn="r">
              <a:defRPr/>
            </a:pPr>
            <a:r>
              <a:rPr lang="en-US" sz="1000" err="1">
                <a:solidFill>
                  <a:srgbClr val="95D600"/>
                </a:solidFill>
              </a:rPr>
              <a:t>www.gavi.org</a:t>
            </a:r>
            <a:endParaRPr lang="en-US" sz="1000">
              <a:solidFill>
                <a:srgbClr val="95D600"/>
              </a:solidFill>
            </a:endParaRPr>
          </a:p>
        </p:txBody>
      </p:sp>
      <p:cxnSp>
        <p:nvCxnSpPr>
          <p:cNvPr id="12" name="Connecteur droit 22"/>
          <p:cNvCxnSpPr/>
          <p:nvPr userDrawn="1"/>
        </p:nvCxnSpPr>
        <p:spPr bwMode="gray">
          <a:xfrm flipH="1">
            <a:off x="468313" y="3402013"/>
            <a:ext cx="2447925" cy="0"/>
          </a:xfrm>
          <a:prstGeom prst="line">
            <a:avLst/>
          </a:prstGeom>
          <a:ln w="24130">
            <a:solidFill>
              <a:schemeClr val="accent1"/>
            </a:solidFill>
          </a:ln>
        </p:spPr>
        <p:style>
          <a:lnRef idx="1">
            <a:schemeClr val="accent1"/>
          </a:lnRef>
          <a:fillRef idx="0">
            <a:schemeClr val="accent1"/>
          </a:fillRef>
          <a:effectRef idx="0">
            <a:schemeClr val="accent1"/>
          </a:effectRef>
          <a:fontRef idx="minor">
            <a:schemeClr val="tx1"/>
          </a:fontRef>
        </p:style>
      </p:cxnSp>
      <p:sp>
        <p:nvSpPr>
          <p:cNvPr id="9" name="Espace réservé du texte 8"/>
          <p:cNvSpPr>
            <a:spLocks noGrp="1"/>
          </p:cNvSpPr>
          <p:nvPr>
            <p:ph type="body" sz="quarter" idx="13"/>
          </p:nvPr>
        </p:nvSpPr>
        <p:spPr bwMode="gray">
          <a:xfrm>
            <a:off x="468314" y="1036800"/>
            <a:ext cx="4824412" cy="2232000"/>
          </a:xfrm>
        </p:spPr>
        <p:txBody>
          <a:bodyPr anchor="b"/>
          <a:lstStyle>
            <a:lvl1pPr marL="0" indent="0" algn="l">
              <a:lnSpc>
                <a:spcPct val="90000"/>
              </a:lnSpc>
              <a:buNone/>
              <a:defRPr sz="2800" b="1" cap="none" baseline="0">
                <a:solidFill>
                  <a:schemeClr val="bg1"/>
                </a:solidFill>
              </a:defRPr>
            </a:lvl1pPr>
            <a:lvl2pPr marL="0" algn="ctr">
              <a:lnSpc>
                <a:spcPct val="100000"/>
              </a:lnSpc>
              <a:spcBef>
                <a:spcPts val="6900"/>
              </a:spcBef>
              <a:defRPr sz="2000" b="1">
                <a:solidFill>
                  <a:schemeClr val="bg1"/>
                </a:solidFill>
              </a:defRPr>
            </a:lvl2pPr>
          </a:lstStyle>
          <a:p>
            <a:pPr lvl="0"/>
            <a:r>
              <a:rPr lang="en-US" noProof="0"/>
              <a:t>Click to edit Master text styles</a:t>
            </a:r>
          </a:p>
        </p:txBody>
      </p:sp>
      <p:sp>
        <p:nvSpPr>
          <p:cNvPr id="8" name="Espace réservé du texte 8"/>
          <p:cNvSpPr>
            <a:spLocks noGrp="1"/>
          </p:cNvSpPr>
          <p:nvPr>
            <p:ph type="body" sz="quarter" idx="14"/>
          </p:nvPr>
        </p:nvSpPr>
        <p:spPr bwMode="gray">
          <a:xfrm>
            <a:off x="468314" y="3585600"/>
            <a:ext cx="4824411" cy="1479600"/>
          </a:xfrm>
        </p:spPr>
        <p:txBody>
          <a:bodyPr/>
          <a:lstStyle>
            <a:lvl1pPr marL="0" indent="0" algn="l">
              <a:lnSpc>
                <a:spcPct val="90000"/>
              </a:lnSpc>
              <a:buNone/>
              <a:defRPr sz="2000" b="0" baseline="0">
                <a:solidFill>
                  <a:schemeClr val="bg1"/>
                </a:solidFill>
              </a:defRPr>
            </a:lvl1pPr>
            <a:lvl2pPr marL="0" algn="ctr">
              <a:lnSpc>
                <a:spcPct val="100000"/>
              </a:lnSpc>
              <a:spcBef>
                <a:spcPts val="6900"/>
              </a:spcBef>
              <a:defRPr sz="2000" b="1">
                <a:solidFill>
                  <a:schemeClr val="bg1"/>
                </a:solidFill>
              </a:defRPr>
            </a:lvl2pPr>
          </a:lstStyle>
          <a:p>
            <a:pPr lvl="0"/>
            <a:r>
              <a:rPr lang="en-US" noProof="0"/>
              <a:t>Click to edit Master text styles</a:t>
            </a:r>
          </a:p>
        </p:txBody>
      </p:sp>
      <p:sp>
        <p:nvSpPr>
          <p:cNvPr id="15" name="Espace réservé du texte 14"/>
          <p:cNvSpPr>
            <a:spLocks noGrp="1"/>
          </p:cNvSpPr>
          <p:nvPr>
            <p:ph type="body" sz="quarter" idx="19"/>
          </p:nvPr>
        </p:nvSpPr>
        <p:spPr bwMode="gray">
          <a:xfrm>
            <a:off x="3635376" y="6021388"/>
            <a:ext cx="5113338" cy="324000"/>
          </a:xfrm>
        </p:spPr>
        <p:txBody>
          <a:bodyPr anchor="b"/>
          <a:lstStyle>
            <a:lvl1pPr algn="r">
              <a:lnSpc>
                <a:spcPct val="100000"/>
              </a:lnSpc>
              <a:defRPr sz="1000" b="1">
                <a:solidFill>
                  <a:schemeClr val="accent3"/>
                </a:solidFill>
              </a:defRPr>
            </a:lvl1pPr>
          </a:lstStyle>
          <a:p>
            <a:pPr lvl="0"/>
            <a:r>
              <a:rPr lang="en-US" noProof="0"/>
              <a:t>Click to edit Master text styles</a:t>
            </a:r>
          </a:p>
        </p:txBody>
      </p:sp>
      <p:sp>
        <p:nvSpPr>
          <p:cNvPr id="17" name="Espace réservé du texte 16"/>
          <p:cNvSpPr>
            <a:spLocks noGrp="1"/>
          </p:cNvSpPr>
          <p:nvPr>
            <p:ph type="body" sz="quarter" idx="20"/>
          </p:nvPr>
        </p:nvSpPr>
        <p:spPr bwMode="gray">
          <a:xfrm>
            <a:off x="0" y="5157788"/>
            <a:ext cx="9144000" cy="287337"/>
          </a:xfrm>
          <a:solidFill>
            <a:schemeClr val="bg1"/>
          </a:solidFill>
        </p:spPr>
        <p:txBody>
          <a:bodyPr/>
          <a:lstStyle>
            <a:lvl1pPr>
              <a:defRPr sz="100" b="0">
                <a:solidFill>
                  <a:schemeClr val="bg1">
                    <a:alpha val="0"/>
                  </a:schemeClr>
                </a:solidFill>
              </a:defRPr>
            </a:lvl1pPr>
          </a:lstStyle>
          <a:p>
            <a:pPr lvl="0"/>
            <a:r>
              <a:rPr lang="en-US" noProof="0"/>
              <a:t>Click to edit Master text styles</a:t>
            </a:r>
          </a:p>
        </p:txBody>
      </p:sp>
      <p:sp>
        <p:nvSpPr>
          <p:cNvPr id="13" name="Espace réservé de la date 9"/>
          <p:cNvSpPr>
            <a:spLocks noGrp="1"/>
          </p:cNvSpPr>
          <p:nvPr>
            <p:ph type="dt" sz="half" idx="21"/>
          </p:nvPr>
        </p:nvSpPr>
        <p:spPr/>
        <p:txBody>
          <a:bodyPr/>
          <a:lstStyle>
            <a:lvl1pPr>
              <a:defRPr/>
            </a:lvl1pPr>
          </a:lstStyle>
          <a:p>
            <a:pPr>
              <a:defRPr/>
            </a:pPr>
            <a:r>
              <a:rPr lang="en-US">
                <a:solidFill>
                  <a:prstClr val="white">
                    <a:alpha val="0"/>
                  </a:prstClr>
                </a:solidFill>
              </a:rPr>
              <a:t>Date</a:t>
            </a:r>
          </a:p>
        </p:txBody>
      </p:sp>
      <p:sp>
        <p:nvSpPr>
          <p:cNvPr id="14" name="Espace réservé du numéro de diapositive 10"/>
          <p:cNvSpPr>
            <a:spLocks noGrp="1"/>
          </p:cNvSpPr>
          <p:nvPr>
            <p:ph type="sldNum" sz="quarter" idx="22"/>
          </p:nvPr>
        </p:nvSpPr>
        <p:spPr/>
        <p:txBody>
          <a:bodyPr/>
          <a:lstStyle>
            <a:lvl1pPr>
              <a:defRPr sz="100">
                <a:solidFill>
                  <a:schemeClr val="bg1">
                    <a:alpha val="0"/>
                  </a:schemeClr>
                </a:solidFill>
              </a:defRPr>
            </a:lvl1pPr>
          </a:lstStyle>
          <a:p>
            <a:pPr>
              <a:defRPr/>
            </a:pPr>
            <a:r>
              <a:rPr lang="en-US">
                <a:solidFill>
                  <a:prstClr val="white">
                    <a:alpha val="0"/>
                  </a:prstClr>
                </a:solidFill>
              </a:rPr>
              <a:t>Page: </a:t>
            </a:r>
            <a:fld id="{541ADD26-9626-44B7-849C-716E619042DF}" type="slidenum">
              <a:rPr lang="en-US">
                <a:solidFill>
                  <a:prstClr val="white">
                    <a:alpha val="0"/>
                  </a:prstClr>
                </a:solidFill>
              </a:rPr>
              <a:pPr>
                <a:defRPr/>
              </a:pPr>
              <a:t>‹#›</a:t>
            </a:fld>
            <a:endParaRPr lang="en-US">
              <a:solidFill>
                <a:prstClr val="white">
                  <a:alpha val="0"/>
                </a:prstClr>
              </a:solidFill>
            </a:endParaRPr>
          </a:p>
        </p:txBody>
      </p:sp>
      <p:sp>
        <p:nvSpPr>
          <p:cNvPr id="16" name="Espace réservé du pied de page 11"/>
          <p:cNvSpPr>
            <a:spLocks noGrp="1"/>
          </p:cNvSpPr>
          <p:nvPr>
            <p:ph type="ftr" sz="quarter" idx="23"/>
          </p:nvPr>
        </p:nvSpPr>
        <p:spPr>
          <a:xfrm>
            <a:off x="468313" y="523875"/>
            <a:ext cx="4824412" cy="360363"/>
          </a:xfrm>
        </p:spPr>
        <p:txBody>
          <a:bodyPr/>
          <a:lstStyle>
            <a:lvl1pPr algn="l">
              <a:defRPr sz="1800" b="0">
                <a:solidFill>
                  <a:schemeClr val="bg1"/>
                </a:solidFill>
              </a:defRPr>
            </a:lvl1pPr>
          </a:lstStyle>
          <a:p>
            <a:pPr>
              <a:defRPr/>
            </a:pPr>
            <a:r>
              <a:rPr lang="en-US">
                <a:solidFill>
                  <a:prstClr val="white"/>
                </a:solidFill>
              </a:rPr>
              <a:t>#vaccelerate</a:t>
            </a:r>
          </a:p>
        </p:txBody>
      </p:sp>
    </p:spTree>
    <p:extLst>
      <p:ext uri="{BB962C8B-B14F-4D97-AF65-F5344CB8AC3E}">
        <p14:creationId xmlns:p14="http://schemas.microsoft.com/office/powerpoint/2010/main" val="2271349928"/>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Cover_Picture_1">
    <p:spTree>
      <p:nvGrpSpPr>
        <p:cNvPr id="1" name=""/>
        <p:cNvGrpSpPr/>
        <p:nvPr/>
      </p:nvGrpSpPr>
      <p:grpSpPr>
        <a:xfrm>
          <a:off x="0" y="0"/>
          <a:ext cx="0" cy="0"/>
          <a:chOff x="0" y="0"/>
          <a:chExt cx="0" cy="0"/>
        </a:xfrm>
      </p:grpSpPr>
      <p:pic>
        <p:nvPicPr>
          <p:cNvPr id="7" name="Image 20" descr="FD_1_L254.png"/>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gray">
          <a:xfrm>
            <a:off x="0" y="0"/>
            <a:ext cx="9144000" cy="51577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0" name="Rectangle 9"/>
          <p:cNvSpPr/>
          <p:nvPr userDrawn="1"/>
        </p:nvSpPr>
        <p:spPr bwMode="gray">
          <a:xfrm>
            <a:off x="3635375" y="5265738"/>
            <a:ext cx="5508625" cy="15922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prstClr val="white"/>
              </a:solidFill>
            </a:endParaRPr>
          </a:p>
        </p:txBody>
      </p:sp>
      <p:pic>
        <p:nvPicPr>
          <p:cNvPr id="11" name="Image 19" descr="Bas_couv.png"/>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gray">
          <a:xfrm>
            <a:off x="0" y="5172075"/>
            <a:ext cx="3635375" cy="16859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2" name="Rectangle 11"/>
          <p:cNvSpPr/>
          <p:nvPr userDrawn="1"/>
        </p:nvSpPr>
        <p:spPr bwMode="gray">
          <a:xfrm>
            <a:off x="3635375" y="6354763"/>
            <a:ext cx="5113338" cy="2873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p>
            <a:pPr algn="r">
              <a:defRPr/>
            </a:pPr>
            <a:r>
              <a:rPr lang="en-US" sz="1000" err="1">
                <a:solidFill>
                  <a:srgbClr val="95D600"/>
                </a:solidFill>
              </a:rPr>
              <a:t>www.gavi.org</a:t>
            </a:r>
            <a:endParaRPr lang="en-US" sz="1000">
              <a:solidFill>
                <a:srgbClr val="95D600"/>
              </a:solidFill>
            </a:endParaRPr>
          </a:p>
        </p:txBody>
      </p:sp>
      <p:cxnSp>
        <p:nvCxnSpPr>
          <p:cNvPr id="13" name="Connecteur droit 22"/>
          <p:cNvCxnSpPr/>
          <p:nvPr userDrawn="1"/>
        </p:nvCxnSpPr>
        <p:spPr bwMode="gray">
          <a:xfrm flipH="1">
            <a:off x="468313" y="3402013"/>
            <a:ext cx="2447925" cy="0"/>
          </a:xfrm>
          <a:prstGeom prst="line">
            <a:avLst/>
          </a:prstGeom>
          <a:ln w="24130">
            <a:solidFill>
              <a:schemeClr val="accent1"/>
            </a:solidFill>
          </a:ln>
        </p:spPr>
        <p:style>
          <a:lnRef idx="1">
            <a:schemeClr val="accent1"/>
          </a:lnRef>
          <a:fillRef idx="0">
            <a:schemeClr val="accent1"/>
          </a:fillRef>
          <a:effectRef idx="0">
            <a:schemeClr val="accent1"/>
          </a:effectRef>
          <a:fontRef idx="minor">
            <a:schemeClr val="tx1"/>
          </a:fontRef>
        </p:style>
      </p:cxnSp>
      <p:sp>
        <p:nvSpPr>
          <p:cNvPr id="9" name="Espace réservé du texte 8"/>
          <p:cNvSpPr>
            <a:spLocks noGrp="1"/>
          </p:cNvSpPr>
          <p:nvPr>
            <p:ph type="body" sz="quarter" idx="13"/>
          </p:nvPr>
        </p:nvSpPr>
        <p:spPr bwMode="gray">
          <a:xfrm>
            <a:off x="468314" y="1036638"/>
            <a:ext cx="4824412" cy="2231392"/>
          </a:xfrm>
        </p:spPr>
        <p:txBody>
          <a:bodyPr anchor="b"/>
          <a:lstStyle>
            <a:lvl1pPr marL="0" indent="0" algn="l">
              <a:lnSpc>
                <a:spcPct val="90000"/>
              </a:lnSpc>
              <a:buNone/>
              <a:defRPr sz="2800" b="1" cap="none" baseline="0">
                <a:solidFill>
                  <a:schemeClr val="bg1"/>
                </a:solidFill>
              </a:defRPr>
            </a:lvl1pPr>
            <a:lvl2pPr marL="0" algn="ctr">
              <a:lnSpc>
                <a:spcPct val="100000"/>
              </a:lnSpc>
              <a:spcBef>
                <a:spcPts val="6900"/>
              </a:spcBef>
              <a:defRPr sz="2000" b="1">
                <a:solidFill>
                  <a:schemeClr val="bg1"/>
                </a:solidFill>
              </a:defRPr>
            </a:lvl2pPr>
          </a:lstStyle>
          <a:p>
            <a:pPr lvl="0"/>
            <a:r>
              <a:rPr lang="en-US" noProof="0"/>
              <a:t>Click to edit Master text styles</a:t>
            </a:r>
          </a:p>
        </p:txBody>
      </p:sp>
      <p:sp>
        <p:nvSpPr>
          <p:cNvPr id="8" name="Espace réservé du texte 8"/>
          <p:cNvSpPr>
            <a:spLocks noGrp="1"/>
          </p:cNvSpPr>
          <p:nvPr>
            <p:ph type="body" sz="quarter" idx="14"/>
          </p:nvPr>
        </p:nvSpPr>
        <p:spPr bwMode="gray">
          <a:xfrm>
            <a:off x="468314" y="3584637"/>
            <a:ext cx="3592800" cy="1477788"/>
          </a:xfrm>
        </p:spPr>
        <p:txBody>
          <a:bodyPr/>
          <a:lstStyle>
            <a:lvl1pPr marL="0" indent="0" algn="l">
              <a:lnSpc>
                <a:spcPct val="90000"/>
              </a:lnSpc>
              <a:buNone/>
              <a:defRPr sz="2000" b="0" baseline="0">
                <a:solidFill>
                  <a:schemeClr val="bg1"/>
                </a:solidFill>
              </a:defRPr>
            </a:lvl1pPr>
            <a:lvl2pPr marL="0" algn="ctr">
              <a:lnSpc>
                <a:spcPct val="100000"/>
              </a:lnSpc>
              <a:spcBef>
                <a:spcPts val="6900"/>
              </a:spcBef>
              <a:defRPr sz="2000" b="1">
                <a:solidFill>
                  <a:schemeClr val="bg1"/>
                </a:solidFill>
              </a:defRPr>
            </a:lvl2pPr>
          </a:lstStyle>
          <a:p>
            <a:pPr lvl="0"/>
            <a:r>
              <a:rPr lang="en-US" noProof="0"/>
              <a:t>Click to edit Master text styles</a:t>
            </a:r>
          </a:p>
        </p:txBody>
      </p:sp>
      <p:sp>
        <p:nvSpPr>
          <p:cNvPr id="15" name="Espace réservé du texte 14"/>
          <p:cNvSpPr>
            <a:spLocks noGrp="1"/>
          </p:cNvSpPr>
          <p:nvPr>
            <p:ph type="body" sz="quarter" idx="19"/>
          </p:nvPr>
        </p:nvSpPr>
        <p:spPr bwMode="gray">
          <a:xfrm>
            <a:off x="3635376" y="6021388"/>
            <a:ext cx="5113338" cy="324000"/>
          </a:xfrm>
        </p:spPr>
        <p:txBody>
          <a:bodyPr anchor="b"/>
          <a:lstStyle>
            <a:lvl1pPr algn="r">
              <a:lnSpc>
                <a:spcPct val="100000"/>
              </a:lnSpc>
              <a:defRPr sz="1000" b="1">
                <a:solidFill>
                  <a:schemeClr val="accent3"/>
                </a:solidFill>
              </a:defRPr>
            </a:lvl1pPr>
          </a:lstStyle>
          <a:p>
            <a:pPr lvl="0"/>
            <a:r>
              <a:rPr lang="en-US" noProof="0"/>
              <a:t>Click to edit Master text styles</a:t>
            </a:r>
          </a:p>
        </p:txBody>
      </p:sp>
      <p:sp>
        <p:nvSpPr>
          <p:cNvPr id="17" name="Espace réservé du texte 16"/>
          <p:cNvSpPr>
            <a:spLocks noGrp="1"/>
          </p:cNvSpPr>
          <p:nvPr>
            <p:ph type="body" sz="quarter" idx="20"/>
          </p:nvPr>
        </p:nvSpPr>
        <p:spPr bwMode="gray">
          <a:xfrm>
            <a:off x="0" y="5157788"/>
            <a:ext cx="9144000" cy="287337"/>
          </a:xfrm>
          <a:solidFill>
            <a:schemeClr val="bg1"/>
          </a:solidFill>
        </p:spPr>
        <p:txBody>
          <a:bodyPr/>
          <a:lstStyle>
            <a:lvl1pPr>
              <a:defRPr sz="100" b="0">
                <a:solidFill>
                  <a:schemeClr val="bg1">
                    <a:alpha val="0"/>
                  </a:schemeClr>
                </a:solidFill>
              </a:defRPr>
            </a:lvl1pPr>
          </a:lstStyle>
          <a:p>
            <a:pPr lvl="0"/>
            <a:r>
              <a:rPr lang="en-US" noProof="0"/>
              <a:t>Click to edit Master text styles</a:t>
            </a:r>
          </a:p>
        </p:txBody>
      </p:sp>
      <p:sp>
        <p:nvSpPr>
          <p:cNvPr id="24" name="Espace réservé pour une image  17"/>
          <p:cNvSpPr>
            <a:spLocks noGrp="1"/>
          </p:cNvSpPr>
          <p:nvPr>
            <p:ph type="pic" sz="quarter" idx="18"/>
          </p:nvPr>
        </p:nvSpPr>
        <p:spPr bwMode="gray">
          <a:xfrm>
            <a:off x="4192588" y="0"/>
            <a:ext cx="4951412" cy="5162400"/>
          </a:xfrm>
          <a:custGeom>
            <a:avLst/>
            <a:gdLst>
              <a:gd name="connsiteX0" fmla="*/ 0 w 3851275"/>
              <a:gd name="connsiteY0" fmla="*/ 0 h 5157788"/>
              <a:gd name="connsiteX1" fmla="*/ 3851275 w 3851275"/>
              <a:gd name="connsiteY1" fmla="*/ 0 h 5157788"/>
              <a:gd name="connsiteX2" fmla="*/ 3851275 w 3851275"/>
              <a:gd name="connsiteY2" fmla="*/ 5157788 h 5157788"/>
              <a:gd name="connsiteX3" fmla="*/ 0 w 3851275"/>
              <a:gd name="connsiteY3" fmla="*/ 5157788 h 5157788"/>
              <a:gd name="connsiteX4" fmla="*/ 0 w 3851275"/>
              <a:gd name="connsiteY4"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0 w 3851275"/>
              <a:gd name="connsiteY3" fmla="*/ 5157788 h 5157788"/>
              <a:gd name="connsiteX4" fmla="*/ 1692275 w 3851275"/>
              <a:gd name="connsiteY4" fmla="*/ 0 h 5157788"/>
              <a:gd name="connsiteX0" fmla="*/ 0 w 2159000"/>
              <a:gd name="connsiteY0" fmla="*/ 0 h 5157788"/>
              <a:gd name="connsiteX1" fmla="*/ 2159000 w 2159000"/>
              <a:gd name="connsiteY1" fmla="*/ 0 h 5157788"/>
              <a:gd name="connsiteX2" fmla="*/ 2159000 w 2159000"/>
              <a:gd name="connsiteY2" fmla="*/ 5157788 h 5157788"/>
              <a:gd name="connsiteX3" fmla="*/ 0 w 2159000"/>
              <a:gd name="connsiteY3" fmla="*/ 5157788 h 5157788"/>
              <a:gd name="connsiteX4" fmla="*/ 0 w 2159000"/>
              <a:gd name="connsiteY4" fmla="*/ 0 h 5157788"/>
              <a:gd name="connsiteX0" fmla="*/ 2625271 w 4784271"/>
              <a:gd name="connsiteY0" fmla="*/ 0 h 5157788"/>
              <a:gd name="connsiteX1" fmla="*/ 4784271 w 4784271"/>
              <a:gd name="connsiteY1" fmla="*/ 0 h 5157788"/>
              <a:gd name="connsiteX2" fmla="*/ 4784271 w 4784271"/>
              <a:gd name="connsiteY2" fmla="*/ 5157788 h 5157788"/>
              <a:gd name="connsiteX3" fmla="*/ 2625271 w 4784271"/>
              <a:gd name="connsiteY3" fmla="*/ 5157788 h 5157788"/>
              <a:gd name="connsiteX4" fmla="*/ 2625271 w 4784271"/>
              <a:gd name="connsiteY4" fmla="*/ 0 h 5157788"/>
              <a:gd name="connsiteX0" fmla="*/ 2625271 w 4784271"/>
              <a:gd name="connsiteY0" fmla="*/ 0 h 5157788"/>
              <a:gd name="connsiteX1" fmla="*/ 4784271 w 4784271"/>
              <a:gd name="connsiteY1" fmla="*/ 0 h 5157788"/>
              <a:gd name="connsiteX2" fmla="*/ 4784271 w 4784271"/>
              <a:gd name="connsiteY2" fmla="*/ 5157788 h 5157788"/>
              <a:gd name="connsiteX3" fmla="*/ 2625271 w 4784271"/>
              <a:gd name="connsiteY3" fmla="*/ 5157788 h 5157788"/>
              <a:gd name="connsiteX4" fmla="*/ 2625271 w 4784271"/>
              <a:gd name="connsiteY4" fmla="*/ 0 h 5157788"/>
              <a:gd name="connsiteX0" fmla="*/ 3568576 w 5727576"/>
              <a:gd name="connsiteY0" fmla="*/ 0 h 5157788"/>
              <a:gd name="connsiteX1" fmla="*/ 5727576 w 5727576"/>
              <a:gd name="connsiteY1" fmla="*/ 0 h 5157788"/>
              <a:gd name="connsiteX2" fmla="*/ 5727576 w 5727576"/>
              <a:gd name="connsiteY2" fmla="*/ 5157788 h 5157788"/>
              <a:gd name="connsiteX3" fmla="*/ 3568576 w 5727576"/>
              <a:gd name="connsiteY3" fmla="*/ 5157788 h 5157788"/>
              <a:gd name="connsiteX4" fmla="*/ 3568576 w 5727576"/>
              <a:gd name="connsiteY4" fmla="*/ 0 h 5157788"/>
              <a:gd name="connsiteX0" fmla="*/ 3306355 w 5465355"/>
              <a:gd name="connsiteY0" fmla="*/ 0 h 5157788"/>
              <a:gd name="connsiteX1" fmla="*/ 5465355 w 5465355"/>
              <a:gd name="connsiteY1" fmla="*/ 0 h 5157788"/>
              <a:gd name="connsiteX2" fmla="*/ 5465355 w 5465355"/>
              <a:gd name="connsiteY2" fmla="*/ 5157788 h 5157788"/>
              <a:gd name="connsiteX3" fmla="*/ 3306355 w 5465355"/>
              <a:gd name="connsiteY3" fmla="*/ 5157788 h 5157788"/>
              <a:gd name="connsiteX4" fmla="*/ 3306355 w 5465355"/>
              <a:gd name="connsiteY4" fmla="*/ 0 h 5157788"/>
              <a:gd name="connsiteX0" fmla="*/ 1416957 w 3575957"/>
              <a:gd name="connsiteY0" fmla="*/ 0 h 5157788"/>
              <a:gd name="connsiteX1" fmla="*/ 3575957 w 3575957"/>
              <a:gd name="connsiteY1" fmla="*/ 0 h 5157788"/>
              <a:gd name="connsiteX2" fmla="*/ 3575957 w 3575957"/>
              <a:gd name="connsiteY2" fmla="*/ 5157788 h 5157788"/>
              <a:gd name="connsiteX3" fmla="*/ 1416957 w 3575957"/>
              <a:gd name="connsiteY3" fmla="*/ 5157788 h 5157788"/>
              <a:gd name="connsiteX4" fmla="*/ 0 w 3575957"/>
              <a:gd name="connsiteY4" fmla="*/ 3339193 h 5157788"/>
              <a:gd name="connsiteX5" fmla="*/ 1416957 w 3575957"/>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6017419"/>
              <a:gd name="connsiteX1" fmla="*/ 3851275 w 3851275"/>
              <a:gd name="connsiteY1" fmla="*/ 0 h 6017419"/>
              <a:gd name="connsiteX2" fmla="*/ 3851275 w 3851275"/>
              <a:gd name="connsiteY2" fmla="*/ 5157788 h 6017419"/>
              <a:gd name="connsiteX3" fmla="*/ 1692275 w 3851275"/>
              <a:gd name="connsiteY3" fmla="*/ 5157788 h 6017419"/>
              <a:gd name="connsiteX4" fmla="*/ 0 w 3851275"/>
              <a:gd name="connsiteY4" fmla="*/ 3284984 h 6017419"/>
              <a:gd name="connsiteX5" fmla="*/ 1692275 w 3851275"/>
              <a:gd name="connsiteY5" fmla="*/ 0 h 6017419"/>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429000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429000 h 5157788"/>
              <a:gd name="connsiteX5" fmla="*/ 1710871 w 3869871"/>
              <a:gd name="connsiteY5" fmla="*/ 0 h 5157788"/>
              <a:gd name="connsiteX0" fmla="*/ 1704975 w 3863975"/>
              <a:gd name="connsiteY0" fmla="*/ 0 h 5157788"/>
              <a:gd name="connsiteX1" fmla="*/ 3863975 w 3863975"/>
              <a:gd name="connsiteY1" fmla="*/ 0 h 5157788"/>
              <a:gd name="connsiteX2" fmla="*/ 3863975 w 3863975"/>
              <a:gd name="connsiteY2" fmla="*/ 5157788 h 5157788"/>
              <a:gd name="connsiteX3" fmla="*/ 1704975 w 3863975"/>
              <a:gd name="connsiteY3" fmla="*/ 5157788 h 5157788"/>
              <a:gd name="connsiteX4" fmla="*/ 12700 w 3863975"/>
              <a:gd name="connsiteY4" fmla="*/ 3429000 h 5157788"/>
              <a:gd name="connsiteX5" fmla="*/ 1704975 w 3863975"/>
              <a:gd name="connsiteY5" fmla="*/ 0 h 5157788"/>
              <a:gd name="connsiteX0" fmla="*/ 1707243 w 3866243"/>
              <a:gd name="connsiteY0" fmla="*/ 0 h 5157788"/>
              <a:gd name="connsiteX1" fmla="*/ 3866243 w 3866243"/>
              <a:gd name="connsiteY1" fmla="*/ 0 h 5157788"/>
              <a:gd name="connsiteX2" fmla="*/ 3866243 w 3866243"/>
              <a:gd name="connsiteY2" fmla="*/ 5157788 h 5157788"/>
              <a:gd name="connsiteX3" fmla="*/ 1707243 w 3866243"/>
              <a:gd name="connsiteY3" fmla="*/ 5157788 h 5157788"/>
              <a:gd name="connsiteX4" fmla="*/ 14968 w 3866243"/>
              <a:gd name="connsiteY4" fmla="*/ 3429000 h 5157788"/>
              <a:gd name="connsiteX5" fmla="*/ 1707243 w 3866243"/>
              <a:gd name="connsiteY5" fmla="*/ 0 h 5157788"/>
              <a:gd name="connsiteX0" fmla="*/ 1130447 w 3866243"/>
              <a:gd name="connsiteY0" fmla="*/ 0 h 5157788"/>
              <a:gd name="connsiteX1" fmla="*/ 3866243 w 3866243"/>
              <a:gd name="connsiteY1" fmla="*/ 0 h 5157788"/>
              <a:gd name="connsiteX2" fmla="*/ 3866243 w 3866243"/>
              <a:gd name="connsiteY2" fmla="*/ 5157788 h 5157788"/>
              <a:gd name="connsiteX3" fmla="*/ 1707243 w 3866243"/>
              <a:gd name="connsiteY3" fmla="*/ 5157788 h 5157788"/>
              <a:gd name="connsiteX4" fmla="*/ 14968 w 3866243"/>
              <a:gd name="connsiteY4" fmla="*/ 3429000 h 5157788"/>
              <a:gd name="connsiteX5" fmla="*/ 1130447 w 3866243"/>
              <a:gd name="connsiteY5" fmla="*/ 0 h 5157788"/>
              <a:gd name="connsiteX0" fmla="*/ 2746143 w 5481939"/>
              <a:gd name="connsiteY0" fmla="*/ 0 h 5157788"/>
              <a:gd name="connsiteX1" fmla="*/ 5481939 w 5481939"/>
              <a:gd name="connsiteY1" fmla="*/ 0 h 5157788"/>
              <a:gd name="connsiteX2" fmla="*/ 5481939 w 5481939"/>
              <a:gd name="connsiteY2" fmla="*/ 5157788 h 5157788"/>
              <a:gd name="connsiteX3" fmla="*/ 585903 w 5481939"/>
              <a:gd name="connsiteY3" fmla="*/ 5153180 h 5157788"/>
              <a:gd name="connsiteX4" fmla="*/ 1630664 w 5481939"/>
              <a:gd name="connsiteY4" fmla="*/ 3429000 h 5157788"/>
              <a:gd name="connsiteX5" fmla="*/ 2746143 w 5481939"/>
              <a:gd name="connsiteY5" fmla="*/ 0 h 5157788"/>
              <a:gd name="connsiteX0" fmla="*/ 2746143 w 5481939"/>
              <a:gd name="connsiteY0" fmla="*/ 0 h 5157788"/>
              <a:gd name="connsiteX1" fmla="*/ 5481939 w 5481939"/>
              <a:gd name="connsiteY1" fmla="*/ 0 h 5157788"/>
              <a:gd name="connsiteX2" fmla="*/ 5481939 w 5481939"/>
              <a:gd name="connsiteY2" fmla="*/ 5157788 h 5157788"/>
              <a:gd name="connsiteX3" fmla="*/ 585903 w 5481939"/>
              <a:gd name="connsiteY3" fmla="*/ 5153180 h 5157788"/>
              <a:gd name="connsiteX4" fmla="*/ 1630664 w 5481939"/>
              <a:gd name="connsiteY4" fmla="*/ 3429000 h 5157788"/>
              <a:gd name="connsiteX5" fmla="*/ 2746143 w 548193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3574235 w 6310031"/>
              <a:gd name="connsiteY0" fmla="*/ 0 h 5157788"/>
              <a:gd name="connsiteX1" fmla="*/ 6310031 w 6310031"/>
              <a:gd name="connsiteY1" fmla="*/ 0 h 5157788"/>
              <a:gd name="connsiteX2" fmla="*/ 6310031 w 6310031"/>
              <a:gd name="connsiteY2" fmla="*/ 5157788 h 5157788"/>
              <a:gd name="connsiteX3" fmla="*/ 585903 w 6310031"/>
              <a:gd name="connsiteY3" fmla="*/ 5153180 h 5157788"/>
              <a:gd name="connsiteX4" fmla="*/ 1738031 w 6310031"/>
              <a:gd name="connsiteY4" fmla="*/ 3389965 h 5157788"/>
              <a:gd name="connsiteX5" fmla="*/ 3574235 w 6310031"/>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296143 w 5724128"/>
              <a:gd name="connsiteY4" fmla="*/ 3461908 h 5157788"/>
              <a:gd name="connsiteX5" fmla="*/ 2988332 w 5724128"/>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1188132 w 5760132"/>
              <a:gd name="connsiteY4" fmla="*/ 3425937 h 5157788"/>
              <a:gd name="connsiteX5" fmla="*/ 3024336 w 5760132"/>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2736304 w 5760132"/>
              <a:gd name="connsiteY4" fmla="*/ 3461908 h 5157788"/>
              <a:gd name="connsiteX5" fmla="*/ 3024336 w 5760132"/>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2736304 w 5760132"/>
              <a:gd name="connsiteY4" fmla="*/ 3461908 h 5157788"/>
              <a:gd name="connsiteX5" fmla="*/ 3024336 w 5760132"/>
              <a:gd name="connsiteY5" fmla="*/ 0 h 5157788"/>
              <a:gd name="connsiteX0" fmla="*/ 2160240 w 4896036"/>
              <a:gd name="connsiteY0" fmla="*/ 0 h 5157788"/>
              <a:gd name="connsiteX1" fmla="*/ 4896036 w 4896036"/>
              <a:gd name="connsiteY1" fmla="*/ 0 h 5157788"/>
              <a:gd name="connsiteX2" fmla="*/ 4896036 w 4896036"/>
              <a:gd name="connsiteY2" fmla="*/ 5157788 h 5157788"/>
              <a:gd name="connsiteX3" fmla="*/ 0 w 4896036"/>
              <a:gd name="connsiteY3" fmla="*/ 5153180 h 5157788"/>
              <a:gd name="connsiteX4" fmla="*/ 1872208 w 4896036"/>
              <a:gd name="connsiteY4" fmla="*/ 3461908 h 5157788"/>
              <a:gd name="connsiteX5" fmla="*/ 2160240 w 4896036"/>
              <a:gd name="connsiteY5" fmla="*/ 0 h 5157788"/>
              <a:gd name="connsiteX0" fmla="*/ 2232248 w 4968044"/>
              <a:gd name="connsiteY0" fmla="*/ 0 h 5157788"/>
              <a:gd name="connsiteX1" fmla="*/ 4968044 w 4968044"/>
              <a:gd name="connsiteY1" fmla="*/ 0 h 5157788"/>
              <a:gd name="connsiteX2" fmla="*/ 4968044 w 4968044"/>
              <a:gd name="connsiteY2" fmla="*/ 5157788 h 5157788"/>
              <a:gd name="connsiteX3" fmla="*/ 0 w 4968044"/>
              <a:gd name="connsiteY3" fmla="*/ 5153180 h 5157788"/>
              <a:gd name="connsiteX4" fmla="*/ 1944216 w 4968044"/>
              <a:gd name="connsiteY4" fmla="*/ 3461908 h 5157788"/>
              <a:gd name="connsiteX5" fmla="*/ 2232248 w 4968044"/>
              <a:gd name="connsiteY5" fmla="*/ 0 h 5157788"/>
              <a:gd name="connsiteX0" fmla="*/ 2207679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207679 w 4943475"/>
              <a:gd name="connsiteY5" fmla="*/ 0 h 5157788"/>
              <a:gd name="connsiteX0" fmla="*/ 2963763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963763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092200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71575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343583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675731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675731 w 4943475"/>
              <a:gd name="connsiteY5" fmla="*/ 0 h 5157788"/>
              <a:gd name="connsiteX0" fmla="*/ 2675731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675731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9672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19672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51412" h="5157788">
                <a:moveTo>
                  <a:pt x="2706687" y="0"/>
                </a:moveTo>
                <a:lnTo>
                  <a:pt x="4951412" y="0"/>
                </a:lnTo>
                <a:lnTo>
                  <a:pt x="4951412" y="5157788"/>
                </a:lnTo>
                <a:lnTo>
                  <a:pt x="0" y="5153180"/>
                </a:lnTo>
                <a:cubicBezTo>
                  <a:pt x="84411" y="4542509"/>
                  <a:pt x="183041" y="4024723"/>
                  <a:pt x="1243508" y="2562613"/>
                </a:cubicBezTo>
                <a:cubicBezTo>
                  <a:pt x="1867447" y="1704780"/>
                  <a:pt x="2665955" y="709265"/>
                  <a:pt x="2706687" y="0"/>
                </a:cubicBezTo>
                <a:close/>
              </a:path>
            </a:pathLst>
          </a:custGeom>
          <a:solidFill>
            <a:schemeClr val="bg2"/>
          </a:solidFill>
          <a:ln w="3175">
            <a:noFill/>
          </a:ln>
        </p:spPr>
        <p:txBody>
          <a:bodyPr tIns="720000" rtlCol="0" anchor="ctr">
            <a:noAutofit/>
          </a:bodyPr>
          <a:lstStyle>
            <a:lvl1pPr algn="ctr">
              <a:defRPr sz="1500">
                <a:solidFill>
                  <a:schemeClr val="bg1"/>
                </a:solidFill>
              </a:defRPr>
            </a:lvl1pPr>
          </a:lstStyle>
          <a:p>
            <a:pPr lvl="0"/>
            <a:r>
              <a:rPr lang="en-US" noProof="0"/>
              <a:t>Click icon to add picture</a:t>
            </a:r>
          </a:p>
        </p:txBody>
      </p:sp>
      <p:sp>
        <p:nvSpPr>
          <p:cNvPr id="14" name="Espace réservé de la date 9"/>
          <p:cNvSpPr>
            <a:spLocks noGrp="1"/>
          </p:cNvSpPr>
          <p:nvPr>
            <p:ph type="dt" sz="half" idx="21"/>
          </p:nvPr>
        </p:nvSpPr>
        <p:spPr/>
        <p:txBody>
          <a:bodyPr/>
          <a:lstStyle>
            <a:lvl1pPr>
              <a:defRPr/>
            </a:lvl1pPr>
          </a:lstStyle>
          <a:p>
            <a:pPr>
              <a:defRPr/>
            </a:pPr>
            <a:r>
              <a:rPr lang="en-US">
                <a:solidFill>
                  <a:prstClr val="white">
                    <a:alpha val="0"/>
                  </a:prstClr>
                </a:solidFill>
              </a:rPr>
              <a:t>Date</a:t>
            </a:r>
          </a:p>
        </p:txBody>
      </p:sp>
      <p:sp>
        <p:nvSpPr>
          <p:cNvPr id="16" name="Espace réservé du numéro de diapositive 10"/>
          <p:cNvSpPr>
            <a:spLocks noGrp="1"/>
          </p:cNvSpPr>
          <p:nvPr>
            <p:ph type="sldNum" sz="quarter" idx="22"/>
          </p:nvPr>
        </p:nvSpPr>
        <p:spPr/>
        <p:txBody>
          <a:bodyPr/>
          <a:lstStyle>
            <a:lvl1pPr>
              <a:defRPr sz="100">
                <a:solidFill>
                  <a:schemeClr val="bg1">
                    <a:alpha val="0"/>
                  </a:schemeClr>
                </a:solidFill>
              </a:defRPr>
            </a:lvl1pPr>
          </a:lstStyle>
          <a:p>
            <a:pPr>
              <a:defRPr/>
            </a:pPr>
            <a:r>
              <a:rPr lang="en-US">
                <a:solidFill>
                  <a:prstClr val="white">
                    <a:alpha val="0"/>
                  </a:prstClr>
                </a:solidFill>
              </a:rPr>
              <a:t>Page: </a:t>
            </a:r>
            <a:fld id="{FBC781E1-DB0D-44EA-942B-52789A2EA6EC}" type="slidenum">
              <a:rPr lang="en-US">
                <a:solidFill>
                  <a:prstClr val="white">
                    <a:alpha val="0"/>
                  </a:prstClr>
                </a:solidFill>
              </a:rPr>
              <a:pPr>
                <a:defRPr/>
              </a:pPr>
              <a:t>‹#›</a:t>
            </a:fld>
            <a:endParaRPr lang="en-US">
              <a:solidFill>
                <a:prstClr val="white">
                  <a:alpha val="0"/>
                </a:prstClr>
              </a:solidFill>
            </a:endParaRPr>
          </a:p>
        </p:txBody>
      </p:sp>
      <p:sp>
        <p:nvSpPr>
          <p:cNvPr id="18" name="Espace réservé du pied de page 11"/>
          <p:cNvSpPr>
            <a:spLocks noGrp="1"/>
          </p:cNvSpPr>
          <p:nvPr>
            <p:ph type="ftr" sz="quarter" idx="23"/>
          </p:nvPr>
        </p:nvSpPr>
        <p:spPr>
          <a:xfrm>
            <a:off x="468313" y="523875"/>
            <a:ext cx="4824412" cy="360363"/>
          </a:xfrm>
        </p:spPr>
        <p:txBody>
          <a:bodyPr/>
          <a:lstStyle>
            <a:lvl1pPr algn="l">
              <a:defRPr sz="1800" b="0">
                <a:solidFill>
                  <a:schemeClr val="bg1"/>
                </a:solidFill>
              </a:defRPr>
            </a:lvl1pPr>
          </a:lstStyle>
          <a:p>
            <a:pPr>
              <a:defRPr/>
            </a:pPr>
            <a:r>
              <a:rPr lang="en-US">
                <a:solidFill>
                  <a:prstClr val="white"/>
                </a:solidFill>
              </a:rPr>
              <a:t>#</a:t>
            </a:r>
            <a:r>
              <a:rPr lang="en-US" err="1">
                <a:solidFill>
                  <a:prstClr val="white"/>
                </a:solidFill>
              </a:rPr>
              <a:t>vaccineswork</a:t>
            </a:r>
            <a:endParaRPr lang="en-US">
              <a:solidFill>
                <a:prstClr val="white"/>
              </a:solidFill>
            </a:endParaRPr>
          </a:p>
          <a:p>
            <a:pPr>
              <a:defRPr/>
            </a:pPr>
            <a:endParaRPr lang="en-US">
              <a:solidFill>
                <a:prstClr val="white"/>
              </a:solidFill>
            </a:endParaRPr>
          </a:p>
        </p:txBody>
      </p:sp>
    </p:spTree>
    <p:extLst>
      <p:ext uri="{BB962C8B-B14F-4D97-AF65-F5344CB8AC3E}">
        <p14:creationId xmlns:p14="http://schemas.microsoft.com/office/powerpoint/2010/main" val="4116983189"/>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Cover_Picture_2">
    <p:spTree>
      <p:nvGrpSpPr>
        <p:cNvPr id="1" name=""/>
        <p:cNvGrpSpPr/>
        <p:nvPr/>
      </p:nvGrpSpPr>
      <p:grpSpPr>
        <a:xfrm>
          <a:off x="0" y="0"/>
          <a:ext cx="0" cy="0"/>
          <a:chOff x="0" y="0"/>
          <a:chExt cx="0" cy="0"/>
        </a:xfrm>
      </p:grpSpPr>
      <p:pic>
        <p:nvPicPr>
          <p:cNvPr id="7" name="Image 20" descr="FD_1_L254.png"/>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gray">
          <a:xfrm>
            <a:off x="0" y="0"/>
            <a:ext cx="9144000" cy="51577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0" name="Rectangle 9"/>
          <p:cNvSpPr/>
          <p:nvPr userDrawn="1"/>
        </p:nvSpPr>
        <p:spPr bwMode="gray">
          <a:xfrm>
            <a:off x="3635375" y="5265738"/>
            <a:ext cx="5508625" cy="15922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prstClr val="white"/>
              </a:solidFill>
            </a:endParaRPr>
          </a:p>
        </p:txBody>
      </p:sp>
      <p:pic>
        <p:nvPicPr>
          <p:cNvPr id="11" name="Image 19" descr="Bas_couv.png"/>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gray">
          <a:xfrm>
            <a:off x="0" y="5172075"/>
            <a:ext cx="3635375" cy="16859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2" name="Rectangle 11"/>
          <p:cNvSpPr/>
          <p:nvPr userDrawn="1"/>
        </p:nvSpPr>
        <p:spPr bwMode="gray">
          <a:xfrm>
            <a:off x="3635375" y="6354763"/>
            <a:ext cx="5113338" cy="2873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p>
            <a:pPr algn="r">
              <a:defRPr/>
            </a:pPr>
            <a:r>
              <a:rPr lang="en-US" sz="1000" err="1">
                <a:solidFill>
                  <a:srgbClr val="95D600"/>
                </a:solidFill>
              </a:rPr>
              <a:t>www.gavi.org</a:t>
            </a:r>
            <a:endParaRPr lang="en-US" sz="1000">
              <a:solidFill>
                <a:srgbClr val="95D600"/>
              </a:solidFill>
            </a:endParaRPr>
          </a:p>
        </p:txBody>
      </p:sp>
      <p:cxnSp>
        <p:nvCxnSpPr>
          <p:cNvPr id="13" name="Connecteur droit 13"/>
          <p:cNvCxnSpPr/>
          <p:nvPr userDrawn="1"/>
        </p:nvCxnSpPr>
        <p:spPr bwMode="gray">
          <a:xfrm flipH="1">
            <a:off x="468313" y="3402013"/>
            <a:ext cx="2447925" cy="0"/>
          </a:xfrm>
          <a:prstGeom prst="line">
            <a:avLst/>
          </a:prstGeom>
          <a:ln w="24130">
            <a:solidFill>
              <a:schemeClr val="accent1"/>
            </a:solidFill>
          </a:ln>
        </p:spPr>
        <p:style>
          <a:lnRef idx="1">
            <a:schemeClr val="accent1"/>
          </a:lnRef>
          <a:fillRef idx="0">
            <a:schemeClr val="accent1"/>
          </a:fillRef>
          <a:effectRef idx="0">
            <a:schemeClr val="accent1"/>
          </a:effectRef>
          <a:fontRef idx="minor">
            <a:schemeClr val="tx1"/>
          </a:fontRef>
        </p:style>
      </p:cxnSp>
      <p:sp>
        <p:nvSpPr>
          <p:cNvPr id="9" name="Espace réservé du texte 8"/>
          <p:cNvSpPr>
            <a:spLocks noGrp="1"/>
          </p:cNvSpPr>
          <p:nvPr>
            <p:ph type="body" sz="quarter" idx="13"/>
          </p:nvPr>
        </p:nvSpPr>
        <p:spPr bwMode="gray">
          <a:xfrm>
            <a:off x="468000" y="1036800"/>
            <a:ext cx="4824412" cy="2232000"/>
          </a:xfrm>
        </p:spPr>
        <p:txBody>
          <a:bodyPr anchor="b"/>
          <a:lstStyle>
            <a:lvl1pPr marL="0" indent="0" algn="l">
              <a:lnSpc>
                <a:spcPct val="90000"/>
              </a:lnSpc>
              <a:buNone/>
              <a:defRPr sz="2800" b="1" cap="none" baseline="0">
                <a:solidFill>
                  <a:schemeClr val="bg1"/>
                </a:solidFill>
              </a:defRPr>
            </a:lvl1pPr>
            <a:lvl2pPr marL="0" algn="ctr">
              <a:lnSpc>
                <a:spcPct val="100000"/>
              </a:lnSpc>
              <a:spcBef>
                <a:spcPts val="6900"/>
              </a:spcBef>
              <a:defRPr sz="2000" b="1">
                <a:solidFill>
                  <a:schemeClr val="bg1"/>
                </a:solidFill>
              </a:defRPr>
            </a:lvl2pPr>
          </a:lstStyle>
          <a:p>
            <a:pPr lvl="0"/>
            <a:r>
              <a:rPr lang="en-US" noProof="0"/>
              <a:t>Click to edit Master text styles</a:t>
            </a:r>
          </a:p>
        </p:txBody>
      </p:sp>
      <p:sp>
        <p:nvSpPr>
          <p:cNvPr id="8" name="Espace réservé du texte 8"/>
          <p:cNvSpPr>
            <a:spLocks noGrp="1"/>
          </p:cNvSpPr>
          <p:nvPr>
            <p:ph type="body" sz="quarter" idx="14"/>
          </p:nvPr>
        </p:nvSpPr>
        <p:spPr bwMode="gray">
          <a:xfrm>
            <a:off x="468314" y="3585600"/>
            <a:ext cx="3592800" cy="1479600"/>
          </a:xfrm>
        </p:spPr>
        <p:txBody>
          <a:bodyPr/>
          <a:lstStyle>
            <a:lvl1pPr marL="0" indent="0" algn="l">
              <a:lnSpc>
                <a:spcPct val="90000"/>
              </a:lnSpc>
              <a:buNone/>
              <a:defRPr sz="2000" b="0" baseline="0">
                <a:solidFill>
                  <a:schemeClr val="bg1"/>
                </a:solidFill>
              </a:defRPr>
            </a:lvl1pPr>
            <a:lvl2pPr marL="0" algn="ctr">
              <a:lnSpc>
                <a:spcPct val="100000"/>
              </a:lnSpc>
              <a:spcBef>
                <a:spcPts val="6900"/>
              </a:spcBef>
              <a:defRPr sz="2000" b="1">
                <a:solidFill>
                  <a:schemeClr val="bg1"/>
                </a:solidFill>
              </a:defRPr>
            </a:lvl2pPr>
          </a:lstStyle>
          <a:p>
            <a:pPr lvl="0"/>
            <a:r>
              <a:rPr lang="en-US" noProof="0"/>
              <a:t>Click to edit Master text styles</a:t>
            </a:r>
          </a:p>
        </p:txBody>
      </p:sp>
      <p:sp>
        <p:nvSpPr>
          <p:cNvPr id="15" name="Espace réservé du texte 14"/>
          <p:cNvSpPr>
            <a:spLocks noGrp="1"/>
          </p:cNvSpPr>
          <p:nvPr>
            <p:ph type="body" sz="quarter" idx="19"/>
          </p:nvPr>
        </p:nvSpPr>
        <p:spPr bwMode="gray">
          <a:xfrm>
            <a:off x="3635376" y="6021388"/>
            <a:ext cx="5113338" cy="324000"/>
          </a:xfrm>
        </p:spPr>
        <p:txBody>
          <a:bodyPr anchor="b"/>
          <a:lstStyle>
            <a:lvl1pPr algn="r">
              <a:lnSpc>
                <a:spcPct val="100000"/>
              </a:lnSpc>
              <a:defRPr sz="1000" b="1">
                <a:solidFill>
                  <a:schemeClr val="accent3"/>
                </a:solidFill>
              </a:defRPr>
            </a:lvl1pPr>
          </a:lstStyle>
          <a:p>
            <a:pPr lvl="0"/>
            <a:r>
              <a:rPr lang="en-US" noProof="0"/>
              <a:t>Click to edit Master text styles</a:t>
            </a:r>
          </a:p>
        </p:txBody>
      </p:sp>
      <p:sp>
        <p:nvSpPr>
          <p:cNvPr id="17" name="Espace réservé du texte 16"/>
          <p:cNvSpPr>
            <a:spLocks noGrp="1"/>
          </p:cNvSpPr>
          <p:nvPr>
            <p:ph type="body" sz="quarter" idx="20"/>
          </p:nvPr>
        </p:nvSpPr>
        <p:spPr bwMode="gray">
          <a:xfrm>
            <a:off x="0" y="5157788"/>
            <a:ext cx="9144000" cy="287337"/>
          </a:xfrm>
          <a:solidFill>
            <a:schemeClr val="bg1"/>
          </a:solidFill>
        </p:spPr>
        <p:txBody>
          <a:bodyPr/>
          <a:lstStyle>
            <a:lvl1pPr>
              <a:defRPr sz="100" b="0">
                <a:solidFill>
                  <a:schemeClr val="bg1">
                    <a:alpha val="0"/>
                  </a:schemeClr>
                </a:solidFill>
              </a:defRPr>
            </a:lvl1pPr>
          </a:lstStyle>
          <a:p>
            <a:pPr lvl="0"/>
            <a:r>
              <a:rPr lang="en-US" noProof="0"/>
              <a:t>Click to edit Master text styles</a:t>
            </a:r>
          </a:p>
        </p:txBody>
      </p:sp>
      <p:sp>
        <p:nvSpPr>
          <p:cNvPr id="18" name="Espace réservé pour une image  17"/>
          <p:cNvSpPr>
            <a:spLocks noGrp="1"/>
          </p:cNvSpPr>
          <p:nvPr>
            <p:ph type="pic" sz="quarter" idx="18"/>
          </p:nvPr>
        </p:nvSpPr>
        <p:spPr bwMode="gray">
          <a:xfrm>
            <a:off x="4192588" y="0"/>
            <a:ext cx="4951412" cy="5162400"/>
          </a:xfrm>
          <a:custGeom>
            <a:avLst/>
            <a:gdLst>
              <a:gd name="connsiteX0" fmla="*/ 0 w 3851275"/>
              <a:gd name="connsiteY0" fmla="*/ 0 h 5157788"/>
              <a:gd name="connsiteX1" fmla="*/ 3851275 w 3851275"/>
              <a:gd name="connsiteY1" fmla="*/ 0 h 5157788"/>
              <a:gd name="connsiteX2" fmla="*/ 3851275 w 3851275"/>
              <a:gd name="connsiteY2" fmla="*/ 5157788 h 5157788"/>
              <a:gd name="connsiteX3" fmla="*/ 0 w 3851275"/>
              <a:gd name="connsiteY3" fmla="*/ 5157788 h 5157788"/>
              <a:gd name="connsiteX4" fmla="*/ 0 w 3851275"/>
              <a:gd name="connsiteY4"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0 w 3851275"/>
              <a:gd name="connsiteY3" fmla="*/ 5157788 h 5157788"/>
              <a:gd name="connsiteX4" fmla="*/ 1692275 w 3851275"/>
              <a:gd name="connsiteY4" fmla="*/ 0 h 5157788"/>
              <a:gd name="connsiteX0" fmla="*/ 0 w 2159000"/>
              <a:gd name="connsiteY0" fmla="*/ 0 h 5157788"/>
              <a:gd name="connsiteX1" fmla="*/ 2159000 w 2159000"/>
              <a:gd name="connsiteY1" fmla="*/ 0 h 5157788"/>
              <a:gd name="connsiteX2" fmla="*/ 2159000 w 2159000"/>
              <a:gd name="connsiteY2" fmla="*/ 5157788 h 5157788"/>
              <a:gd name="connsiteX3" fmla="*/ 0 w 2159000"/>
              <a:gd name="connsiteY3" fmla="*/ 5157788 h 5157788"/>
              <a:gd name="connsiteX4" fmla="*/ 0 w 2159000"/>
              <a:gd name="connsiteY4" fmla="*/ 0 h 5157788"/>
              <a:gd name="connsiteX0" fmla="*/ 2625271 w 4784271"/>
              <a:gd name="connsiteY0" fmla="*/ 0 h 5157788"/>
              <a:gd name="connsiteX1" fmla="*/ 4784271 w 4784271"/>
              <a:gd name="connsiteY1" fmla="*/ 0 h 5157788"/>
              <a:gd name="connsiteX2" fmla="*/ 4784271 w 4784271"/>
              <a:gd name="connsiteY2" fmla="*/ 5157788 h 5157788"/>
              <a:gd name="connsiteX3" fmla="*/ 2625271 w 4784271"/>
              <a:gd name="connsiteY3" fmla="*/ 5157788 h 5157788"/>
              <a:gd name="connsiteX4" fmla="*/ 2625271 w 4784271"/>
              <a:gd name="connsiteY4" fmla="*/ 0 h 5157788"/>
              <a:gd name="connsiteX0" fmla="*/ 2625271 w 4784271"/>
              <a:gd name="connsiteY0" fmla="*/ 0 h 5157788"/>
              <a:gd name="connsiteX1" fmla="*/ 4784271 w 4784271"/>
              <a:gd name="connsiteY1" fmla="*/ 0 h 5157788"/>
              <a:gd name="connsiteX2" fmla="*/ 4784271 w 4784271"/>
              <a:gd name="connsiteY2" fmla="*/ 5157788 h 5157788"/>
              <a:gd name="connsiteX3" fmla="*/ 2625271 w 4784271"/>
              <a:gd name="connsiteY3" fmla="*/ 5157788 h 5157788"/>
              <a:gd name="connsiteX4" fmla="*/ 2625271 w 4784271"/>
              <a:gd name="connsiteY4" fmla="*/ 0 h 5157788"/>
              <a:gd name="connsiteX0" fmla="*/ 3568576 w 5727576"/>
              <a:gd name="connsiteY0" fmla="*/ 0 h 5157788"/>
              <a:gd name="connsiteX1" fmla="*/ 5727576 w 5727576"/>
              <a:gd name="connsiteY1" fmla="*/ 0 h 5157788"/>
              <a:gd name="connsiteX2" fmla="*/ 5727576 w 5727576"/>
              <a:gd name="connsiteY2" fmla="*/ 5157788 h 5157788"/>
              <a:gd name="connsiteX3" fmla="*/ 3568576 w 5727576"/>
              <a:gd name="connsiteY3" fmla="*/ 5157788 h 5157788"/>
              <a:gd name="connsiteX4" fmla="*/ 3568576 w 5727576"/>
              <a:gd name="connsiteY4" fmla="*/ 0 h 5157788"/>
              <a:gd name="connsiteX0" fmla="*/ 3306355 w 5465355"/>
              <a:gd name="connsiteY0" fmla="*/ 0 h 5157788"/>
              <a:gd name="connsiteX1" fmla="*/ 5465355 w 5465355"/>
              <a:gd name="connsiteY1" fmla="*/ 0 h 5157788"/>
              <a:gd name="connsiteX2" fmla="*/ 5465355 w 5465355"/>
              <a:gd name="connsiteY2" fmla="*/ 5157788 h 5157788"/>
              <a:gd name="connsiteX3" fmla="*/ 3306355 w 5465355"/>
              <a:gd name="connsiteY3" fmla="*/ 5157788 h 5157788"/>
              <a:gd name="connsiteX4" fmla="*/ 3306355 w 5465355"/>
              <a:gd name="connsiteY4" fmla="*/ 0 h 5157788"/>
              <a:gd name="connsiteX0" fmla="*/ 1416957 w 3575957"/>
              <a:gd name="connsiteY0" fmla="*/ 0 h 5157788"/>
              <a:gd name="connsiteX1" fmla="*/ 3575957 w 3575957"/>
              <a:gd name="connsiteY1" fmla="*/ 0 h 5157788"/>
              <a:gd name="connsiteX2" fmla="*/ 3575957 w 3575957"/>
              <a:gd name="connsiteY2" fmla="*/ 5157788 h 5157788"/>
              <a:gd name="connsiteX3" fmla="*/ 1416957 w 3575957"/>
              <a:gd name="connsiteY3" fmla="*/ 5157788 h 5157788"/>
              <a:gd name="connsiteX4" fmla="*/ 0 w 3575957"/>
              <a:gd name="connsiteY4" fmla="*/ 3339193 h 5157788"/>
              <a:gd name="connsiteX5" fmla="*/ 1416957 w 3575957"/>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6017419"/>
              <a:gd name="connsiteX1" fmla="*/ 3851275 w 3851275"/>
              <a:gd name="connsiteY1" fmla="*/ 0 h 6017419"/>
              <a:gd name="connsiteX2" fmla="*/ 3851275 w 3851275"/>
              <a:gd name="connsiteY2" fmla="*/ 5157788 h 6017419"/>
              <a:gd name="connsiteX3" fmla="*/ 1692275 w 3851275"/>
              <a:gd name="connsiteY3" fmla="*/ 5157788 h 6017419"/>
              <a:gd name="connsiteX4" fmla="*/ 0 w 3851275"/>
              <a:gd name="connsiteY4" fmla="*/ 3284984 h 6017419"/>
              <a:gd name="connsiteX5" fmla="*/ 1692275 w 3851275"/>
              <a:gd name="connsiteY5" fmla="*/ 0 h 6017419"/>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429000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429000 h 5157788"/>
              <a:gd name="connsiteX5" fmla="*/ 1710871 w 3869871"/>
              <a:gd name="connsiteY5" fmla="*/ 0 h 5157788"/>
              <a:gd name="connsiteX0" fmla="*/ 1704975 w 3863975"/>
              <a:gd name="connsiteY0" fmla="*/ 0 h 5157788"/>
              <a:gd name="connsiteX1" fmla="*/ 3863975 w 3863975"/>
              <a:gd name="connsiteY1" fmla="*/ 0 h 5157788"/>
              <a:gd name="connsiteX2" fmla="*/ 3863975 w 3863975"/>
              <a:gd name="connsiteY2" fmla="*/ 5157788 h 5157788"/>
              <a:gd name="connsiteX3" fmla="*/ 1704975 w 3863975"/>
              <a:gd name="connsiteY3" fmla="*/ 5157788 h 5157788"/>
              <a:gd name="connsiteX4" fmla="*/ 12700 w 3863975"/>
              <a:gd name="connsiteY4" fmla="*/ 3429000 h 5157788"/>
              <a:gd name="connsiteX5" fmla="*/ 1704975 w 3863975"/>
              <a:gd name="connsiteY5" fmla="*/ 0 h 5157788"/>
              <a:gd name="connsiteX0" fmla="*/ 1707243 w 3866243"/>
              <a:gd name="connsiteY0" fmla="*/ 0 h 5157788"/>
              <a:gd name="connsiteX1" fmla="*/ 3866243 w 3866243"/>
              <a:gd name="connsiteY1" fmla="*/ 0 h 5157788"/>
              <a:gd name="connsiteX2" fmla="*/ 3866243 w 3866243"/>
              <a:gd name="connsiteY2" fmla="*/ 5157788 h 5157788"/>
              <a:gd name="connsiteX3" fmla="*/ 1707243 w 3866243"/>
              <a:gd name="connsiteY3" fmla="*/ 5157788 h 5157788"/>
              <a:gd name="connsiteX4" fmla="*/ 14968 w 3866243"/>
              <a:gd name="connsiteY4" fmla="*/ 3429000 h 5157788"/>
              <a:gd name="connsiteX5" fmla="*/ 1707243 w 3866243"/>
              <a:gd name="connsiteY5" fmla="*/ 0 h 5157788"/>
              <a:gd name="connsiteX0" fmla="*/ 1130447 w 3866243"/>
              <a:gd name="connsiteY0" fmla="*/ 0 h 5157788"/>
              <a:gd name="connsiteX1" fmla="*/ 3866243 w 3866243"/>
              <a:gd name="connsiteY1" fmla="*/ 0 h 5157788"/>
              <a:gd name="connsiteX2" fmla="*/ 3866243 w 3866243"/>
              <a:gd name="connsiteY2" fmla="*/ 5157788 h 5157788"/>
              <a:gd name="connsiteX3" fmla="*/ 1707243 w 3866243"/>
              <a:gd name="connsiteY3" fmla="*/ 5157788 h 5157788"/>
              <a:gd name="connsiteX4" fmla="*/ 14968 w 3866243"/>
              <a:gd name="connsiteY4" fmla="*/ 3429000 h 5157788"/>
              <a:gd name="connsiteX5" fmla="*/ 1130447 w 3866243"/>
              <a:gd name="connsiteY5" fmla="*/ 0 h 5157788"/>
              <a:gd name="connsiteX0" fmla="*/ 2746143 w 5481939"/>
              <a:gd name="connsiteY0" fmla="*/ 0 h 5157788"/>
              <a:gd name="connsiteX1" fmla="*/ 5481939 w 5481939"/>
              <a:gd name="connsiteY1" fmla="*/ 0 h 5157788"/>
              <a:gd name="connsiteX2" fmla="*/ 5481939 w 5481939"/>
              <a:gd name="connsiteY2" fmla="*/ 5157788 h 5157788"/>
              <a:gd name="connsiteX3" fmla="*/ 585903 w 5481939"/>
              <a:gd name="connsiteY3" fmla="*/ 5153180 h 5157788"/>
              <a:gd name="connsiteX4" fmla="*/ 1630664 w 5481939"/>
              <a:gd name="connsiteY4" fmla="*/ 3429000 h 5157788"/>
              <a:gd name="connsiteX5" fmla="*/ 2746143 w 5481939"/>
              <a:gd name="connsiteY5" fmla="*/ 0 h 5157788"/>
              <a:gd name="connsiteX0" fmla="*/ 2746143 w 5481939"/>
              <a:gd name="connsiteY0" fmla="*/ 0 h 5157788"/>
              <a:gd name="connsiteX1" fmla="*/ 5481939 w 5481939"/>
              <a:gd name="connsiteY1" fmla="*/ 0 h 5157788"/>
              <a:gd name="connsiteX2" fmla="*/ 5481939 w 5481939"/>
              <a:gd name="connsiteY2" fmla="*/ 5157788 h 5157788"/>
              <a:gd name="connsiteX3" fmla="*/ 585903 w 5481939"/>
              <a:gd name="connsiteY3" fmla="*/ 5153180 h 5157788"/>
              <a:gd name="connsiteX4" fmla="*/ 1630664 w 5481939"/>
              <a:gd name="connsiteY4" fmla="*/ 3429000 h 5157788"/>
              <a:gd name="connsiteX5" fmla="*/ 2746143 w 548193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3574235 w 6310031"/>
              <a:gd name="connsiteY0" fmla="*/ 0 h 5157788"/>
              <a:gd name="connsiteX1" fmla="*/ 6310031 w 6310031"/>
              <a:gd name="connsiteY1" fmla="*/ 0 h 5157788"/>
              <a:gd name="connsiteX2" fmla="*/ 6310031 w 6310031"/>
              <a:gd name="connsiteY2" fmla="*/ 5157788 h 5157788"/>
              <a:gd name="connsiteX3" fmla="*/ 585903 w 6310031"/>
              <a:gd name="connsiteY3" fmla="*/ 5153180 h 5157788"/>
              <a:gd name="connsiteX4" fmla="*/ 1738031 w 6310031"/>
              <a:gd name="connsiteY4" fmla="*/ 3389965 h 5157788"/>
              <a:gd name="connsiteX5" fmla="*/ 3574235 w 6310031"/>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296143 w 5724128"/>
              <a:gd name="connsiteY4" fmla="*/ 3461908 h 5157788"/>
              <a:gd name="connsiteX5" fmla="*/ 2988332 w 5724128"/>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1188132 w 5760132"/>
              <a:gd name="connsiteY4" fmla="*/ 3425937 h 5157788"/>
              <a:gd name="connsiteX5" fmla="*/ 3024336 w 5760132"/>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2736304 w 5760132"/>
              <a:gd name="connsiteY4" fmla="*/ 3461908 h 5157788"/>
              <a:gd name="connsiteX5" fmla="*/ 3024336 w 5760132"/>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2736304 w 5760132"/>
              <a:gd name="connsiteY4" fmla="*/ 3461908 h 5157788"/>
              <a:gd name="connsiteX5" fmla="*/ 3024336 w 5760132"/>
              <a:gd name="connsiteY5" fmla="*/ 0 h 5157788"/>
              <a:gd name="connsiteX0" fmla="*/ 2160240 w 4896036"/>
              <a:gd name="connsiteY0" fmla="*/ 0 h 5157788"/>
              <a:gd name="connsiteX1" fmla="*/ 4896036 w 4896036"/>
              <a:gd name="connsiteY1" fmla="*/ 0 h 5157788"/>
              <a:gd name="connsiteX2" fmla="*/ 4896036 w 4896036"/>
              <a:gd name="connsiteY2" fmla="*/ 5157788 h 5157788"/>
              <a:gd name="connsiteX3" fmla="*/ 0 w 4896036"/>
              <a:gd name="connsiteY3" fmla="*/ 5153180 h 5157788"/>
              <a:gd name="connsiteX4" fmla="*/ 1872208 w 4896036"/>
              <a:gd name="connsiteY4" fmla="*/ 3461908 h 5157788"/>
              <a:gd name="connsiteX5" fmla="*/ 2160240 w 4896036"/>
              <a:gd name="connsiteY5" fmla="*/ 0 h 5157788"/>
              <a:gd name="connsiteX0" fmla="*/ 2232248 w 4968044"/>
              <a:gd name="connsiteY0" fmla="*/ 0 h 5157788"/>
              <a:gd name="connsiteX1" fmla="*/ 4968044 w 4968044"/>
              <a:gd name="connsiteY1" fmla="*/ 0 h 5157788"/>
              <a:gd name="connsiteX2" fmla="*/ 4968044 w 4968044"/>
              <a:gd name="connsiteY2" fmla="*/ 5157788 h 5157788"/>
              <a:gd name="connsiteX3" fmla="*/ 0 w 4968044"/>
              <a:gd name="connsiteY3" fmla="*/ 5153180 h 5157788"/>
              <a:gd name="connsiteX4" fmla="*/ 1944216 w 4968044"/>
              <a:gd name="connsiteY4" fmla="*/ 3461908 h 5157788"/>
              <a:gd name="connsiteX5" fmla="*/ 2232248 w 4968044"/>
              <a:gd name="connsiteY5" fmla="*/ 0 h 5157788"/>
              <a:gd name="connsiteX0" fmla="*/ 2207679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207679 w 4943475"/>
              <a:gd name="connsiteY5" fmla="*/ 0 h 5157788"/>
              <a:gd name="connsiteX0" fmla="*/ 2963763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963763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092200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71575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343583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675731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675731 w 4943475"/>
              <a:gd name="connsiteY5" fmla="*/ 0 h 5157788"/>
              <a:gd name="connsiteX0" fmla="*/ 2675731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675731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9672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19672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51412" h="5157788">
                <a:moveTo>
                  <a:pt x="2706687" y="0"/>
                </a:moveTo>
                <a:lnTo>
                  <a:pt x="4951412" y="0"/>
                </a:lnTo>
                <a:lnTo>
                  <a:pt x="4951412" y="5157788"/>
                </a:lnTo>
                <a:lnTo>
                  <a:pt x="0" y="5153180"/>
                </a:lnTo>
                <a:cubicBezTo>
                  <a:pt x="84411" y="4542509"/>
                  <a:pt x="183041" y="4024723"/>
                  <a:pt x="1243508" y="2562613"/>
                </a:cubicBezTo>
                <a:cubicBezTo>
                  <a:pt x="1867447" y="1704780"/>
                  <a:pt x="2665955" y="709265"/>
                  <a:pt x="2706687" y="0"/>
                </a:cubicBezTo>
                <a:close/>
              </a:path>
            </a:pathLst>
          </a:custGeom>
          <a:solidFill>
            <a:schemeClr val="bg2"/>
          </a:solidFill>
          <a:ln w="3175">
            <a:noFill/>
          </a:ln>
        </p:spPr>
        <p:txBody>
          <a:bodyPr tIns="720000" rtlCol="0" anchor="ctr">
            <a:noAutofit/>
          </a:bodyPr>
          <a:lstStyle>
            <a:lvl1pPr algn="ctr">
              <a:defRPr sz="1500">
                <a:solidFill>
                  <a:schemeClr val="bg1"/>
                </a:solidFill>
              </a:defRPr>
            </a:lvl1pPr>
          </a:lstStyle>
          <a:p>
            <a:pPr lvl="0"/>
            <a:r>
              <a:rPr lang="en-US" noProof="0"/>
              <a:t>Click icon to add picture</a:t>
            </a:r>
          </a:p>
        </p:txBody>
      </p:sp>
      <p:sp>
        <p:nvSpPr>
          <p:cNvPr id="14" name="Espace réservé de la date 9"/>
          <p:cNvSpPr>
            <a:spLocks noGrp="1"/>
          </p:cNvSpPr>
          <p:nvPr>
            <p:ph type="dt" sz="half" idx="21"/>
          </p:nvPr>
        </p:nvSpPr>
        <p:spPr/>
        <p:txBody>
          <a:bodyPr/>
          <a:lstStyle>
            <a:lvl1pPr>
              <a:defRPr/>
            </a:lvl1pPr>
          </a:lstStyle>
          <a:p>
            <a:pPr>
              <a:defRPr/>
            </a:pPr>
            <a:r>
              <a:rPr lang="en-US">
                <a:solidFill>
                  <a:prstClr val="white">
                    <a:alpha val="0"/>
                  </a:prstClr>
                </a:solidFill>
              </a:rPr>
              <a:t>Date</a:t>
            </a:r>
          </a:p>
        </p:txBody>
      </p:sp>
      <p:sp>
        <p:nvSpPr>
          <p:cNvPr id="16" name="Espace réservé du numéro de diapositive 10"/>
          <p:cNvSpPr>
            <a:spLocks noGrp="1"/>
          </p:cNvSpPr>
          <p:nvPr>
            <p:ph type="sldNum" sz="quarter" idx="22"/>
          </p:nvPr>
        </p:nvSpPr>
        <p:spPr/>
        <p:txBody>
          <a:bodyPr/>
          <a:lstStyle>
            <a:lvl1pPr>
              <a:defRPr sz="100">
                <a:solidFill>
                  <a:schemeClr val="bg1">
                    <a:alpha val="0"/>
                  </a:schemeClr>
                </a:solidFill>
              </a:defRPr>
            </a:lvl1pPr>
          </a:lstStyle>
          <a:p>
            <a:pPr>
              <a:defRPr/>
            </a:pPr>
            <a:r>
              <a:rPr lang="en-US">
                <a:solidFill>
                  <a:prstClr val="white">
                    <a:alpha val="0"/>
                  </a:prstClr>
                </a:solidFill>
              </a:rPr>
              <a:t>Page: </a:t>
            </a:r>
            <a:fld id="{A170035D-6B8C-439A-85EA-19B5ADE5A975}" type="slidenum">
              <a:rPr lang="en-US">
                <a:solidFill>
                  <a:prstClr val="white">
                    <a:alpha val="0"/>
                  </a:prstClr>
                </a:solidFill>
              </a:rPr>
              <a:pPr>
                <a:defRPr/>
              </a:pPr>
              <a:t>‹#›</a:t>
            </a:fld>
            <a:endParaRPr lang="en-US">
              <a:solidFill>
                <a:prstClr val="white">
                  <a:alpha val="0"/>
                </a:prstClr>
              </a:solidFill>
            </a:endParaRPr>
          </a:p>
        </p:txBody>
      </p:sp>
      <p:sp>
        <p:nvSpPr>
          <p:cNvPr id="19" name="Espace réservé du pied de page 11"/>
          <p:cNvSpPr>
            <a:spLocks noGrp="1"/>
          </p:cNvSpPr>
          <p:nvPr>
            <p:ph type="ftr" sz="quarter" idx="23"/>
          </p:nvPr>
        </p:nvSpPr>
        <p:spPr>
          <a:xfrm>
            <a:off x="468313" y="523875"/>
            <a:ext cx="4824412" cy="360363"/>
          </a:xfrm>
        </p:spPr>
        <p:txBody>
          <a:bodyPr/>
          <a:lstStyle>
            <a:lvl1pPr algn="l">
              <a:defRPr sz="1800" b="0">
                <a:solidFill>
                  <a:schemeClr val="bg1"/>
                </a:solidFill>
              </a:defRPr>
            </a:lvl1pPr>
          </a:lstStyle>
          <a:p>
            <a:pPr>
              <a:defRPr/>
            </a:pPr>
            <a:r>
              <a:rPr lang="en-US">
                <a:solidFill>
                  <a:prstClr val="white"/>
                </a:solidFill>
              </a:rPr>
              <a:t>#</a:t>
            </a:r>
            <a:r>
              <a:rPr lang="en-US" err="1">
                <a:solidFill>
                  <a:prstClr val="white"/>
                </a:solidFill>
              </a:rPr>
              <a:t>vaccineswork</a:t>
            </a:r>
            <a:endParaRPr lang="en-US">
              <a:solidFill>
                <a:prstClr val="white"/>
              </a:solidFill>
            </a:endParaRPr>
          </a:p>
        </p:txBody>
      </p:sp>
    </p:spTree>
    <p:extLst>
      <p:ext uri="{BB962C8B-B14F-4D97-AF65-F5344CB8AC3E}">
        <p14:creationId xmlns:p14="http://schemas.microsoft.com/office/powerpoint/2010/main" val="3768779281"/>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Chapter_Layout">
    <p:spTree>
      <p:nvGrpSpPr>
        <p:cNvPr id="1" name=""/>
        <p:cNvGrpSpPr/>
        <p:nvPr/>
      </p:nvGrpSpPr>
      <p:grpSpPr>
        <a:xfrm>
          <a:off x="0" y="0"/>
          <a:ext cx="0" cy="0"/>
          <a:chOff x="0" y="0"/>
          <a:chExt cx="0" cy="0"/>
        </a:xfrm>
      </p:grpSpPr>
      <p:pic>
        <p:nvPicPr>
          <p:cNvPr id="6" name="Image 17" descr="FD_03_chap_110x190,5.pn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gray">
          <a:xfrm>
            <a:off x="0" y="0"/>
            <a:ext cx="3959225" cy="68580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cxnSp>
        <p:nvCxnSpPr>
          <p:cNvPr id="7" name="Connecteur droit 14"/>
          <p:cNvCxnSpPr/>
          <p:nvPr userDrawn="1"/>
        </p:nvCxnSpPr>
        <p:spPr bwMode="gray">
          <a:xfrm flipH="1">
            <a:off x="3635375" y="2389188"/>
            <a:ext cx="1584325" cy="0"/>
          </a:xfrm>
          <a:prstGeom prst="line">
            <a:avLst/>
          </a:prstGeom>
          <a:ln w="24130">
            <a:solidFill>
              <a:schemeClr val="accent1"/>
            </a:solidFill>
          </a:ln>
        </p:spPr>
        <p:style>
          <a:lnRef idx="1">
            <a:schemeClr val="accent1"/>
          </a:lnRef>
          <a:fillRef idx="0">
            <a:schemeClr val="accent1"/>
          </a:fillRef>
          <a:effectRef idx="0">
            <a:schemeClr val="accent1"/>
          </a:effectRef>
          <a:fontRef idx="minor">
            <a:schemeClr val="tx1"/>
          </a:fontRef>
        </p:style>
      </p:cxnSp>
      <p:sp>
        <p:nvSpPr>
          <p:cNvPr id="2" name="Titre 1"/>
          <p:cNvSpPr>
            <a:spLocks noGrp="1"/>
          </p:cNvSpPr>
          <p:nvPr>
            <p:ph type="title"/>
          </p:nvPr>
        </p:nvSpPr>
        <p:spPr bwMode="gray">
          <a:xfrm>
            <a:off x="3635374" y="1036638"/>
            <a:ext cx="3263901" cy="1268759"/>
          </a:xfrm>
        </p:spPr>
        <p:txBody>
          <a:bodyPr/>
          <a:lstStyle/>
          <a:p>
            <a:r>
              <a:rPr lang="en-US" noProof="0"/>
              <a:t>Click to edit Master title style</a:t>
            </a:r>
          </a:p>
        </p:txBody>
      </p:sp>
      <p:sp>
        <p:nvSpPr>
          <p:cNvPr id="10" name="Espace réservé du texte 9"/>
          <p:cNvSpPr>
            <a:spLocks noGrp="1"/>
          </p:cNvSpPr>
          <p:nvPr>
            <p:ph type="body" sz="quarter" idx="13"/>
          </p:nvPr>
        </p:nvSpPr>
        <p:spPr bwMode="gray">
          <a:xfrm>
            <a:off x="3635376" y="2574000"/>
            <a:ext cx="3263900" cy="3447388"/>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Espace réservé du texte 9"/>
          <p:cNvSpPr>
            <a:spLocks noGrp="1"/>
          </p:cNvSpPr>
          <p:nvPr>
            <p:ph type="body" sz="quarter" idx="14"/>
          </p:nvPr>
        </p:nvSpPr>
        <p:spPr bwMode="gray">
          <a:xfrm>
            <a:off x="0" y="139974"/>
            <a:ext cx="2628000" cy="5017814"/>
          </a:xfrm>
        </p:spPr>
        <p:txBody>
          <a:bodyPr/>
          <a:lstStyle>
            <a:lvl1pPr algn="r">
              <a:defRPr sz="16600" b="1">
                <a:solidFill>
                  <a:schemeClr val="bg1"/>
                </a:solidFill>
              </a:defRPr>
            </a:lvl1pPr>
          </a:lstStyle>
          <a:p>
            <a:pPr lvl="0"/>
            <a:r>
              <a:rPr lang="en-US" noProof="0"/>
              <a:t>Click to edit Master text styles</a:t>
            </a:r>
          </a:p>
        </p:txBody>
      </p:sp>
      <p:sp>
        <p:nvSpPr>
          <p:cNvPr id="19" name="Espace réservé pour une image  17"/>
          <p:cNvSpPr>
            <a:spLocks noGrp="1"/>
          </p:cNvSpPr>
          <p:nvPr>
            <p:ph type="pic" sz="quarter" idx="18"/>
          </p:nvPr>
        </p:nvSpPr>
        <p:spPr bwMode="gray">
          <a:xfrm>
            <a:off x="7254332" y="132082"/>
            <a:ext cx="1899827" cy="5812641"/>
          </a:xfrm>
          <a:custGeom>
            <a:avLst/>
            <a:gdLst>
              <a:gd name="connsiteX0" fmla="*/ 0 w 3851275"/>
              <a:gd name="connsiteY0" fmla="*/ 0 h 5157788"/>
              <a:gd name="connsiteX1" fmla="*/ 3851275 w 3851275"/>
              <a:gd name="connsiteY1" fmla="*/ 0 h 5157788"/>
              <a:gd name="connsiteX2" fmla="*/ 3851275 w 3851275"/>
              <a:gd name="connsiteY2" fmla="*/ 5157788 h 5157788"/>
              <a:gd name="connsiteX3" fmla="*/ 0 w 3851275"/>
              <a:gd name="connsiteY3" fmla="*/ 5157788 h 5157788"/>
              <a:gd name="connsiteX4" fmla="*/ 0 w 3851275"/>
              <a:gd name="connsiteY4"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0 w 3851275"/>
              <a:gd name="connsiteY3" fmla="*/ 5157788 h 5157788"/>
              <a:gd name="connsiteX4" fmla="*/ 1692275 w 3851275"/>
              <a:gd name="connsiteY4" fmla="*/ 0 h 5157788"/>
              <a:gd name="connsiteX0" fmla="*/ 0 w 2159000"/>
              <a:gd name="connsiteY0" fmla="*/ 0 h 5157788"/>
              <a:gd name="connsiteX1" fmla="*/ 2159000 w 2159000"/>
              <a:gd name="connsiteY1" fmla="*/ 0 h 5157788"/>
              <a:gd name="connsiteX2" fmla="*/ 2159000 w 2159000"/>
              <a:gd name="connsiteY2" fmla="*/ 5157788 h 5157788"/>
              <a:gd name="connsiteX3" fmla="*/ 0 w 2159000"/>
              <a:gd name="connsiteY3" fmla="*/ 5157788 h 5157788"/>
              <a:gd name="connsiteX4" fmla="*/ 0 w 2159000"/>
              <a:gd name="connsiteY4" fmla="*/ 0 h 5157788"/>
              <a:gd name="connsiteX0" fmla="*/ 2625271 w 4784271"/>
              <a:gd name="connsiteY0" fmla="*/ 0 h 5157788"/>
              <a:gd name="connsiteX1" fmla="*/ 4784271 w 4784271"/>
              <a:gd name="connsiteY1" fmla="*/ 0 h 5157788"/>
              <a:gd name="connsiteX2" fmla="*/ 4784271 w 4784271"/>
              <a:gd name="connsiteY2" fmla="*/ 5157788 h 5157788"/>
              <a:gd name="connsiteX3" fmla="*/ 2625271 w 4784271"/>
              <a:gd name="connsiteY3" fmla="*/ 5157788 h 5157788"/>
              <a:gd name="connsiteX4" fmla="*/ 2625271 w 4784271"/>
              <a:gd name="connsiteY4" fmla="*/ 0 h 5157788"/>
              <a:gd name="connsiteX0" fmla="*/ 2625271 w 4784271"/>
              <a:gd name="connsiteY0" fmla="*/ 0 h 5157788"/>
              <a:gd name="connsiteX1" fmla="*/ 4784271 w 4784271"/>
              <a:gd name="connsiteY1" fmla="*/ 0 h 5157788"/>
              <a:gd name="connsiteX2" fmla="*/ 4784271 w 4784271"/>
              <a:gd name="connsiteY2" fmla="*/ 5157788 h 5157788"/>
              <a:gd name="connsiteX3" fmla="*/ 2625271 w 4784271"/>
              <a:gd name="connsiteY3" fmla="*/ 5157788 h 5157788"/>
              <a:gd name="connsiteX4" fmla="*/ 2625271 w 4784271"/>
              <a:gd name="connsiteY4" fmla="*/ 0 h 5157788"/>
              <a:gd name="connsiteX0" fmla="*/ 3568576 w 5727576"/>
              <a:gd name="connsiteY0" fmla="*/ 0 h 5157788"/>
              <a:gd name="connsiteX1" fmla="*/ 5727576 w 5727576"/>
              <a:gd name="connsiteY1" fmla="*/ 0 h 5157788"/>
              <a:gd name="connsiteX2" fmla="*/ 5727576 w 5727576"/>
              <a:gd name="connsiteY2" fmla="*/ 5157788 h 5157788"/>
              <a:gd name="connsiteX3" fmla="*/ 3568576 w 5727576"/>
              <a:gd name="connsiteY3" fmla="*/ 5157788 h 5157788"/>
              <a:gd name="connsiteX4" fmla="*/ 3568576 w 5727576"/>
              <a:gd name="connsiteY4" fmla="*/ 0 h 5157788"/>
              <a:gd name="connsiteX0" fmla="*/ 3306355 w 5465355"/>
              <a:gd name="connsiteY0" fmla="*/ 0 h 5157788"/>
              <a:gd name="connsiteX1" fmla="*/ 5465355 w 5465355"/>
              <a:gd name="connsiteY1" fmla="*/ 0 h 5157788"/>
              <a:gd name="connsiteX2" fmla="*/ 5465355 w 5465355"/>
              <a:gd name="connsiteY2" fmla="*/ 5157788 h 5157788"/>
              <a:gd name="connsiteX3" fmla="*/ 3306355 w 5465355"/>
              <a:gd name="connsiteY3" fmla="*/ 5157788 h 5157788"/>
              <a:gd name="connsiteX4" fmla="*/ 3306355 w 5465355"/>
              <a:gd name="connsiteY4" fmla="*/ 0 h 5157788"/>
              <a:gd name="connsiteX0" fmla="*/ 1416957 w 3575957"/>
              <a:gd name="connsiteY0" fmla="*/ 0 h 5157788"/>
              <a:gd name="connsiteX1" fmla="*/ 3575957 w 3575957"/>
              <a:gd name="connsiteY1" fmla="*/ 0 h 5157788"/>
              <a:gd name="connsiteX2" fmla="*/ 3575957 w 3575957"/>
              <a:gd name="connsiteY2" fmla="*/ 5157788 h 5157788"/>
              <a:gd name="connsiteX3" fmla="*/ 1416957 w 3575957"/>
              <a:gd name="connsiteY3" fmla="*/ 5157788 h 5157788"/>
              <a:gd name="connsiteX4" fmla="*/ 0 w 3575957"/>
              <a:gd name="connsiteY4" fmla="*/ 3339193 h 5157788"/>
              <a:gd name="connsiteX5" fmla="*/ 1416957 w 3575957"/>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6017419"/>
              <a:gd name="connsiteX1" fmla="*/ 3851275 w 3851275"/>
              <a:gd name="connsiteY1" fmla="*/ 0 h 6017419"/>
              <a:gd name="connsiteX2" fmla="*/ 3851275 w 3851275"/>
              <a:gd name="connsiteY2" fmla="*/ 5157788 h 6017419"/>
              <a:gd name="connsiteX3" fmla="*/ 1692275 w 3851275"/>
              <a:gd name="connsiteY3" fmla="*/ 5157788 h 6017419"/>
              <a:gd name="connsiteX4" fmla="*/ 0 w 3851275"/>
              <a:gd name="connsiteY4" fmla="*/ 3284984 h 6017419"/>
              <a:gd name="connsiteX5" fmla="*/ 1692275 w 3851275"/>
              <a:gd name="connsiteY5" fmla="*/ 0 h 6017419"/>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429000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429000 h 5157788"/>
              <a:gd name="connsiteX5" fmla="*/ 1710871 w 3869871"/>
              <a:gd name="connsiteY5" fmla="*/ 0 h 5157788"/>
              <a:gd name="connsiteX0" fmla="*/ 1704975 w 3863975"/>
              <a:gd name="connsiteY0" fmla="*/ 0 h 5157788"/>
              <a:gd name="connsiteX1" fmla="*/ 3863975 w 3863975"/>
              <a:gd name="connsiteY1" fmla="*/ 0 h 5157788"/>
              <a:gd name="connsiteX2" fmla="*/ 3863975 w 3863975"/>
              <a:gd name="connsiteY2" fmla="*/ 5157788 h 5157788"/>
              <a:gd name="connsiteX3" fmla="*/ 1704975 w 3863975"/>
              <a:gd name="connsiteY3" fmla="*/ 5157788 h 5157788"/>
              <a:gd name="connsiteX4" fmla="*/ 12700 w 3863975"/>
              <a:gd name="connsiteY4" fmla="*/ 3429000 h 5157788"/>
              <a:gd name="connsiteX5" fmla="*/ 1704975 w 3863975"/>
              <a:gd name="connsiteY5" fmla="*/ 0 h 5157788"/>
              <a:gd name="connsiteX0" fmla="*/ 1707243 w 3866243"/>
              <a:gd name="connsiteY0" fmla="*/ 0 h 5157788"/>
              <a:gd name="connsiteX1" fmla="*/ 3866243 w 3866243"/>
              <a:gd name="connsiteY1" fmla="*/ 0 h 5157788"/>
              <a:gd name="connsiteX2" fmla="*/ 3866243 w 3866243"/>
              <a:gd name="connsiteY2" fmla="*/ 5157788 h 5157788"/>
              <a:gd name="connsiteX3" fmla="*/ 1707243 w 3866243"/>
              <a:gd name="connsiteY3" fmla="*/ 5157788 h 5157788"/>
              <a:gd name="connsiteX4" fmla="*/ 14968 w 3866243"/>
              <a:gd name="connsiteY4" fmla="*/ 3429000 h 5157788"/>
              <a:gd name="connsiteX5" fmla="*/ 1707243 w 3866243"/>
              <a:gd name="connsiteY5" fmla="*/ 0 h 5157788"/>
              <a:gd name="connsiteX0" fmla="*/ 1130447 w 3866243"/>
              <a:gd name="connsiteY0" fmla="*/ 0 h 5157788"/>
              <a:gd name="connsiteX1" fmla="*/ 3866243 w 3866243"/>
              <a:gd name="connsiteY1" fmla="*/ 0 h 5157788"/>
              <a:gd name="connsiteX2" fmla="*/ 3866243 w 3866243"/>
              <a:gd name="connsiteY2" fmla="*/ 5157788 h 5157788"/>
              <a:gd name="connsiteX3" fmla="*/ 1707243 w 3866243"/>
              <a:gd name="connsiteY3" fmla="*/ 5157788 h 5157788"/>
              <a:gd name="connsiteX4" fmla="*/ 14968 w 3866243"/>
              <a:gd name="connsiteY4" fmla="*/ 3429000 h 5157788"/>
              <a:gd name="connsiteX5" fmla="*/ 1130447 w 3866243"/>
              <a:gd name="connsiteY5" fmla="*/ 0 h 5157788"/>
              <a:gd name="connsiteX0" fmla="*/ 2746143 w 5481939"/>
              <a:gd name="connsiteY0" fmla="*/ 0 h 5157788"/>
              <a:gd name="connsiteX1" fmla="*/ 5481939 w 5481939"/>
              <a:gd name="connsiteY1" fmla="*/ 0 h 5157788"/>
              <a:gd name="connsiteX2" fmla="*/ 5481939 w 5481939"/>
              <a:gd name="connsiteY2" fmla="*/ 5157788 h 5157788"/>
              <a:gd name="connsiteX3" fmla="*/ 585903 w 5481939"/>
              <a:gd name="connsiteY3" fmla="*/ 5153180 h 5157788"/>
              <a:gd name="connsiteX4" fmla="*/ 1630664 w 5481939"/>
              <a:gd name="connsiteY4" fmla="*/ 3429000 h 5157788"/>
              <a:gd name="connsiteX5" fmla="*/ 2746143 w 5481939"/>
              <a:gd name="connsiteY5" fmla="*/ 0 h 5157788"/>
              <a:gd name="connsiteX0" fmla="*/ 2746143 w 5481939"/>
              <a:gd name="connsiteY0" fmla="*/ 0 h 5157788"/>
              <a:gd name="connsiteX1" fmla="*/ 5481939 w 5481939"/>
              <a:gd name="connsiteY1" fmla="*/ 0 h 5157788"/>
              <a:gd name="connsiteX2" fmla="*/ 5481939 w 5481939"/>
              <a:gd name="connsiteY2" fmla="*/ 5157788 h 5157788"/>
              <a:gd name="connsiteX3" fmla="*/ 585903 w 5481939"/>
              <a:gd name="connsiteY3" fmla="*/ 5153180 h 5157788"/>
              <a:gd name="connsiteX4" fmla="*/ 1630664 w 5481939"/>
              <a:gd name="connsiteY4" fmla="*/ 3429000 h 5157788"/>
              <a:gd name="connsiteX5" fmla="*/ 2746143 w 548193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3574235 w 6310031"/>
              <a:gd name="connsiteY0" fmla="*/ 0 h 5157788"/>
              <a:gd name="connsiteX1" fmla="*/ 6310031 w 6310031"/>
              <a:gd name="connsiteY1" fmla="*/ 0 h 5157788"/>
              <a:gd name="connsiteX2" fmla="*/ 6310031 w 6310031"/>
              <a:gd name="connsiteY2" fmla="*/ 5157788 h 5157788"/>
              <a:gd name="connsiteX3" fmla="*/ 585903 w 6310031"/>
              <a:gd name="connsiteY3" fmla="*/ 5153180 h 5157788"/>
              <a:gd name="connsiteX4" fmla="*/ 1738031 w 6310031"/>
              <a:gd name="connsiteY4" fmla="*/ 3389965 h 5157788"/>
              <a:gd name="connsiteX5" fmla="*/ 3574235 w 6310031"/>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296143 w 5724128"/>
              <a:gd name="connsiteY4" fmla="*/ 3461908 h 5157788"/>
              <a:gd name="connsiteX5" fmla="*/ 2988332 w 5724128"/>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1188132 w 5760132"/>
              <a:gd name="connsiteY4" fmla="*/ 3425937 h 5157788"/>
              <a:gd name="connsiteX5" fmla="*/ 3024336 w 5760132"/>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2736304 w 5760132"/>
              <a:gd name="connsiteY4" fmla="*/ 3461908 h 5157788"/>
              <a:gd name="connsiteX5" fmla="*/ 3024336 w 5760132"/>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2736304 w 5760132"/>
              <a:gd name="connsiteY4" fmla="*/ 3461908 h 5157788"/>
              <a:gd name="connsiteX5" fmla="*/ 3024336 w 5760132"/>
              <a:gd name="connsiteY5" fmla="*/ 0 h 5157788"/>
              <a:gd name="connsiteX0" fmla="*/ 2160240 w 4896036"/>
              <a:gd name="connsiteY0" fmla="*/ 0 h 5157788"/>
              <a:gd name="connsiteX1" fmla="*/ 4896036 w 4896036"/>
              <a:gd name="connsiteY1" fmla="*/ 0 h 5157788"/>
              <a:gd name="connsiteX2" fmla="*/ 4896036 w 4896036"/>
              <a:gd name="connsiteY2" fmla="*/ 5157788 h 5157788"/>
              <a:gd name="connsiteX3" fmla="*/ 0 w 4896036"/>
              <a:gd name="connsiteY3" fmla="*/ 5153180 h 5157788"/>
              <a:gd name="connsiteX4" fmla="*/ 1872208 w 4896036"/>
              <a:gd name="connsiteY4" fmla="*/ 3461908 h 5157788"/>
              <a:gd name="connsiteX5" fmla="*/ 2160240 w 4896036"/>
              <a:gd name="connsiteY5" fmla="*/ 0 h 5157788"/>
              <a:gd name="connsiteX0" fmla="*/ 2232248 w 4968044"/>
              <a:gd name="connsiteY0" fmla="*/ 0 h 5157788"/>
              <a:gd name="connsiteX1" fmla="*/ 4968044 w 4968044"/>
              <a:gd name="connsiteY1" fmla="*/ 0 h 5157788"/>
              <a:gd name="connsiteX2" fmla="*/ 4968044 w 4968044"/>
              <a:gd name="connsiteY2" fmla="*/ 5157788 h 5157788"/>
              <a:gd name="connsiteX3" fmla="*/ 0 w 4968044"/>
              <a:gd name="connsiteY3" fmla="*/ 5153180 h 5157788"/>
              <a:gd name="connsiteX4" fmla="*/ 1944216 w 4968044"/>
              <a:gd name="connsiteY4" fmla="*/ 3461908 h 5157788"/>
              <a:gd name="connsiteX5" fmla="*/ 2232248 w 4968044"/>
              <a:gd name="connsiteY5" fmla="*/ 0 h 5157788"/>
              <a:gd name="connsiteX0" fmla="*/ 2207679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207679 w 4943475"/>
              <a:gd name="connsiteY5" fmla="*/ 0 h 5157788"/>
              <a:gd name="connsiteX0" fmla="*/ 2963763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963763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092200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71575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343583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675731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675731 w 4943475"/>
              <a:gd name="connsiteY5" fmla="*/ 0 h 5157788"/>
              <a:gd name="connsiteX0" fmla="*/ 2675731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675731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9672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19672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1668519 w 3913244"/>
              <a:gd name="connsiteY0" fmla="*/ 0 h 5183692"/>
              <a:gd name="connsiteX1" fmla="*/ 3913244 w 3913244"/>
              <a:gd name="connsiteY1" fmla="*/ 0 h 5183692"/>
              <a:gd name="connsiteX2" fmla="*/ 3913244 w 3913244"/>
              <a:gd name="connsiteY2" fmla="*/ 5157788 h 5183692"/>
              <a:gd name="connsiteX3" fmla="*/ 2456872 w 3913244"/>
              <a:gd name="connsiteY3" fmla="*/ 5183633 h 5183692"/>
              <a:gd name="connsiteX4" fmla="*/ 205340 w 3913244"/>
              <a:gd name="connsiteY4" fmla="*/ 2562613 h 5183692"/>
              <a:gd name="connsiteX5" fmla="*/ 1668519 w 3913244"/>
              <a:gd name="connsiteY5" fmla="*/ 0 h 5183692"/>
              <a:gd name="connsiteX0" fmla="*/ 1668519 w 3923404"/>
              <a:gd name="connsiteY0" fmla="*/ 0 h 5939409"/>
              <a:gd name="connsiteX1" fmla="*/ 3913244 w 3923404"/>
              <a:gd name="connsiteY1" fmla="*/ 0 h 5939409"/>
              <a:gd name="connsiteX2" fmla="*/ 3923404 w 3923404"/>
              <a:gd name="connsiteY2" fmla="*/ 5939409 h 5939409"/>
              <a:gd name="connsiteX3" fmla="*/ 2456872 w 3923404"/>
              <a:gd name="connsiteY3" fmla="*/ 5183633 h 5939409"/>
              <a:gd name="connsiteX4" fmla="*/ 205340 w 3923404"/>
              <a:gd name="connsiteY4" fmla="*/ 2562613 h 5939409"/>
              <a:gd name="connsiteX5" fmla="*/ 1668519 w 3923404"/>
              <a:gd name="connsiteY5" fmla="*/ 0 h 5939409"/>
              <a:gd name="connsiteX0" fmla="*/ 1668519 w 3923404"/>
              <a:gd name="connsiteY0" fmla="*/ 0 h 5939409"/>
              <a:gd name="connsiteX1" fmla="*/ 3913244 w 3923404"/>
              <a:gd name="connsiteY1" fmla="*/ 0 h 5939409"/>
              <a:gd name="connsiteX2" fmla="*/ 3923404 w 3923404"/>
              <a:gd name="connsiteY2" fmla="*/ 5939409 h 5939409"/>
              <a:gd name="connsiteX3" fmla="*/ 2456872 w 3923404"/>
              <a:gd name="connsiteY3" fmla="*/ 5183633 h 5939409"/>
              <a:gd name="connsiteX4" fmla="*/ 205340 w 3923404"/>
              <a:gd name="connsiteY4" fmla="*/ 2562613 h 5939409"/>
              <a:gd name="connsiteX5" fmla="*/ 1668519 w 3923404"/>
              <a:gd name="connsiteY5" fmla="*/ 0 h 5939409"/>
              <a:gd name="connsiteX0" fmla="*/ 1696047 w 3950932"/>
              <a:gd name="connsiteY0" fmla="*/ 0 h 5939409"/>
              <a:gd name="connsiteX1" fmla="*/ 3940772 w 3950932"/>
              <a:gd name="connsiteY1" fmla="*/ 0 h 5939409"/>
              <a:gd name="connsiteX2" fmla="*/ 3950932 w 3950932"/>
              <a:gd name="connsiteY2" fmla="*/ 5939409 h 5939409"/>
              <a:gd name="connsiteX3" fmla="*/ 2484400 w 3950932"/>
              <a:gd name="connsiteY3" fmla="*/ 5183633 h 5939409"/>
              <a:gd name="connsiteX4" fmla="*/ 232868 w 3950932"/>
              <a:gd name="connsiteY4" fmla="*/ 2562613 h 5939409"/>
              <a:gd name="connsiteX5" fmla="*/ 1696047 w 3950932"/>
              <a:gd name="connsiteY5" fmla="*/ 0 h 5939409"/>
              <a:gd name="connsiteX0" fmla="*/ 1463179 w 3718064"/>
              <a:gd name="connsiteY0" fmla="*/ 0 h 5983194"/>
              <a:gd name="connsiteX1" fmla="*/ 3707904 w 3718064"/>
              <a:gd name="connsiteY1" fmla="*/ 0 h 5983194"/>
              <a:gd name="connsiteX2" fmla="*/ 3718064 w 3718064"/>
              <a:gd name="connsiteY2" fmla="*/ 5939409 h 5983194"/>
              <a:gd name="connsiteX3" fmla="*/ 0 w 3718064"/>
              <a:gd name="connsiteY3" fmla="*/ 2562613 h 5983194"/>
              <a:gd name="connsiteX4" fmla="*/ 1463179 w 3718064"/>
              <a:gd name="connsiteY4" fmla="*/ 0 h 5983194"/>
              <a:gd name="connsiteX0" fmla="*/ 1464005 w 3718890"/>
              <a:gd name="connsiteY0" fmla="*/ 0 h 5987401"/>
              <a:gd name="connsiteX1" fmla="*/ 3708730 w 3718890"/>
              <a:gd name="connsiteY1" fmla="*/ 0 h 5987401"/>
              <a:gd name="connsiteX2" fmla="*/ 3718890 w 3718890"/>
              <a:gd name="connsiteY2" fmla="*/ 5939409 h 5987401"/>
              <a:gd name="connsiteX3" fmla="*/ 826 w 3718890"/>
              <a:gd name="connsiteY3" fmla="*/ 2562613 h 5987401"/>
              <a:gd name="connsiteX4" fmla="*/ 1464005 w 3718890"/>
              <a:gd name="connsiteY4" fmla="*/ 0 h 5987401"/>
              <a:gd name="connsiteX0" fmla="*/ 1267 w 2256152"/>
              <a:gd name="connsiteY0" fmla="*/ 0 h 6002954"/>
              <a:gd name="connsiteX1" fmla="*/ 2245992 w 2256152"/>
              <a:gd name="connsiteY1" fmla="*/ 0 h 6002954"/>
              <a:gd name="connsiteX2" fmla="*/ 2256152 w 2256152"/>
              <a:gd name="connsiteY2" fmla="*/ 5939409 h 6002954"/>
              <a:gd name="connsiteX3" fmla="*/ 956168 w 2256152"/>
              <a:gd name="connsiteY3" fmla="*/ 3273178 h 6002954"/>
              <a:gd name="connsiteX4" fmla="*/ 1267 w 2256152"/>
              <a:gd name="connsiteY4" fmla="*/ 0 h 6002954"/>
              <a:gd name="connsiteX0" fmla="*/ 2 w 1299986"/>
              <a:gd name="connsiteY0" fmla="*/ 3321709 h 6044422"/>
              <a:gd name="connsiteX1" fmla="*/ 1289826 w 1299986"/>
              <a:gd name="connsiteY1" fmla="*/ 48531 h 6044422"/>
              <a:gd name="connsiteX2" fmla="*/ 1299986 w 1299986"/>
              <a:gd name="connsiteY2" fmla="*/ 5987940 h 6044422"/>
              <a:gd name="connsiteX3" fmla="*/ 2 w 1299986"/>
              <a:gd name="connsiteY3" fmla="*/ 3321709 h 6044422"/>
              <a:gd name="connsiteX0" fmla="*/ 2 w 1299986"/>
              <a:gd name="connsiteY0" fmla="*/ 3273178 h 5995891"/>
              <a:gd name="connsiteX1" fmla="*/ 1289826 w 1299986"/>
              <a:gd name="connsiteY1" fmla="*/ 0 h 5995891"/>
              <a:gd name="connsiteX2" fmla="*/ 1299986 w 1299986"/>
              <a:gd name="connsiteY2" fmla="*/ 5939409 h 5995891"/>
              <a:gd name="connsiteX3" fmla="*/ 2 w 1299986"/>
              <a:gd name="connsiteY3" fmla="*/ 3273178 h 5995891"/>
              <a:gd name="connsiteX0" fmla="*/ 2 w 1299986"/>
              <a:gd name="connsiteY0" fmla="*/ 3273178 h 5995891"/>
              <a:gd name="connsiteX1" fmla="*/ 1289826 w 1299986"/>
              <a:gd name="connsiteY1" fmla="*/ 0 h 5995891"/>
              <a:gd name="connsiteX2" fmla="*/ 1299986 w 1299986"/>
              <a:gd name="connsiteY2" fmla="*/ 5939409 h 5995891"/>
              <a:gd name="connsiteX3" fmla="*/ 2 w 1299986"/>
              <a:gd name="connsiteY3" fmla="*/ 3273178 h 5995891"/>
              <a:gd name="connsiteX0" fmla="*/ 2 w 1299986"/>
              <a:gd name="connsiteY0" fmla="*/ 3273178 h 5995891"/>
              <a:gd name="connsiteX1" fmla="*/ 1289826 w 1299986"/>
              <a:gd name="connsiteY1" fmla="*/ 0 h 5995891"/>
              <a:gd name="connsiteX2" fmla="*/ 1299986 w 1299986"/>
              <a:gd name="connsiteY2" fmla="*/ 5939409 h 5995891"/>
              <a:gd name="connsiteX3" fmla="*/ 2 w 1299986"/>
              <a:gd name="connsiteY3" fmla="*/ 3273178 h 5995891"/>
              <a:gd name="connsiteX0" fmla="*/ 2 w 1299986"/>
              <a:gd name="connsiteY0" fmla="*/ 2725028 h 5445777"/>
              <a:gd name="connsiteX1" fmla="*/ 1289826 w 1299986"/>
              <a:gd name="connsiteY1" fmla="*/ 0 h 5445777"/>
              <a:gd name="connsiteX2" fmla="*/ 1299986 w 1299986"/>
              <a:gd name="connsiteY2" fmla="*/ 5391259 h 5445777"/>
              <a:gd name="connsiteX3" fmla="*/ 2 w 1299986"/>
              <a:gd name="connsiteY3" fmla="*/ 2725028 h 5445777"/>
              <a:gd name="connsiteX0" fmla="*/ 2 w 1299986"/>
              <a:gd name="connsiteY0" fmla="*/ 3141216 h 5863443"/>
              <a:gd name="connsiteX1" fmla="*/ 1289826 w 1299986"/>
              <a:gd name="connsiteY1" fmla="*/ 0 h 5863443"/>
              <a:gd name="connsiteX2" fmla="*/ 1299986 w 1299986"/>
              <a:gd name="connsiteY2" fmla="*/ 5807447 h 5863443"/>
              <a:gd name="connsiteX3" fmla="*/ 2 w 1299986"/>
              <a:gd name="connsiteY3" fmla="*/ 3141216 h 5863443"/>
              <a:gd name="connsiteX0" fmla="*/ 2 w 1299986"/>
              <a:gd name="connsiteY0" fmla="*/ 3141216 h 5863444"/>
              <a:gd name="connsiteX1" fmla="*/ 1289826 w 1299986"/>
              <a:gd name="connsiteY1" fmla="*/ 0 h 5863444"/>
              <a:gd name="connsiteX2" fmla="*/ 1299986 w 1299986"/>
              <a:gd name="connsiteY2" fmla="*/ 5807447 h 5863444"/>
              <a:gd name="connsiteX3" fmla="*/ 2 w 1299986"/>
              <a:gd name="connsiteY3" fmla="*/ 3141216 h 5863444"/>
              <a:gd name="connsiteX0" fmla="*/ 1 w 1889265"/>
              <a:gd name="connsiteY0" fmla="*/ 3851780 h 5885741"/>
              <a:gd name="connsiteX1" fmla="*/ 1879105 w 1889265"/>
              <a:gd name="connsiteY1" fmla="*/ 0 h 5885741"/>
              <a:gd name="connsiteX2" fmla="*/ 1889265 w 1889265"/>
              <a:gd name="connsiteY2" fmla="*/ 5807447 h 5885741"/>
              <a:gd name="connsiteX3" fmla="*/ 1 w 1889265"/>
              <a:gd name="connsiteY3" fmla="*/ 3851780 h 5885741"/>
              <a:gd name="connsiteX0" fmla="*/ 694 w 1889958"/>
              <a:gd name="connsiteY0" fmla="*/ 3851780 h 5898819"/>
              <a:gd name="connsiteX1" fmla="*/ 1879798 w 1889958"/>
              <a:gd name="connsiteY1" fmla="*/ 0 h 5898819"/>
              <a:gd name="connsiteX2" fmla="*/ 1889958 w 1889958"/>
              <a:gd name="connsiteY2" fmla="*/ 5807447 h 5898819"/>
              <a:gd name="connsiteX3" fmla="*/ 694 w 1889958"/>
              <a:gd name="connsiteY3" fmla="*/ 3851780 h 5898819"/>
              <a:gd name="connsiteX0" fmla="*/ 694 w 1889958"/>
              <a:gd name="connsiteY0" fmla="*/ 3740120 h 5892762"/>
              <a:gd name="connsiteX1" fmla="*/ 1879798 w 1889958"/>
              <a:gd name="connsiteY1" fmla="*/ 0 h 5892762"/>
              <a:gd name="connsiteX2" fmla="*/ 1889958 w 1889958"/>
              <a:gd name="connsiteY2" fmla="*/ 5807447 h 5892762"/>
              <a:gd name="connsiteX3" fmla="*/ 694 w 1889958"/>
              <a:gd name="connsiteY3" fmla="*/ 3740120 h 5892762"/>
              <a:gd name="connsiteX0" fmla="*/ 690 w 1900114"/>
              <a:gd name="connsiteY0" fmla="*/ 3811177 h 5896524"/>
              <a:gd name="connsiteX1" fmla="*/ 1889954 w 1900114"/>
              <a:gd name="connsiteY1" fmla="*/ 0 h 5896524"/>
              <a:gd name="connsiteX2" fmla="*/ 1900114 w 1900114"/>
              <a:gd name="connsiteY2" fmla="*/ 5807447 h 5896524"/>
              <a:gd name="connsiteX3" fmla="*/ 690 w 1900114"/>
              <a:gd name="connsiteY3" fmla="*/ 3811177 h 5896524"/>
              <a:gd name="connsiteX0" fmla="*/ 690 w 1900114"/>
              <a:gd name="connsiteY0" fmla="*/ 3811177 h 5807447"/>
              <a:gd name="connsiteX1" fmla="*/ 1889954 w 1900114"/>
              <a:gd name="connsiteY1" fmla="*/ 0 h 5807447"/>
              <a:gd name="connsiteX2" fmla="*/ 1900114 w 1900114"/>
              <a:gd name="connsiteY2" fmla="*/ 5807447 h 5807447"/>
              <a:gd name="connsiteX3" fmla="*/ 690 w 1900114"/>
              <a:gd name="connsiteY3" fmla="*/ 3811177 h 5807447"/>
              <a:gd name="connsiteX0" fmla="*/ 690 w 1900114"/>
              <a:gd name="connsiteY0" fmla="*/ 3811177 h 5807447"/>
              <a:gd name="connsiteX1" fmla="*/ 1889954 w 1900114"/>
              <a:gd name="connsiteY1" fmla="*/ 0 h 5807447"/>
              <a:gd name="connsiteX2" fmla="*/ 1900114 w 1900114"/>
              <a:gd name="connsiteY2" fmla="*/ 5807447 h 5807447"/>
              <a:gd name="connsiteX3" fmla="*/ 690 w 1900114"/>
              <a:gd name="connsiteY3" fmla="*/ 3811177 h 5807447"/>
              <a:gd name="connsiteX0" fmla="*/ 403 w 1899827"/>
              <a:gd name="connsiteY0" fmla="*/ 3811177 h 5807447"/>
              <a:gd name="connsiteX1" fmla="*/ 1889667 w 1899827"/>
              <a:gd name="connsiteY1" fmla="*/ 0 h 5807447"/>
              <a:gd name="connsiteX2" fmla="*/ 1899827 w 1899827"/>
              <a:gd name="connsiteY2" fmla="*/ 5807447 h 5807447"/>
              <a:gd name="connsiteX3" fmla="*/ 403 w 1899827"/>
              <a:gd name="connsiteY3" fmla="*/ 3811177 h 5807447"/>
            </a:gdLst>
            <a:ahLst/>
            <a:cxnLst>
              <a:cxn ang="0">
                <a:pos x="connsiteX0" y="connsiteY0"/>
              </a:cxn>
              <a:cxn ang="0">
                <a:pos x="connsiteX1" y="connsiteY1"/>
              </a:cxn>
              <a:cxn ang="0">
                <a:pos x="connsiteX2" y="connsiteY2"/>
              </a:cxn>
              <a:cxn ang="0">
                <a:pos x="connsiteX3" y="connsiteY3"/>
              </a:cxn>
            </a:cxnLst>
            <a:rect l="l" t="t" r="r" b="b"/>
            <a:pathLst>
              <a:path w="1899827" h="5807447">
                <a:moveTo>
                  <a:pt x="403" y="3811177"/>
                </a:moveTo>
                <a:cubicBezTo>
                  <a:pt x="-31770" y="2467685"/>
                  <a:pt x="1876203" y="854946"/>
                  <a:pt x="1889667" y="0"/>
                </a:cubicBezTo>
                <a:cubicBezTo>
                  <a:pt x="1893054" y="1979803"/>
                  <a:pt x="1896440" y="3827644"/>
                  <a:pt x="1899827" y="5807447"/>
                </a:cubicBezTo>
                <a:cubicBezTo>
                  <a:pt x="1007523" y="5706703"/>
                  <a:pt x="32576" y="5154669"/>
                  <a:pt x="403" y="3811177"/>
                </a:cubicBezTo>
                <a:close/>
              </a:path>
            </a:pathLst>
          </a:custGeom>
          <a:solidFill>
            <a:schemeClr val="bg2"/>
          </a:solidFill>
          <a:ln w="3175">
            <a:noFill/>
          </a:ln>
        </p:spPr>
        <p:txBody>
          <a:bodyPr tIns="720000" rtlCol="0" anchor="ctr">
            <a:noAutofit/>
          </a:bodyPr>
          <a:lstStyle>
            <a:lvl1pPr algn="ctr">
              <a:defRPr sz="1500">
                <a:solidFill>
                  <a:schemeClr val="bg1"/>
                </a:solidFill>
              </a:defRPr>
            </a:lvl1pPr>
          </a:lstStyle>
          <a:p>
            <a:pPr lvl="0"/>
            <a:r>
              <a:rPr lang="en-US" noProof="0"/>
              <a:t>Click icon to add picture</a:t>
            </a:r>
          </a:p>
        </p:txBody>
      </p:sp>
      <p:sp>
        <p:nvSpPr>
          <p:cNvPr id="8" name="Espace réservé de la date 10"/>
          <p:cNvSpPr>
            <a:spLocks noGrp="1"/>
          </p:cNvSpPr>
          <p:nvPr>
            <p:ph type="dt" sz="half" idx="19"/>
          </p:nvPr>
        </p:nvSpPr>
        <p:spPr/>
        <p:txBody>
          <a:bodyPr/>
          <a:lstStyle>
            <a:lvl1pPr>
              <a:defRPr/>
            </a:lvl1pPr>
          </a:lstStyle>
          <a:p>
            <a:pPr>
              <a:defRPr/>
            </a:pPr>
            <a:r>
              <a:rPr lang="en-US">
                <a:solidFill>
                  <a:prstClr val="white">
                    <a:alpha val="0"/>
                  </a:prstClr>
                </a:solidFill>
              </a:rPr>
              <a:t>Date</a:t>
            </a:r>
          </a:p>
        </p:txBody>
      </p:sp>
      <p:sp>
        <p:nvSpPr>
          <p:cNvPr id="9" name="Espace réservé du numéro de diapositive 11"/>
          <p:cNvSpPr>
            <a:spLocks noGrp="1"/>
          </p:cNvSpPr>
          <p:nvPr>
            <p:ph type="sldNum" sz="quarter" idx="20"/>
          </p:nvPr>
        </p:nvSpPr>
        <p:spPr/>
        <p:txBody>
          <a:bodyPr/>
          <a:lstStyle>
            <a:lvl1pPr>
              <a:defRPr/>
            </a:lvl1pPr>
          </a:lstStyle>
          <a:p>
            <a:pPr>
              <a:defRPr/>
            </a:pPr>
            <a:fld id="{669CD8F2-86ED-43C7-A24E-82A206DEE6AE}" type="slidenum">
              <a:rPr lang="en-US">
                <a:solidFill>
                  <a:srgbClr val="343434"/>
                </a:solidFill>
              </a:rPr>
              <a:pPr>
                <a:defRPr/>
              </a:pPr>
              <a:t>‹#›</a:t>
            </a:fld>
            <a:endParaRPr lang="en-US">
              <a:solidFill>
                <a:srgbClr val="343434"/>
              </a:solidFill>
            </a:endParaRPr>
          </a:p>
        </p:txBody>
      </p:sp>
      <p:sp>
        <p:nvSpPr>
          <p:cNvPr id="11" name="Espace réservé du pied de page 12"/>
          <p:cNvSpPr>
            <a:spLocks noGrp="1"/>
          </p:cNvSpPr>
          <p:nvPr>
            <p:ph type="ftr" sz="quarter" idx="21"/>
          </p:nvPr>
        </p:nvSpPr>
        <p:spPr/>
        <p:txBody>
          <a:bodyPr/>
          <a:lstStyle>
            <a:lvl1pPr>
              <a:defRPr/>
            </a:lvl1pPr>
          </a:lstStyle>
          <a:p>
            <a:pPr>
              <a:defRPr/>
            </a:pPr>
            <a:r>
              <a:rPr lang="en-US">
                <a:solidFill>
                  <a:srgbClr val="005CB9"/>
                </a:solidFill>
              </a:rPr>
              <a:t>#</a:t>
            </a:r>
            <a:r>
              <a:rPr lang="en-US" err="1">
                <a:solidFill>
                  <a:srgbClr val="005CB9"/>
                </a:solidFill>
              </a:rPr>
              <a:t>vaccineswork</a:t>
            </a:r>
            <a:endParaRPr lang="en-US">
              <a:solidFill>
                <a:srgbClr val="005CB9"/>
              </a:solidFill>
            </a:endParaRPr>
          </a:p>
        </p:txBody>
      </p:sp>
    </p:spTree>
    <p:extLst>
      <p:ext uri="{BB962C8B-B14F-4D97-AF65-F5344CB8AC3E}">
        <p14:creationId xmlns:p14="http://schemas.microsoft.com/office/powerpoint/2010/main" val="3488298445"/>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Picture_Layout">
    <p:spTree>
      <p:nvGrpSpPr>
        <p:cNvPr id="1" name=""/>
        <p:cNvGrpSpPr/>
        <p:nvPr/>
      </p:nvGrpSpPr>
      <p:grpSpPr>
        <a:xfrm>
          <a:off x="0" y="0"/>
          <a:ext cx="0" cy="0"/>
          <a:chOff x="0" y="0"/>
          <a:chExt cx="0" cy="0"/>
        </a:xfrm>
      </p:grpSpPr>
      <p:sp>
        <p:nvSpPr>
          <p:cNvPr id="2" name="Titre 1"/>
          <p:cNvSpPr>
            <a:spLocks noGrp="1"/>
          </p:cNvSpPr>
          <p:nvPr>
            <p:ph type="title"/>
          </p:nvPr>
        </p:nvSpPr>
        <p:spPr bwMode="gray"/>
        <p:txBody>
          <a:bodyPr/>
          <a:lstStyle/>
          <a:p>
            <a:r>
              <a:rPr lang="en-US" noProof="0"/>
              <a:t>Click to edit Master title style</a:t>
            </a:r>
          </a:p>
        </p:txBody>
      </p:sp>
      <p:sp>
        <p:nvSpPr>
          <p:cNvPr id="3" name="Espace réservé du contenu 2"/>
          <p:cNvSpPr>
            <a:spLocks noGrp="1"/>
          </p:cNvSpPr>
          <p:nvPr>
            <p:ph idx="1"/>
          </p:nvPr>
        </p:nvSpPr>
        <p:spPr bwMode="gray">
          <a:xfrm>
            <a:off x="3635896" y="1304925"/>
            <a:ext cx="4644504" cy="4716463"/>
          </a:xfrm>
        </p:spPr>
        <p:txBody>
          <a:bodyPr/>
          <a:lstStyle>
            <a:lvl2pPr>
              <a:defRPr/>
            </a:lvl2pPr>
            <a:lvl3pPr>
              <a:defRPr/>
            </a:lvl3pPr>
            <a:lvl4pPr>
              <a:defRPr baseline="0"/>
            </a:lvl4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Espace réservé pour une image  8"/>
          <p:cNvSpPr>
            <a:spLocks noGrp="1"/>
          </p:cNvSpPr>
          <p:nvPr>
            <p:ph type="pic" sz="quarter" idx="13"/>
          </p:nvPr>
        </p:nvSpPr>
        <p:spPr bwMode="gray">
          <a:xfrm>
            <a:off x="0" y="1341438"/>
            <a:ext cx="3419038" cy="4679950"/>
          </a:xfrm>
        </p:spPr>
        <p:txBody>
          <a:bodyPr tIns="1008000" rtlCol="0" anchor="ctr">
            <a:noAutofit/>
          </a:bodyPr>
          <a:lstStyle>
            <a:lvl1pPr algn="ctr">
              <a:defRPr/>
            </a:lvl1pPr>
          </a:lstStyle>
          <a:p>
            <a:pPr lvl="0"/>
            <a:r>
              <a:rPr lang="en-US" noProof="0"/>
              <a:t>Click icon to add picture</a:t>
            </a:r>
          </a:p>
        </p:txBody>
      </p:sp>
      <p:sp>
        <p:nvSpPr>
          <p:cNvPr id="5" name="Espace réservé de la date 3"/>
          <p:cNvSpPr>
            <a:spLocks noGrp="1"/>
          </p:cNvSpPr>
          <p:nvPr>
            <p:ph type="dt" sz="half" idx="14"/>
          </p:nvPr>
        </p:nvSpPr>
        <p:spPr/>
        <p:txBody>
          <a:bodyPr/>
          <a:lstStyle>
            <a:lvl1pPr>
              <a:defRPr/>
            </a:lvl1pPr>
          </a:lstStyle>
          <a:p>
            <a:pPr>
              <a:defRPr/>
            </a:pPr>
            <a:r>
              <a:rPr lang="en-US">
                <a:solidFill>
                  <a:prstClr val="white">
                    <a:alpha val="0"/>
                  </a:prstClr>
                </a:solidFill>
              </a:rPr>
              <a:t>Date</a:t>
            </a:r>
          </a:p>
        </p:txBody>
      </p:sp>
      <p:sp>
        <p:nvSpPr>
          <p:cNvPr id="6" name="Espace réservé du pied de page 4"/>
          <p:cNvSpPr>
            <a:spLocks noGrp="1"/>
          </p:cNvSpPr>
          <p:nvPr>
            <p:ph type="ftr" sz="quarter" idx="15"/>
          </p:nvPr>
        </p:nvSpPr>
        <p:spPr/>
        <p:txBody>
          <a:bodyPr/>
          <a:lstStyle>
            <a:lvl1pPr>
              <a:defRPr/>
            </a:lvl1pPr>
          </a:lstStyle>
          <a:p>
            <a:pPr>
              <a:defRPr/>
            </a:pPr>
            <a:r>
              <a:rPr lang="en-US">
                <a:solidFill>
                  <a:srgbClr val="005CB9"/>
                </a:solidFill>
              </a:rPr>
              <a:t>#</a:t>
            </a:r>
            <a:r>
              <a:rPr lang="en-US" err="1">
                <a:solidFill>
                  <a:srgbClr val="005CB9"/>
                </a:solidFill>
              </a:rPr>
              <a:t>vaccineswork</a:t>
            </a:r>
            <a:endParaRPr lang="en-US">
              <a:solidFill>
                <a:srgbClr val="005CB9"/>
              </a:solidFill>
            </a:endParaRPr>
          </a:p>
        </p:txBody>
      </p:sp>
      <p:sp>
        <p:nvSpPr>
          <p:cNvPr id="7" name="Espace réservé du numéro de diapositive 5"/>
          <p:cNvSpPr>
            <a:spLocks noGrp="1"/>
          </p:cNvSpPr>
          <p:nvPr>
            <p:ph type="sldNum" sz="quarter" idx="16"/>
          </p:nvPr>
        </p:nvSpPr>
        <p:spPr/>
        <p:txBody>
          <a:bodyPr/>
          <a:lstStyle>
            <a:lvl1pPr>
              <a:defRPr/>
            </a:lvl1pPr>
          </a:lstStyle>
          <a:p>
            <a:pPr>
              <a:defRPr/>
            </a:pPr>
            <a:fld id="{D8886677-8A24-41A7-8E0F-301076E1EA36}" type="slidenum">
              <a:rPr lang="en-US">
                <a:solidFill>
                  <a:srgbClr val="343434"/>
                </a:solidFill>
              </a:rPr>
              <a:pPr>
                <a:defRPr/>
              </a:pPr>
              <a:t>‹#›</a:t>
            </a:fld>
            <a:endParaRPr lang="en-US">
              <a:solidFill>
                <a:srgbClr val="343434"/>
              </a:solidFill>
            </a:endParaRPr>
          </a:p>
        </p:txBody>
      </p:sp>
    </p:spTree>
    <p:extLst>
      <p:ext uri="{BB962C8B-B14F-4D97-AF65-F5344CB8AC3E}">
        <p14:creationId xmlns:p14="http://schemas.microsoft.com/office/powerpoint/2010/main" val="3288615921"/>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ext&amp;Content_Layout">
    <p:spTree>
      <p:nvGrpSpPr>
        <p:cNvPr id="1" name=""/>
        <p:cNvGrpSpPr/>
        <p:nvPr/>
      </p:nvGrpSpPr>
      <p:grpSpPr>
        <a:xfrm>
          <a:off x="0" y="0"/>
          <a:ext cx="0" cy="0"/>
          <a:chOff x="0" y="0"/>
          <a:chExt cx="0" cy="0"/>
        </a:xfrm>
      </p:grpSpPr>
      <p:sp>
        <p:nvSpPr>
          <p:cNvPr id="2" name="Titre 1"/>
          <p:cNvSpPr>
            <a:spLocks noGrp="1"/>
          </p:cNvSpPr>
          <p:nvPr>
            <p:ph type="title"/>
          </p:nvPr>
        </p:nvSpPr>
        <p:spPr bwMode="gray"/>
        <p:txBody>
          <a:bodyPr/>
          <a:lstStyle/>
          <a:p>
            <a:r>
              <a:rPr lang="en-US" noProof="0"/>
              <a:t>Click to edit Master title style</a:t>
            </a:r>
          </a:p>
        </p:txBody>
      </p:sp>
      <p:sp>
        <p:nvSpPr>
          <p:cNvPr id="3" name="Espace réservé du contenu 2"/>
          <p:cNvSpPr>
            <a:spLocks noGrp="1"/>
          </p:cNvSpPr>
          <p:nvPr>
            <p:ph idx="1"/>
          </p:nvPr>
        </p:nvSpPr>
        <p:spPr bwMode="gray">
          <a:xfrm>
            <a:off x="935038" y="2781388"/>
            <a:ext cx="7345362" cy="3240000"/>
          </a:xfrm>
        </p:spPr>
        <p:txBody>
          <a:bodyPr/>
          <a:lstStyle>
            <a:lvl2pPr>
              <a:defRPr/>
            </a:lvl2pPr>
            <a:lvl3pPr>
              <a:defRPr/>
            </a:lvl3pPr>
            <a:lvl4pPr>
              <a:defRPr baseline="0"/>
            </a:lvl4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Espace réservé du texte 9"/>
          <p:cNvSpPr>
            <a:spLocks noGrp="1"/>
          </p:cNvSpPr>
          <p:nvPr>
            <p:ph type="body" sz="quarter" idx="13"/>
          </p:nvPr>
        </p:nvSpPr>
        <p:spPr bwMode="gray">
          <a:xfrm>
            <a:off x="935038" y="1304924"/>
            <a:ext cx="7345362" cy="126000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Espace réservé de la date 3"/>
          <p:cNvSpPr>
            <a:spLocks noGrp="1"/>
          </p:cNvSpPr>
          <p:nvPr>
            <p:ph type="dt" sz="half" idx="14"/>
          </p:nvPr>
        </p:nvSpPr>
        <p:spPr/>
        <p:txBody>
          <a:bodyPr/>
          <a:lstStyle>
            <a:lvl1pPr>
              <a:defRPr/>
            </a:lvl1pPr>
          </a:lstStyle>
          <a:p>
            <a:pPr>
              <a:defRPr/>
            </a:pPr>
            <a:r>
              <a:rPr lang="en-US">
                <a:solidFill>
                  <a:prstClr val="white">
                    <a:alpha val="0"/>
                  </a:prstClr>
                </a:solidFill>
              </a:rPr>
              <a:t>Date</a:t>
            </a:r>
          </a:p>
        </p:txBody>
      </p:sp>
      <p:sp>
        <p:nvSpPr>
          <p:cNvPr id="6" name="Espace réservé du pied de page 4"/>
          <p:cNvSpPr>
            <a:spLocks noGrp="1"/>
          </p:cNvSpPr>
          <p:nvPr>
            <p:ph type="ftr" sz="quarter" idx="15"/>
          </p:nvPr>
        </p:nvSpPr>
        <p:spPr/>
        <p:txBody>
          <a:bodyPr/>
          <a:lstStyle>
            <a:lvl1pPr>
              <a:defRPr/>
            </a:lvl1pPr>
          </a:lstStyle>
          <a:p>
            <a:pPr>
              <a:defRPr/>
            </a:pPr>
            <a:r>
              <a:rPr lang="en-US">
                <a:solidFill>
                  <a:srgbClr val="005CB9"/>
                </a:solidFill>
              </a:rPr>
              <a:t>#</a:t>
            </a:r>
            <a:r>
              <a:rPr lang="en-US" err="1">
                <a:solidFill>
                  <a:srgbClr val="005CB9"/>
                </a:solidFill>
              </a:rPr>
              <a:t>vaccineswork</a:t>
            </a:r>
            <a:endParaRPr lang="en-US">
              <a:solidFill>
                <a:srgbClr val="005CB9"/>
              </a:solidFill>
            </a:endParaRPr>
          </a:p>
        </p:txBody>
      </p:sp>
      <p:sp>
        <p:nvSpPr>
          <p:cNvPr id="7" name="Espace réservé du numéro de diapositive 5"/>
          <p:cNvSpPr>
            <a:spLocks noGrp="1"/>
          </p:cNvSpPr>
          <p:nvPr>
            <p:ph type="sldNum" sz="quarter" idx="16"/>
          </p:nvPr>
        </p:nvSpPr>
        <p:spPr/>
        <p:txBody>
          <a:bodyPr/>
          <a:lstStyle>
            <a:lvl1pPr>
              <a:defRPr/>
            </a:lvl1pPr>
          </a:lstStyle>
          <a:p>
            <a:pPr>
              <a:defRPr/>
            </a:pPr>
            <a:fld id="{8779425B-3CAA-48C9-9B95-57BAD5A3D82E}" type="slidenum">
              <a:rPr lang="en-US">
                <a:solidFill>
                  <a:srgbClr val="343434"/>
                </a:solidFill>
              </a:rPr>
              <a:pPr>
                <a:defRPr/>
              </a:pPr>
              <a:t>‹#›</a:t>
            </a:fld>
            <a:endParaRPr lang="en-US">
              <a:solidFill>
                <a:srgbClr val="343434"/>
              </a:solidFill>
            </a:endParaRPr>
          </a:p>
        </p:txBody>
      </p:sp>
    </p:spTree>
    <p:extLst>
      <p:ext uri="{BB962C8B-B14F-4D97-AF65-F5344CB8AC3E}">
        <p14:creationId xmlns:p14="http://schemas.microsoft.com/office/powerpoint/2010/main" val="963528283"/>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hank_you_1">
    <p:spTree>
      <p:nvGrpSpPr>
        <p:cNvPr id="1" name=""/>
        <p:cNvGrpSpPr/>
        <p:nvPr/>
      </p:nvGrpSpPr>
      <p:grpSpPr>
        <a:xfrm>
          <a:off x="0" y="0"/>
          <a:ext cx="0" cy="0"/>
          <a:chOff x="0" y="0"/>
          <a:chExt cx="0" cy="0"/>
        </a:xfrm>
      </p:grpSpPr>
      <p:pic>
        <p:nvPicPr>
          <p:cNvPr id="5" name="Image 18" descr="FD_1_L254.png"/>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gray">
          <a:xfrm>
            <a:off x="0" y="0"/>
            <a:ext cx="9144000" cy="51577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6" name="Rectangle 5"/>
          <p:cNvSpPr/>
          <p:nvPr userDrawn="1"/>
        </p:nvSpPr>
        <p:spPr bwMode="gray">
          <a:xfrm>
            <a:off x="3635375" y="5265738"/>
            <a:ext cx="5508625" cy="15922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prstClr val="white"/>
              </a:solidFill>
            </a:endParaRPr>
          </a:p>
        </p:txBody>
      </p:sp>
      <p:pic>
        <p:nvPicPr>
          <p:cNvPr id="7" name="Image 19" descr="Bas_couv.png"/>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gray">
          <a:xfrm>
            <a:off x="0" y="5172075"/>
            <a:ext cx="3635375" cy="16859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8" name="Rectangle 7"/>
          <p:cNvSpPr/>
          <p:nvPr userDrawn="1"/>
        </p:nvSpPr>
        <p:spPr bwMode="gray">
          <a:xfrm>
            <a:off x="3635375" y="6354763"/>
            <a:ext cx="5113338" cy="2873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p>
            <a:pPr algn="r">
              <a:defRPr/>
            </a:pPr>
            <a:r>
              <a:rPr lang="en-US" sz="1000" err="1">
                <a:solidFill>
                  <a:srgbClr val="95D600"/>
                </a:solidFill>
              </a:rPr>
              <a:t>www.gavi.org</a:t>
            </a:r>
            <a:endParaRPr lang="en-US" sz="1000">
              <a:solidFill>
                <a:srgbClr val="95D600"/>
              </a:solidFill>
            </a:endParaRPr>
          </a:p>
        </p:txBody>
      </p:sp>
      <p:cxnSp>
        <p:nvCxnSpPr>
          <p:cNvPr id="10" name="Connecteur droit 13"/>
          <p:cNvCxnSpPr/>
          <p:nvPr userDrawn="1"/>
        </p:nvCxnSpPr>
        <p:spPr bwMode="gray">
          <a:xfrm flipH="1">
            <a:off x="468313" y="3400425"/>
            <a:ext cx="2447925" cy="0"/>
          </a:xfrm>
          <a:prstGeom prst="line">
            <a:avLst/>
          </a:prstGeom>
          <a:ln w="24130">
            <a:solidFill>
              <a:schemeClr val="accent1"/>
            </a:solidFill>
          </a:ln>
        </p:spPr>
        <p:style>
          <a:lnRef idx="1">
            <a:schemeClr val="accent1"/>
          </a:lnRef>
          <a:fillRef idx="0">
            <a:schemeClr val="accent1"/>
          </a:fillRef>
          <a:effectRef idx="0">
            <a:schemeClr val="accent1"/>
          </a:effectRef>
          <a:fontRef idx="minor">
            <a:schemeClr val="tx1"/>
          </a:fontRef>
        </p:style>
      </p:cxnSp>
      <p:sp>
        <p:nvSpPr>
          <p:cNvPr id="9" name="Espace réservé du texte 8"/>
          <p:cNvSpPr>
            <a:spLocks noGrp="1"/>
          </p:cNvSpPr>
          <p:nvPr>
            <p:ph type="body" sz="quarter" idx="13"/>
          </p:nvPr>
        </p:nvSpPr>
        <p:spPr bwMode="gray">
          <a:xfrm>
            <a:off x="468314" y="1036638"/>
            <a:ext cx="4824412" cy="2242966"/>
          </a:xfrm>
        </p:spPr>
        <p:txBody>
          <a:bodyPr anchor="b"/>
          <a:lstStyle>
            <a:lvl1pPr marL="0" indent="0" algn="l">
              <a:lnSpc>
                <a:spcPct val="90000"/>
              </a:lnSpc>
              <a:buNone/>
              <a:defRPr sz="2800" b="1" cap="none" baseline="0">
                <a:solidFill>
                  <a:schemeClr val="bg1"/>
                </a:solidFill>
              </a:defRPr>
            </a:lvl1pPr>
            <a:lvl2pPr marL="0" algn="ctr">
              <a:lnSpc>
                <a:spcPct val="100000"/>
              </a:lnSpc>
              <a:spcBef>
                <a:spcPts val="6900"/>
              </a:spcBef>
              <a:defRPr sz="2000" b="1">
                <a:solidFill>
                  <a:schemeClr val="bg1"/>
                </a:solidFill>
              </a:defRPr>
            </a:lvl2pPr>
          </a:lstStyle>
          <a:p>
            <a:pPr lvl="0"/>
            <a:r>
              <a:rPr lang="en-US" noProof="0"/>
              <a:t>Click to edit Master text styles</a:t>
            </a:r>
          </a:p>
        </p:txBody>
      </p:sp>
      <p:sp>
        <p:nvSpPr>
          <p:cNvPr id="15" name="Espace réservé du texte 14"/>
          <p:cNvSpPr>
            <a:spLocks noGrp="1"/>
          </p:cNvSpPr>
          <p:nvPr>
            <p:ph type="body" sz="quarter" idx="19"/>
          </p:nvPr>
        </p:nvSpPr>
        <p:spPr bwMode="gray">
          <a:xfrm>
            <a:off x="3635376" y="6021388"/>
            <a:ext cx="5113338" cy="324000"/>
          </a:xfrm>
        </p:spPr>
        <p:txBody>
          <a:bodyPr anchor="b"/>
          <a:lstStyle>
            <a:lvl1pPr algn="r">
              <a:lnSpc>
                <a:spcPct val="100000"/>
              </a:lnSpc>
              <a:defRPr sz="1000" b="1">
                <a:solidFill>
                  <a:schemeClr val="accent3"/>
                </a:solidFill>
              </a:defRPr>
            </a:lvl1pPr>
          </a:lstStyle>
          <a:p>
            <a:pPr lvl="0"/>
            <a:r>
              <a:rPr lang="en-US" noProof="0"/>
              <a:t>Click to edit Master text styles</a:t>
            </a:r>
          </a:p>
        </p:txBody>
      </p:sp>
      <p:sp>
        <p:nvSpPr>
          <p:cNvPr id="13" name="Espace réservé pour une image  17"/>
          <p:cNvSpPr>
            <a:spLocks noGrp="1"/>
          </p:cNvSpPr>
          <p:nvPr>
            <p:ph type="pic" sz="quarter" idx="18"/>
          </p:nvPr>
        </p:nvSpPr>
        <p:spPr bwMode="gray">
          <a:xfrm>
            <a:off x="4192588" y="0"/>
            <a:ext cx="4951412" cy="5162400"/>
          </a:xfrm>
          <a:custGeom>
            <a:avLst/>
            <a:gdLst>
              <a:gd name="connsiteX0" fmla="*/ 0 w 3851275"/>
              <a:gd name="connsiteY0" fmla="*/ 0 h 5157788"/>
              <a:gd name="connsiteX1" fmla="*/ 3851275 w 3851275"/>
              <a:gd name="connsiteY1" fmla="*/ 0 h 5157788"/>
              <a:gd name="connsiteX2" fmla="*/ 3851275 w 3851275"/>
              <a:gd name="connsiteY2" fmla="*/ 5157788 h 5157788"/>
              <a:gd name="connsiteX3" fmla="*/ 0 w 3851275"/>
              <a:gd name="connsiteY3" fmla="*/ 5157788 h 5157788"/>
              <a:gd name="connsiteX4" fmla="*/ 0 w 3851275"/>
              <a:gd name="connsiteY4"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0 w 3851275"/>
              <a:gd name="connsiteY3" fmla="*/ 5157788 h 5157788"/>
              <a:gd name="connsiteX4" fmla="*/ 1692275 w 3851275"/>
              <a:gd name="connsiteY4" fmla="*/ 0 h 5157788"/>
              <a:gd name="connsiteX0" fmla="*/ 0 w 2159000"/>
              <a:gd name="connsiteY0" fmla="*/ 0 h 5157788"/>
              <a:gd name="connsiteX1" fmla="*/ 2159000 w 2159000"/>
              <a:gd name="connsiteY1" fmla="*/ 0 h 5157788"/>
              <a:gd name="connsiteX2" fmla="*/ 2159000 w 2159000"/>
              <a:gd name="connsiteY2" fmla="*/ 5157788 h 5157788"/>
              <a:gd name="connsiteX3" fmla="*/ 0 w 2159000"/>
              <a:gd name="connsiteY3" fmla="*/ 5157788 h 5157788"/>
              <a:gd name="connsiteX4" fmla="*/ 0 w 2159000"/>
              <a:gd name="connsiteY4" fmla="*/ 0 h 5157788"/>
              <a:gd name="connsiteX0" fmla="*/ 2625271 w 4784271"/>
              <a:gd name="connsiteY0" fmla="*/ 0 h 5157788"/>
              <a:gd name="connsiteX1" fmla="*/ 4784271 w 4784271"/>
              <a:gd name="connsiteY1" fmla="*/ 0 h 5157788"/>
              <a:gd name="connsiteX2" fmla="*/ 4784271 w 4784271"/>
              <a:gd name="connsiteY2" fmla="*/ 5157788 h 5157788"/>
              <a:gd name="connsiteX3" fmla="*/ 2625271 w 4784271"/>
              <a:gd name="connsiteY3" fmla="*/ 5157788 h 5157788"/>
              <a:gd name="connsiteX4" fmla="*/ 2625271 w 4784271"/>
              <a:gd name="connsiteY4" fmla="*/ 0 h 5157788"/>
              <a:gd name="connsiteX0" fmla="*/ 2625271 w 4784271"/>
              <a:gd name="connsiteY0" fmla="*/ 0 h 5157788"/>
              <a:gd name="connsiteX1" fmla="*/ 4784271 w 4784271"/>
              <a:gd name="connsiteY1" fmla="*/ 0 h 5157788"/>
              <a:gd name="connsiteX2" fmla="*/ 4784271 w 4784271"/>
              <a:gd name="connsiteY2" fmla="*/ 5157788 h 5157788"/>
              <a:gd name="connsiteX3" fmla="*/ 2625271 w 4784271"/>
              <a:gd name="connsiteY3" fmla="*/ 5157788 h 5157788"/>
              <a:gd name="connsiteX4" fmla="*/ 2625271 w 4784271"/>
              <a:gd name="connsiteY4" fmla="*/ 0 h 5157788"/>
              <a:gd name="connsiteX0" fmla="*/ 3568576 w 5727576"/>
              <a:gd name="connsiteY0" fmla="*/ 0 h 5157788"/>
              <a:gd name="connsiteX1" fmla="*/ 5727576 w 5727576"/>
              <a:gd name="connsiteY1" fmla="*/ 0 h 5157788"/>
              <a:gd name="connsiteX2" fmla="*/ 5727576 w 5727576"/>
              <a:gd name="connsiteY2" fmla="*/ 5157788 h 5157788"/>
              <a:gd name="connsiteX3" fmla="*/ 3568576 w 5727576"/>
              <a:gd name="connsiteY3" fmla="*/ 5157788 h 5157788"/>
              <a:gd name="connsiteX4" fmla="*/ 3568576 w 5727576"/>
              <a:gd name="connsiteY4" fmla="*/ 0 h 5157788"/>
              <a:gd name="connsiteX0" fmla="*/ 3306355 w 5465355"/>
              <a:gd name="connsiteY0" fmla="*/ 0 h 5157788"/>
              <a:gd name="connsiteX1" fmla="*/ 5465355 w 5465355"/>
              <a:gd name="connsiteY1" fmla="*/ 0 h 5157788"/>
              <a:gd name="connsiteX2" fmla="*/ 5465355 w 5465355"/>
              <a:gd name="connsiteY2" fmla="*/ 5157788 h 5157788"/>
              <a:gd name="connsiteX3" fmla="*/ 3306355 w 5465355"/>
              <a:gd name="connsiteY3" fmla="*/ 5157788 h 5157788"/>
              <a:gd name="connsiteX4" fmla="*/ 3306355 w 5465355"/>
              <a:gd name="connsiteY4" fmla="*/ 0 h 5157788"/>
              <a:gd name="connsiteX0" fmla="*/ 1416957 w 3575957"/>
              <a:gd name="connsiteY0" fmla="*/ 0 h 5157788"/>
              <a:gd name="connsiteX1" fmla="*/ 3575957 w 3575957"/>
              <a:gd name="connsiteY1" fmla="*/ 0 h 5157788"/>
              <a:gd name="connsiteX2" fmla="*/ 3575957 w 3575957"/>
              <a:gd name="connsiteY2" fmla="*/ 5157788 h 5157788"/>
              <a:gd name="connsiteX3" fmla="*/ 1416957 w 3575957"/>
              <a:gd name="connsiteY3" fmla="*/ 5157788 h 5157788"/>
              <a:gd name="connsiteX4" fmla="*/ 0 w 3575957"/>
              <a:gd name="connsiteY4" fmla="*/ 3339193 h 5157788"/>
              <a:gd name="connsiteX5" fmla="*/ 1416957 w 3575957"/>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6017419"/>
              <a:gd name="connsiteX1" fmla="*/ 3851275 w 3851275"/>
              <a:gd name="connsiteY1" fmla="*/ 0 h 6017419"/>
              <a:gd name="connsiteX2" fmla="*/ 3851275 w 3851275"/>
              <a:gd name="connsiteY2" fmla="*/ 5157788 h 6017419"/>
              <a:gd name="connsiteX3" fmla="*/ 1692275 w 3851275"/>
              <a:gd name="connsiteY3" fmla="*/ 5157788 h 6017419"/>
              <a:gd name="connsiteX4" fmla="*/ 0 w 3851275"/>
              <a:gd name="connsiteY4" fmla="*/ 3284984 h 6017419"/>
              <a:gd name="connsiteX5" fmla="*/ 1692275 w 3851275"/>
              <a:gd name="connsiteY5" fmla="*/ 0 h 6017419"/>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429000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429000 h 5157788"/>
              <a:gd name="connsiteX5" fmla="*/ 1710871 w 3869871"/>
              <a:gd name="connsiteY5" fmla="*/ 0 h 5157788"/>
              <a:gd name="connsiteX0" fmla="*/ 1704975 w 3863975"/>
              <a:gd name="connsiteY0" fmla="*/ 0 h 5157788"/>
              <a:gd name="connsiteX1" fmla="*/ 3863975 w 3863975"/>
              <a:gd name="connsiteY1" fmla="*/ 0 h 5157788"/>
              <a:gd name="connsiteX2" fmla="*/ 3863975 w 3863975"/>
              <a:gd name="connsiteY2" fmla="*/ 5157788 h 5157788"/>
              <a:gd name="connsiteX3" fmla="*/ 1704975 w 3863975"/>
              <a:gd name="connsiteY3" fmla="*/ 5157788 h 5157788"/>
              <a:gd name="connsiteX4" fmla="*/ 12700 w 3863975"/>
              <a:gd name="connsiteY4" fmla="*/ 3429000 h 5157788"/>
              <a:gd name="connsiteX5" fmla="*/ 1704975 w 3863975"/>
              <a:gd name="connsiteY5" fmla="*/ 0 h 5157788"/>
              <a:gd name="connsiteX0" fmla="*/ 1707243 w 3866243"/>
              <a:gd name="connsiteY0" fmla="*/ 0 h 5157788"/>
              <a:gd name="connsiteX1" fmla="*/ 3866243 w 3866243"/>
              <a:gd name="connsiteY1" fmla="*/ 0 h 5157788"/>
              <a:gd name="connsiteX2" fmla="*/ 3866243 w 3866243"/>
              <a:gd name="connsiteY2" fmla="*/ 5157788 h 5157788"/>
              <a:gd name="connsiteX3" fmla="*/ 1707243 w 3866243"/>
              <a:gd name="connsiteY3" fmla="*/ 5157788 h 5157788"/>
              <a:gd name="connsiteX4" fmla="*/ 14968 w 3866243"/>
              <a:gd name="connsiteY4" fmla="*/ 3429000 h 5157788"/>
              <a:gd name="connsiteX5" fmla="*/ 1707243 w 3866243"/>
              <a:gd name="connsiteY5" fmla="*/ 0 h 5157788"/>
              <a:gd name="connsiteX0" fmla="*/ 1130447 w 3866243"/>
              <a:gd name="connsiteY0" fmla="*/ 0 h 5157788"/>
              <a:gd name="connsiteX1" fmla="*/ 3866243 w 3866243"/>
              <a:gd name="connsiteY1" fmla="*/ 0 h 5157788"/>
              <a:gd name="connsiteX2" fmla="*/ 3866243 w 3866243"/>
              <a:gd name="connsiteY2" fmla="*/ 5157788 h 5157788"/>
              <a:gd name="connsiteX3" fmla="*/ 1707243 w 3866243"/>
              <a:gd name="connsiteY3" fmla="*/ 5157788 h 5157788"/>
              <a:gd name="connsiteX4" fmla="*/ 14968 w 3866243"/>
              <a:gd name="connsiteY4" fmla="*/ 3429000 h 5157788"/>
              <a:gd name="connsiteX5" fmla="*/ 1130447 w 3866243"/>
              <a:gd name="connsiteY5" fmla="*/ 0 h 5157788"/>
              <a:gd name="connsiteX0" fmla="*/ 2746143 w 5481939"/>
              <a:gd name="connsiteY0" fmla="*/ 0 h 5157788"/>
              <a:gd name="connsiteX1" fmla="*/ 5481939 w 5481939"/>
              <a:gd name="connsiteY1" fmla="*/ 0 h 5157788"/>
              <a:gd name="connsiteX2" fmla="*/ 5481939 w 5481939"/>
              <a:gd name="connsiteY2" fmla="*/ 5157788 h 5157788"/>
              <a:gd name="connsiteX3" fmla="*/ 585903 w 5481939"/>
              <a:gd name="connsiteY3" fmla="*/ 5153180 h 5157788"/>
              <a:gd name="connsiteX4" fmla="*/ 1630664 w 5481939"/>
              <a:gd name="connsiteY4" fmla="*/ 3429000 h 5157788"/>
              <a:gd name="connsiteX5" fmla="*/ 2746143 w 5481939"/>
              <a:gd name="connsiteY5" fmla="*/ 0 h 5157788"/>
              <a:gd name="connsiteX0" fmla="*/ 2746143 w 5481939"/>
              <a:gd name="connsiteY0" fmla="*/ 0 h 5157788"/>
              <a:gd name="connsiteX1" fmla="*/ 5481939 w 5481939"/>
              <a:gd name="connsiteY1" fmla="*/ 0 h 5157788"/>
              <a:gd name="connsiteX2" fmla="*/ 5481939 w 5481939"/>
              <a:gd name="connsiteY2" fmla="*/ 5157788 h 5157788"/>
              <a:gd name="connsiteX3" fmla="*/ 585903 w 5481939"/>
              <a:gd name="connsiteY3" fmla="*/ 5153180 h 5157788"/>
              <a:gd name="connsiteX4" fmla="*/ 1630664 w 5481939"/>
              <a:gd name="connsiteY4" fmla="*/ 3429000 h 5157788"/>
              <a:gd name="connsiteX5" fmla="*/ 2746143 w 548193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3574235 w 6310031"/>
              <a:gd name="connsiteY0" fmla="*/ 0 h 5157788"/>
              <a:gd name="connsiteX1" fmla="*/ 6310031 w 6310031"/>
              <a:gd name="connsiteY1" fmla="*/ 0 h 5157788"/>
              <a:gd name="connsiteX2" fmla="*/ 6310031 w 6310031"/>
              <a:gd name="connsiteY2" fmla="*/ 5157788 h 5157788"/>
              <a:gd name="connsiteX3" fmla="*/ 585903 w 6310031"/>
              <a:gd name="connsiteY3" fmla="*/ 5153180 h 5157788"/>
              <a:gd name="connsiteX4" fmla="*/ 1738031 w 6310031"/>
              <a:gd name="connsiteY4" fmla="*/ 3389965 h 5157788"/>
              <a:gd name="connsiteX5" fmla="*/ 3574235 w 6310031"/>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296143 w 5724128"/>
              <a:gd name="connsiteY4" fmla="*/ 3461908 h 5157788"/>
              <a:gd name="connsiteX5" fmla="*/ 2988332 w 5724128"/>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1188132 w 5760132"/>
              <a:gd name="connsiteY4" fmla="*/ 3425937 h 5157788"/>
              <a:gd name="connsiteX5" fmla="*/ 3024336 w 5760132"/>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2736304 w 5760132"/>
              <a:gd name="connsiteY4" fmla="*/ 3461908 h 5157788"/>
              <a:gd name="connsiteX5" fmla="*/ 3024336 w 5760132"/>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2736304 w 5760132"/>
              <a:gd name="connsiteY4" fmla="*/ 3461908 h 5157788"/>
              <a:gd name="connsiteX5" fmla="*/ 3024336 w 5760132"/>
              <a:gd name="connsiteY5" fmla="*/ 0 h 5157788"/>
              <a:gd name="connsiteX0" fmla="*/ 2160240 w 4896036"/>
              <a:gd name="connsiteY0" fmla="*/ 0 h 5157788"/>
              <a:gd name="connsiteX1" fmla="*/ 4896036 w 4896036"/>
              <a:gd name="connsiteY1" fmla="*/ 0 h 5157788"/>
              <a:gd name="connsiteX2" fmla="*/ 4896036 w 4896036"/>
              <a:gd name="connsiteY2" fmla="*/ 5157788 h 5157788"/>
              <a:gd name="connsiteX3" fmla="*/ 0 w 4896036"/>
              <a:gd name="connsiteY3" fmla="*/ 5153180 h 5157788"/>
              <a:gd name="connsiteX4" fmla="*/ 1872208 w 4896036"/>
              <a:gd name="connsiteY4" fmla="*/ 3461908 h 5157788"/>
              <a:gd name="connsiteX5" fmla="*/ 2160240 w 4896036"/>
              <a:gd name="connsiteY5" fmla="*/ 0 h 5157788"/>
              <a:gd name="connsiteX0" fmla="*/ 2232248 w 4968044"/>
              <a:gd name="connsiteY0" fmla="*/ 0 h 5157788"/>
              <a:gd name="connsiteX1" fmla="*/ 4968044 w 4968044"/>
              <a:gd name="connsiteY1" fmla="*/ 0 h 5157788"/>
              <a:gd name="connsiteX2" fmla="*/ 4968044 w 4968044"/>
              <a:gd name="connsiteY2" fmla="*/ 5157788 h 5157788"/>
              <a:gd name="connsiteX3" fmla="*/ 0 w 4968044"/>
              <a:gd name="connsiteY3" fmla="*/ 5153180 h 5157788"/>
              <a:gd name="connsiteX4" fmla="*/ 1944216 w 4968044"/>
              <a:gd name="connsiteY4" fmla="*/ 3461908 h 5157788"/>
              <a:gd name="connsiteX5" fmla="*/ 2232248 w 4968044"/>
              <a:gd name="connsiteY5" fmla="*/ 0 h 5157788"/>
              <a:gd name="connsiteX0" fmla="*/ 2207679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207679 w 4943475"/>
              <a:gd name="connsiteY5" fmla="*/ 0 h 5157788"/>
              <a:gd name="connsiteX0" fmla="*/ 2963763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963763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092200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71575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343583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675731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675731 w 4943475"/>
              <a:gd name="connsiteY5" fmla="*/ 0 h 5157788"/>
              <a:gd name="connsiteX0" fmla="*/ 2675731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675731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9672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19672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51412" h="5157788">
                <a:moveTo>
                  <a:pt x="2706687" y="0"/>
                </a:moveTo>
                <a:lnTo>
                  <a:pt x="4951412" y="0"/>
                </a:lnTo>
                <a:lnTo>
                  <a:pt x="4951412" y="5157788"/>
                </a:lnTo>
                <a:lnTo>
                  <a:pt x="0" y="5153180"/>
                </a:lnTo>
                <a:cubicBezTo>
                  <a:pt x="84411" y="4542509"/>
                  <a:pt x="183041" y="4024723"/>
                  <a:pt x="1243508" y="2562613"/>
                </a:cubicBezTo>
                <a:cubicBezTo>
                  <a:pt x="1867447" y="1704780"/>
                  <a:pt x="2665955" y="709265"/>
                  <a:pt x="2706687" y="0"/>
                </a:cubicBezTo>
                <a:close/>
              </a:path>
            </a:pathLst>
          </a:custGeom>
          <a:solidFill>
            <a:schemeClr val="bg2"/>
          </a:solidFill>
          <a:ln w="3175">
            <a:noFill/>
          </a:ln>
        </p:spPr>
        <p:txBody>
          <a:bodyPr tIns="720000" rtlCol="0" anchor="ctr">
            <a:noAutofit/>
          </a:bodyPr>
          <a:lstStyle>
            <a:lvl1pPr algn="ctr">
              <a:defRPr sz="1500">
                <a:solidFill>
                  <a:schemeClr val="bg1"/>
                </a:solidFill>
              </a:defRPr>
            </a:lvl1pPr>
          </a:lstStyle>
          <a:p>
            <a:pPr lvl="0"/>
            <a:r>
              <a:rPr lang="en-US" noProof="0"/>
              <a:t>Click icon to add picture</a:t>
            </a:r>
          </a:p>
        </p:txBody>
      </p:sp>
      <p:sp>
        <p:nvSpPr>
          <p:cNvPr id="11" name="Espace réservé de la date 9"/>
          <p:cNvSpPr>
            <a:spLocks noGrp="1"/>
          </p:cNvSpPr>
          <p:nvPr>
            <p:ph type="dt" sz="half" idx="20"/>
          </p:nvPr>
        </p:nvSpPr>
        <p:spPr/>
        <p:txBody>
          <a:bodyPr/>
          <a:lstStyle>
            <a:lvl1pPr>
              <a:defRPr/>
            </a:lvl1pPr>
          </a:lstStyle>
          <a:p>
            <a:pPr>
              <a:defRPr/>
            </a:pPr>
            <a:r>
              <a:rPr lang="en-US">
                <a:solidFill>
                  <a:prstClr val="white">
                    <a:alpha val="0"/>
                  </a:prstClr>
                </a:solidFill>
              </a:rPr>
              <a:t>Date</a:t>
            </a:r>
          </a:p>
        </p:txBody>
      </p:sp>
      <p:sp>
        <p:nvSpPr>
          <p:cNvPr id="12" name="Espace réservé du numéro de diapositive 10"/>
          <p:cNvSpPr>
            <a:spLocks noGrp="1"/>
          </p:cNvSpPr>
          <p:nvPr>
            <p:ph type="sldNum" sz="quarter" idx="21"/>
          </p:nvPr>
        </p:nvSpPr>
        <p:spPr/>
        <p:txBody>
          <a:bodyPr/>
          <a:lstStyle>
            <a:lvl1pPr>
              <a:defRPr sz="100">
                <a:solidFill>
                  <a:schemeClr val="bg1">
                    <a:alpha val="0"/>
                  </a:schemeClr>
                </a:solidFill>
              </a:defRPr>
            </a:lvl1pPr>
          </a:lstStyle>
          <a:p>
            <a:pPr>
              <a:defRPr/>
            </a:pPr>
            <a:r>
              <a:rPr lang="en-US">
                <a:solidFill>
                  <a:prstClr val="white">
                    <a:alpha val="0"/>
                  </a:prstClr>
                </a:solidFill>
              </a:rPr>
              <a:t>Page: </a:t>
            </a:r>
            <a:fld id="{4AF4F797-1FBC-44F9-B7CF-6A5F893B852E}" type="slidenum">
              <a:rPr lang="en-US">
                <a:solidFill>
                  <a:prstClr val="white">
                    <a:alpha val="0"/>
                  </a:prstClr>
                </a:solidFill>
              </a:rPr>
              <a:pPr>
                <a:defRPr/>
              </a:pPr>
              <a:t>‹#›</a:t>
            </a:fld>
            <a:endParaRPr lang="en-US">
              <a:solidFill>
                <a:prstClr val="white">
                  <a:alpha val="0"/>
                </a:prstClr>
              </a:solidFill>
            </a:endParaRPr>
          </a:p>
        </p:txBody>
      </p:sp>
      <p:sp>
        <p:nvSpPr>
          <p:cNvPr id="14" name="Espace réservé du pied de page 11"/>
          <p:cNvSpPr>
            <a:spLocks noGrp="1"/>
          </p:cNvSpPr>
          <p:nvPr>
            <p:ph type="ftr" sz="quarter" idx="22"/>
          </p:nvPr>
        </p:nvSpPr>
        <p:spPr>
          <a:xfrm>
            <a:off x="468313" y="523875"/>
            <a:ext cx="4824412" cy="360363"/>
          </a:xfrm>
        </p:spPr>
        <p:txBody>
          <a:bodyPr/>
          <a:lstStyle>
            <a:lvl1pPr algn="l">
              <a:defRPr sz="1800" b="0">
                <a:solidFill>
                  <a:schemeClr val="bg1"/>
                </a:solidFill>
              </a:defRPr>
            </a:lvl1pPr>
          </a:lstStyle>
          <a:p>
            <a:pPr>
              <a:defRPr/>
            </a:pPr>
            <a:r>
              <a:rPr lang="en-US">
                <a:solidFill>
                  <a:prstClr val="white"/>
                </a:solidFill>
              </a:rPr>
              <a:t>#</a:t>
            </a:r>
            <a:r>
              <a:rPr lang="en-US" err="1">
                <a:solidFill>
                  <a:prstClr val="white"/>
                </a:solidFill>
              </a:rPr>
              <a:t>vaccineswork</a:t>
            </a:r>
            <a:endParaRPr lang="en-US">
              <a:solidFill>
                <a:prstClr val="white"/>
              </a:solidFill>
            </a:endParaRPr>
          </a:p>
        </p:txBody>
      </p:sp>
    </p:spTree>
    <p:extLst>
      <p:ext uri="{BB962C8B-B14F-4D97-AF65-F5344CB8AC3E}">
        <p14:creationId xmlns:p14="http://schemas.microsoft.com/office/powerpoint/2010/main" val="3292523536"/>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Thank_you_2">
    <p:spTree>
      <p:nvGrpSpPr>
        <p:cNvPr id="1" name=""/>
        <p:cNvGrpSpPr/>
        <p:nvPr/>
      </p:nvGrpSpPr>
      <p:grpSpPr>
        <a:xfrm>
          <a:off x="0" y="0"/>
          <a:ext cx="0" cy="0"/>
          <a:chOff x="0" y="0"/>
          <a:chExt cx="0" cy="0"/>
        </a:xfrm>
      </p:grpSpPr>
      <p:sp>
        <p:nvSpPr>
          <p:cNvPr id="5" name="Rectangle 4"/>
          <p:cNvSpPr/>
          <p:nvPr userDrawn="1"/>
        </p:nvSpPr>
        <p:spPr bwMode="gray">
          <a:xfrm>
            <a:off x="3635375" y="5265738"/>
            <a:ext cx="5508625" cy="15922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prstClr val="white"/>
              </a:solidFill>
            </a:endParaRPr>
          </a:p>
        </p:txBody>
      </p:sp>
      <p:pic>
        <p:nvPicPr>
          <p:cNvPr id="6" name="Image 20" descr="FD_1_L254.png"/>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gray">
          <a:xfrm>
            <a:off x="0" y="0"/>
            <a:ext cx="9144000" cy="51577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7" name="Image 19" descr="Bas_couv.png"/>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gray">
          <a:xfrm>
            <a:off x="0" y="5172075"/>
            <a:ext cx="3635375" cy="16859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8" name="Rectangle 7"/>
          <p:cNvSpPr/>
          <p:nvPr userDrawn="1"/>
        </p:nvSpPr>
        <p:spPr bwMode="gray">
          <a:xfrm>
            <a:off x="3635375" y="6354763"/>
            <a:ext cx="5113338" cy="2873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p>
            <a:pPr algn="r">
              <a:defRPr/>
            </a:pPr>
            <a:r>
              <a:rPr lang="en-US" sz="1000" err="1">
                <a:solidFill>
                  <a:srgbClr val="95D600"/>
                </a:solidFill>
              </a:rPr>
              <a:t>www.gavi.org</a:t>
            </a:r>
            <a:endParaRPr lang="en-US" sz="1000">
              <a:solidFill>
                <a:srgbClr val="95D600"/>
              </a:solidFill>
            </a:endParaRPr>
          </a:p>
        </p:txBody>
      </p:sp>
      <p:cxnSp>
        <p:nvCxnSpPr>
          <p:cNvPr id="10" name="Connecteur droit 13"/>
          <p:cNvCxnSpPr/>
          <p:nvPr userDrawn="1"/>
        </p:nvCxnSpPr>
        <p:spPr bwMode="gray">
          <a:xfrm flipH="1">
            <a:off x="468313" y="3402013"/>
            <a:ext cx="2447925" cy="0"/>
          </a:xfrm>
          <a:prstGeom prst="line">
            <a:avLst/>
          </a:prstGeom>
          <a:ln w="24130">
            <a:solidFill>
              <a:schemeClr val="accent1"/>
            </a:solidFill>
          </a:ln>
        </p:spPr>
        <p:style>
          <a:lnRef idx="1">
            <a:schemeClr val="accent1"/>
          </a:lnRef>
          <a:fillRef idx="0">
            <a:schemeClr val="accent1"/>
          </a:fillRef>
          <a:effectRef idx="0">
            <a:schemeClr val="accent1"/>
          </a:effectRef>
          <a:fontRef idx="minor">
            <a:schemeClr val="tx1"/>
          </a:fontRef>
        </p:style>
      </p:cxnSp>
      <p:sp>
        <p:nvSpPr>
          <p:cNvPr id="9" name="Espace réservé du texte 8"/>
          <p:cNvSpPr>
            <a:spLocks noGrp="1"/>
          </p:cNvSpPr>
          <p:nvPr>
            <p:ph type="body" sz="quarter" idx="13"/>
          </p:nvPr>
        </p:nvSpPr>
        <p:spPr bwMode="gray">
          <a:xfrm>
            <a:off x="468314" y="1036800"/>
            <a:ext cx="4824000" cy="2242800"/>
          </a:xfrm>
        </p:spPr>
        <p:txBody>
          <a:bodyPr anchor="b"/>
          <a:lstStyle>
            <a:lvl1pPr marL="0" indent="0" algn="l">
              <a:lnSpc>
                <a:spcPct val="90000"/>
              </a:lnSpc>
              <a:buNone/>
              <a:defRPr sz="2800" b="1" cap="none" baseline="0">
                <a:solidFill>
                  <a:schemeClr val="bg1"/>
                </a:solidFill>
              </a:defRPr>
            </a:lvl1pPr>
            <a:lvl2pPr marL="0" algn="ctr">
              <a:lnSpc>
                <a:spcPct val="100000"/>
              </a:lnSpc>
              <a:spcBef>
                <a:spcPts val="6900"/>
              </a:spcBef>
              <a:defRPr sz="2000" b="1">
                <a:solidFill>
                  <a:schemeClr val="bg1"/>
                </a:solidFill>
              </a:defRPr>
            </a:lvl2pPr>
          </a:lstStyle>
          <a:p>
            <a:pPr lvl="0"/>
            <a:r>
              <a:rPr lang="en-US" noProof="0"/>
              <a:t>Click to edit Master text styles</a:t>
            </a:r>
          </a:p>
        </p:txBody>
      </p:sp>
      <p:sp>
        <p:nvSpPr>
          <p:cNvPr id="15" name="Espace réservé du texte 14"/>
          <p:cNvSpPr>
            <a:spLocks noGrp="1"/>
          </p:cNvSpPr>
          <p:nvPr>
            <p:ph type="body" sz="quarter" idx="19"/>
          </p:nvPr>
        </p:nvSpPr>
        <p:spPr bwMode="gray">
          <a:xfrm>
            <a:off x="3635376" y="6021388"/>
            <a:ext cx="5113338" cy="324000"/>
          </a:xfrm>
        </p:spPr>
        <p:txBody>
          <a:bodyPr anchor="b"/>
          <a:lstStyle>
            <a:lvl1pPr algn="r">
              <a:lnSpc>
                <a:spcPct val="100000"/>
              </a:lnSpc>
              <a:defRPr sz="1000" b="1">
                <a:solidFill>
                  <a:schemeClr val="accent3"/>
                </a:solidFill>
              </a:defRPr>
            </a:lvl1pPr>
          </a:lstStyle>
          <a:p>
            <a:pPr lvl="0"/>
            <a:r>
              <a:rPr lang="en-US" noProof="0"/>
              <a:t>Click to edit Master text styles</a:t>
            </a:r>
          </a:p>
        </p:txBody>
      </p:sp>
      <p:sp>
        <p:nvSpPr>
          <p:cNvPr id="13" name="Espace réservé pour une image  17"/>
          <p:cNvSpPr>
            <a:spLocks noGrp="1"/>
          </p:cNvSpPr>
          <p:nvPr>
            <p:ph type="pic" sz="quarter" idx="18"/>
          </p:nvPr>
        </p:nvSpPr>
        <p:spPr bwMode="gray">
          <a:xfrm>
            <a:off x="4192588" y="0"/>
            <a:ext cx="4951412" cy="5162400"/>
          </a:xfrm>
          <a:custGeom>
            <a:avLst/>
            <a:gdLst>
              <a:gd name="connsiteX0" fmla="*/ 0 w 3851275"/>
              <a:gd name="connsiteY0" fmla="*/ 0 h 5157788"/>
              <a:gd name="connsiteX1" fmla="*/ 3851275 w 3851275"/>
              <a:gd name="connsiteY1" fmla="*/ 0 h 5157788"/>
              <a:gd name="connsiteX2" fmla="*/ 3851275 w 3851275"/>
              <a:gd name="connsiteY2" fmla="*/ 5157788 h 5157788"/>
              <a:gd name="connsiteX3" fmla="*/ 0 w 3851275"/>
              <a:gd name="connsiteY3" fmla="*/ 5157788 h 5157788"/>
              <a:gd name="connsiteX4" fmla="*/ 0 w 3851275"/>
              <a:gd name="connsiteY4"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0 w 3851275"/>
              <a:gd name="connsiteY3" fmla="*/ 5157788 h 5157788"/>
              <a:gd name="connsiteX4" fmla="*/ 1692275 w 3851275"/>
              <a:gd name="connsiteY4" fmla="*/ 0 h 5157788"/>
              <a:gd name="connsiteX0" fmla="*/ 0 w 2159000"/>
              <a:gd name="connsiteY0" fmla="*/ 0 h 5157788"/>
              <a:gd name="connsiteX1" fmla="*/ 2159000 w 2159000"/>
              <a:gd name="connsiteY1" fmla="*/ 0 h 5157788"/>
              <a:gd name="connsiteX2" fmla="*/ 2159000 w 2159000"/>
              <a:gd name="connsiteY2" fmla="*/ 5157788 h 5157788"/>
              <a:gd name="connsiteX3" fmla="*/ 0 w 2159000"/>
              <a:gd name="connsiteY3" fmla="*/ 5157788 h 5157788"/>
              <a:gd name="connsiteX4" fmla="*/ 0 w 2159000"/>
              <a:gd name="connsiteY4" fmla="*/ 0 h 5157788"/>
              <a:gd name="connsiteX0" fmla="*/ 2625271 w 4784271"/>
              <a:gd name="connsiteY0" fmla="*/ 0 h 5157788"/>
              <a:gd name="connsiteX1" fmla="*/ 4784271 w 4784271"/>
              <a:gd name="connsiteY1" fmla="*/ 0 h 5157788"/>
              <a:gd name="connsiteX2" fmla="*/ 4784271 w 4784271"/>
              <a:gd name="connsiteY2" fmla="*/ 5157788 h 5157788"/>
              <a:gd name="connsiteX3" fmla="*/ 2625271 w 4784271"/>
              <a:gd name="connsiteY3" fmla="*/ 5157788 h 5157788"/>
              <a:gd name="connsiteX4" fmla="*/ 2625271 w 4784271"/>
              <a:gd name="connsiteY4" fmla="*/ 0 h 5157788"/>
              <a:gd name="connsiteX0" fmla="*/ 2625271 w 4784271"/>
              <a:gd name="connsiteY0" fmla="*/ 0 h 5157788"/>
              <a:gd name="connsiteX1" fmla="*/ 4784271 w 4784271"/>
              <a:gd name="connsiteY1" fmla="*/ 0 h 5157788"/>
              <a:gd name="connsiteX2" fmla="*/ 4784271 w 4784271"/>
              <a:gd name="connsiteY2" fmla="*/ 5157788 h 5157788"/>
              <a:gd name="connsiteX3" fmla="*/ 2625271 w 4784271"/>
              <a:gd name="connsiteY3" fmla="*/ 5157788 h 5157788"/>
              <a:gd name="connsiteX4" fmla="*/ 2625271 w 4784271"/>
              <a:gd name="connsiteY4" fmla="*/ 0 h 5157788"/>
              <a:gd name="connsiteX0" fmla="*/ 3568576 w 5727576"/>
              <a:gd name="connsiteY0" fmla="*/ 0 h 5157788"/>
              <a:gd name="connsiteX1" fmla="*/ 5727576 w 5727576"/>
              <a:gd name="connsiteY1" fmla="*/ 0 h 5157788"/>
              <a:gd name="connsiteX2" fmla="*/ 5727576 w 5727576"/>
              <a:gd name="connsiteY2" fmla="*/ 5157788 h 5157788"/>
              <a:gd name="connsiteX3" fmla="*/ 3568576 w 5727576"/>
              <a:gd name="connsiteY3" fmla="*/ 5157788 h 5157788"/>
              <a:gd name="connsiteX4" fmla="*/ 3568576 w 5727576"/>
              <a:gd name="connsiteY4" fmla="*/ 0 h 5157788"/>
              <a:gd name="connsiteX0" fmla="*/ 3306355 w 5465355"/>
              <a:gd name="connsiteY0" fmla="*/ 0 h 5157788"/>
              <a:gd name="connsiteX1" fmla="*/ 5465355 w 5465355"/>
              <a:gd name="connsiteY1" fmla="*/ 0 h 5157788"/>
              <a:gd name="connsiteX2" fmla="*/ 5465355 w 5465355"/>
              <a:gd name="connsiteY2" fmla="*/ 5157788 h 5157788"/>
              <a:gd name="connsiteX3" fmla="*/ 3306355 w 5465355"/>
              <a:gd name="connsiteY3" fmla="*/ 5157788 h 5157788"/>
              <a:gd name="connsiteX4" fmla="*/ 3306355 w 5465355"/>
              <a:gd name="connsiteY4" fmla="*/ 0 h 5157788"/>
              <a:gd name="connsiteX0" fmla="*/ 1416957 w 3575957"/>
              <a:gd name="connsiteY0" fmla="*/ 0 h 5157788"/>
              <a:gd name="connsiteX1" fmla="*/ 3575957 w 3575957"/>
              <a:gd name="connsiteY1" fmla="*/ 0 h 5157788"/>
              <a:gd name="connsiteX2" fmla="*/ 3575957 w 3575957"/>
              <a:gd name="connsiteY2" fmla="*/ 5157788 h 5157788"/>
              <a:gd name="connsiteX3" fmla="*/ 1416957 w 3575957"/>
              <a:gd name="connsiteY3" fmla="*/ 5157788 h 5157788"/>
              <a:gd name="connsiteX4" fmla="*/ 0 w 3575957"/>
              <a:gd name="connsiteY4" fmla="*/ 3339193 h 5157788"/>
              <a:gd name="connsiteX5" fmla="*/ 1416957 w 3575957"/>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6017419"/>
              <a:gd name="connsiteX1" fmla="*/ 3851275 w 3851275"/>
              <a:gd name="connsiteY1" fmla="*/ 0 h 6017419"/>
              <a:gd name="connsiteX2" fmla="*/ 3851275 w 3851275"/>
              <a:gd name="connsiteY2" fmla="*/ 5157788 h 6017419"/>
              <a:gd name="connsiteX3" fmla="*/ 1692275 w 3851275"/>
              <a:gd name="connsiteY3" fmla="*/ 5157788 h 6017419"/>
              <a:gd name="connsiteX4" fmla="*/ 0 w 3851275"/>
              <a:gd name="connsiteY4" fmla="*/ 3284984 h 6017419"/>
              <a:gd name="connsiteX5" fmla="*/ 1692275 w 3851275"/>
              <a:gd name="connsiteY5" fmla="*/ 0 h 6017419"/>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429000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429000 h 5157788"/>
              <a:gd name="connsiteX5" fmla="*/ 1710871 w 3869871"/>
              <a:gd name="connsiteY5" fmla="*/ 0 h 5157788"/>
              <a:gd name="connsiteX0" fmla="*/ 1704975 w 3863975"/>
              <a:gd name="connsiteY0" fmla="*/ 0 h 5157788"/>
              <a:gd name="connsiteX1" fmla="*/ 3863975 w 3863975"/>
              <a:gd name="connsiteY1" fmla="*/ 0 h 5157788"/>
              <a:gd name="connsiteX2" fmla="*/ 3863975 w 3863975"/>
              <a:gd name="connsiteY2" fmla="*/ 5157788 h 5157788"/>
              <a:gd name="connsiteX3" fmla="*/ 1704975 w 3863975"/>
              <a:gd name="connsiteY3" fmla="*/ 5157788 h 5157788"/>
              <a:gd name="connsiteX4" fmla="*/ 12700 w 3863975"/>
              <a:gd name="connsiteY4" fmla="*/ 3429000 h 5157788"/>
              <a:gd name="connsiteX5" fmla="*/ 1704975 w 3863975"/>
              <a:gd name="connsiteY5" fmla="*/ 0 h 5157788"/>
              <a:gd name="connsiteX0" fmla="*/ 1707243 w 3866243"/>
              <a:gd name="connsiteY0" fmla="*/ 0 h 5157788"/>
              <a:gd name="connsiteX1" fmla="*/ 3866243 w 3866243"/>
              <a:gd name="connsiteY1" fmla="*/ 0 h 5157788"/>
              <a:gd name="connsiteX2" fmla="*/ 3866243 w 3866243"/>
              <a:gd name="connsiteY2" fmla="*/ 5157788 h 5157788"/>
              <a:gd name="connsiteX3" fmla="*/ 1707243 w 3866243"/>
              <a:gd name="connsiteY3" fmla="*/ 5157788 h 5157788"/>
              <a:gd name="connsiteX4" fmla="*/ 14968 w 3866243"/>
              <a:gd name="connsiteY4" fmla="*/ 3429000 h 5157788"/>
              <a:gd name="connsiteX5" fmla="*/ 1707243 w 3866243"/>
              <a:gd name="connsiteY5" fmla="*/ 0 h 5157788"/>
              <a:gd name="connsiteX0" fmla="*/ 1130447 w 3866243"/>
              <a:gd name="connsiteY0" fmla="*/ 0 h 5157788"/>
              <a:gd name="connsiteX1" fmla="*/ 3866243 w 3866243"/>
              <a:gd name="connsiteY1" fmla="*/ 0 h 5157788"/>
              <a:gd name="connsiteX2" fmla="*/ 3866243 w 3866243"/>
              <a:gd name="connsiteY2" fmla="*/ 5157788 h 5157788"/>
              <a:gd name="connsiteX3" fmla="*/ 1707243 w 3866243"/>
              <a:gd name="connsiteY3" fmla="*/ 5157788 h 5157788"/>
              <a:gd name="connsiteX4" fmla="*/ 14968 w 3866243"/>
              <a:gd name="connsiteY4" fmla="*/ 3429000 h 5157788"/>
              <a:gd name="connsiteX5" fmla="*/ 1130447 w 3866243"/>
              <a:gd name="connsiteY5" fmla="*/ 0 h 5157788"/>
              <a:gd name="connsiteX0" fmla="*/ 2746143 w 5481939"/>
              <a:gd name="connsiteY0" fmla="*/ 0 h 5157788"/>
              <a:gd name="connsiteX1" fmla="*/ 5481939 w 5481939"/>
              <a:gd name="connsiteY1" fmla="*/ 0 h 5157788"/>
              <a:gd name="connsiteX2" fmla="*/ 5481939 w 5481939"/>
              <a:gd name="connsiteY2" fmla="*/ 5157788 h 5157788"/>
              <a:gd name="connsiteX3" fmla="*/ 585903 w 5481939"/>
              <a:gd name="connsiteY3" fmla="*/ 5153180 h 5157788"/>
              <a:gd name="connsiteX4" fmla="*/ 1630664 w 5481939"/>
              <a:gd name="connsiteY4" fmla="*/ 3429000 h 5157788"/>
              <a:gd name="connsiteX5" fmla="*/ 2746143 w 5481939"/>
              <a:gd name="connsiteY5" fmla="*/ 0 h 5157788"/>
              <a:gd name="connsiteX0" fmla="*/ 2746143 w 5481939"/>
              <a:gd name="connsiteY0" fmla="*/ 0 h 5157788"/>
              <a:gd name="connsiteX1" fmla="*/ 5481939 w 5481939"/>
              <a:gd name="connsiteY1" fmla="*/ 0 h 5157788"/>
              <a:gd name="connsiteX2" fmla="*/ 5481939 w 5481939"/>
              <a:gd name="connsiteY2" fmla="*/ 5157788 h 5157788"/>
              <a:gd name="connsiteX3" fmla="*/ 585903 w 5481939"/>
              <a:gd name="connsiteY3" fmla="*/ 5153180 h 5157788"/>
              <a:gd name="connsiteX4" fmla="*/ 1630664 w 5481939"/>
              <a:gd name="connsiteY4" fmla="*/ 3429000 h 5157788"/>
              <a:gd name="connsiteX5" fmla="*/ 2746143 w 548193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3574235 w 6310031"/>
              <a:gd name="connsiteY0" fmla="*/ 0 h 5157788"/>
              <a:gd name="connsiteX1" fmla="*/ 6310031 w 6310031"/>
              <a:gd name="connsiteY1" fmla="*/ 0 h 5157788"/>
              <a:gd name="connsiteX2" fmla="*/ 6310031 w 6310031"/>
              <a:gd name="connsiteY2" fmla="*/ 5157788 h 5157788"/>
              <a:gd name="connsiteX3" fmla="*/ 585903 w 6310031"/>
              <a:gd name="connsiteY3" fmla="*/ 5153180 h 5157788"/>
              <a:gd name="connsiteX4" fmla="*/ 1738031 w 6310031"/>
              <a:gd name="connsiteY4" fmla="*/ 3389965 h 5157788"/>
              <a:gd name="connsiteX5" fmla="*/ 3574235 w 6310031"/>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296143 w 5724128"/>
              <a:gd name="connsiteY4" fmla="*/ 3461908 h 5157788"/>
              <a:gd name="connsiteX5" fmla="*/ 2988332 w 5724128"/>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1188132 w 5760132"/>
              <a:gd name="connsiteY4" fmla="*/ 3425937 h 5157788"/>
              <a:gd name="connsiteX5" fmla="*/ 3024336 w 5760132"/>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2736304 w 5760132"/>
              <a:gd name="connsiteY4" fmla="*/ 3461908 h 5157788"/>
              <a:gd name="connsiteX5" fmla="*/ 3024336 w 5760132"/>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2736304 w 5760132"/>
              <a:gd name="connsiteY4" fmla="*/ 3461908 h 5157788"/>
              <a:gd name="connsiteX5" fmla="*/ 3024336 w 5760132"/>
              <a:gd name="connsiteY5" fmla="*/ 0 h 5157788"/>
              <a:gd name="connsiteX0" fmla="*/ 2160240 w 4896036"/>
              <a:gd name="connsiteY0" fmla="*/ 0 h 5157788"/>
              <a:gd name="connsiteX1" fmla="*/ 4896036 w 4896036"/>
              <a:gd name="connsiteY1" fmla="*/ 0 h 5157788"/>
              <a:gd name="connsiteX2" fmla="*/ 4896036 w 4896036"/>
              <a:gd name="connsiteY2" fmla="*/ 5157788 h 5157788"/>
              <a:gd name="connsiteX3" fmla="*/ 0 w 4896036"/>
              <a:gd name="connsiteY3" fmla="*/ 5153180 h 5157788"/>
              <a:gd name="connsiteX4" fmla="*/ 1872208 w 4896036"/>
              <a:gd name="connsiteY4" fmla="*/ 3461908 h 5157788"/>
              <a:gd name="connsiteX5" fmla="*/ 2160240 w 4896036"/>
              <a:gd name="connsiteY5" fmla="*/ 0 h 5157788"/>
              <a:gd name="connsiteX0" fmla="*/ 2232248 w 4968044"/>
              <a:gd name="connsiteY0" fmla="*/ 0 h 5157788"/>
              <a:gd name="connsiteX1" fmla="*/ 4968044 w 4968044"/>
              <a:gd name="connsiteY1" fmla="*/ 0 h 5157788"/>
              <a:gd name="connsiteX2" fmla="*/ 4968044 w 4968044"/>
              <a:gd name="connsiteY2" fmla="*/ 5157788 h 5157788"/>
              <a:gd name="connsiteX3" fmla="*/ 0 w 4968044"/>
              <a:gd name="connsiteY3" fmla="*/ 5153180 h 5157788"/>
              <a:gd name="connsiteX4" fmla="*/ 1944216 w 4968044"/>
              <a:gd name="connsiteY4" fmla="*/ 3461908 h 5157788"/>
              <a:gd name="connsiteX5" fmla="*/ 2232248 w 4968044"/>
              <a:gd name="connsiteY5" fmla="*/ 0 h 5157788"/>
              <a:gd name="connsiteX0" fmla="*/ 2207679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207679 w 4943475"/>
              <a:gd name="connsiteY5" fmla="*/ 0 h 5157788"/>
              <a:gd name="connsiteX0" fmla="*/ 2963763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963763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092200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71575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343583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675731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675731 w 4943475"/>
              <a:gd name="connsiteY5" fmla="*/ 0 h 5157788"/>
              <a:gd name="connsiteX0" fmla="*/ 2675731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675731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9672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19672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51412" h="5157788">
                <a:moveTo>
                  <a:pt x="2706687" y="0"/>
                </a:moveTo>
                <a:lnTo>
                  <a:pt x="4951412" y="0"/>
                </a:lnTo>
                <a:lnTo>
                  <a:pt x="4951412" y="5157788"/>
                </a:lnTo>
                <a:lnTo>
                  <a:pt x="0" y="5153180"/>
                </a:lnTo>
                <a:cubicBezTo>
                  <a:pt x="84411" y="4542509"/>
                  <a:pt x="183041" y="4024723"/>
                  <a:pt x="1243508" y="2562613"/>
                </a:cubicBezTo>
                <a:cubicBezTo>
                  <a:pt x="1867447" y="1704780"/>
                  <a:pt x="2665955" y="709265"/>
                  <a:pt x="2706687" y="0"/>
                </a:cubicBezTo>
                <a:close/>
              </a:path>
            </a:pathLst>
          </a:custGeom>
          <a:solidFill>
            <a:schemeClr val="bg2"/>
          </a:solidFill>
          <a:ln w="3175">
            <a:noFill/>
          </a:ln>
        </p:spPr>
        <p:txBody>
          <a:bodyPr tIns="720000" rtlCol="0" anchor="ctr">
            <a:noAutofit/>
          </a:bodyPr>
          <a:lstStyle>
            <a:lvl1pPr algn="ctr">
              <a:defRPr sz="1500">
                <a:solidFill>
                  <a:schemeClr val="bg1"/>
                </a:solidFill>
              </a:defRPr>
            </a:lvl1pPr>
          </a:lstStyle>
          <a:p>
            <a:pPr lvl="0"/>
            <a:r>
              <a:rPr lang="en-US" noProof="0"/>
              <a:t>Click icon to add picture</a:t>
            </a:r>
          </a:p>
        </p:txBody>
      </p:sp>
      <p:sp>
        <p:nvSpPr>
          <p:cNvPr id="11" name="Espace réservé de la date 9"/>
          <p:cNvSpPr>
            <a:spLocks noGrp="1"/>
          </p:cNvSpPr>
          <p:nvPr>
            <p:ph type="dt" sz="half" idx="20"/>
          </p:nvPr>
        </p:nvSpPr>
        <p:spPr/>
        <p:txBody>
          <a:bodyPr/>
          <a:lstStyle>
            <a:lvl1pPr>
              <a:defRPr/>
            </a:lvl1pPr>
          </a:lstStyle>
          <a:p>
            <a:pPr>
              <a:defRPr/>
            </a:pPr>
            <a:r>
              <a:rPr lang="en-US">
                <a:solidFill>
                  <a:prstClr val="white">
                    <a:alpha val="0"/>
                  </a:prstClr>
                </a:solidFill>
              </a:rPr>
              <a:t>Date</a:t>
            </a:r>
          </a:p>
        </p:txBody>
      </p:sp>
      <p:sp>
        <p:nvSpPr>
          <p:cNvPr id="12" name="Espace réservé du numéro de diapositive 10"/>
          <p:cNvSpPr>
            <a:spLocks noGrp="1"/>
          </p:cNvSpPr>
          <p:nvPr>
            <p:ph type="sldNum" sz="quarter" idx="21"/>
          </p:nvPr>
        </p:nvSpPr>
        <p:spPr/>
        <p:txBody>
          <a:bodyPr/>
          <a:lstStyle>
            <a:lvl1pPr>
              <a:defRPr sz="100">
                <a:solidFill>
                  <a:schemeClr val="bg1">
                    <a:alpha val="0"/>
                  </a:schemeClr>
                </a:solidFill>
              </a:defRPr>
            </a:lvl1pPr>
          </a:lstStyle>
          <a:p>
            <a:pPr>
              <a:defRPr/>
            </a:pPr>
            <a:r>
              <a:rPr lang="en-US">
                <a:solidFill>
                  <a:prstClr val="white">
                    <a:alpha val="0"/>
                  </a:prstClr>
                </a:solidFill>
              </a:rPr>
              <a:t>Page: </a:t>
            </a:r>
            <a:fld id="{168EB3F5-198F-4211-80D0-E690EB6CEA77}" type="slidenum">
              <a:rPr lang="en-US">
                <a:solidFill>
                  <a:prstClr val="white">
                    <a:alpha val="0"/>
                  </a:prstClr>
                </a:solidFill>
              </a:rPr>
              <a:pPr>
                <a:defRPr/>
              </a:pPr>
              <a:t>‹#›</a:t>
            </a:fld>
            <a:endParaRPr lang="en-US">
              <a:solidFill>
                <a:prstClr val="white">
                  <a:alpha val="0"/>
                </a:prstClr>
              </a:solidFill>
            </a:endParaRPr>
          </a:p>
        </p:txBody>
      </p:sp>
      <p:sp>
        <p:nvSpPr>
          <p:cNvPr id="14" name="Espace réservé du pied de page 11"/>
          <p:cNvSpPr>
            <a:spLocks noGrp="1"/>
          </p:cNvSpPr>
          <p:nvPr>
            <p:ph type="ftr" sz="quarter" idx="22"/>
          </p:nvPr>
        </p:nvSpPr>
        <p:spPr>
          <a:xfrm>
            <a:off x="468313" y="523875"/>
            <a:ext cx="4824412" cy="360363"/>
          </a:xfrm>
        </p:spPr>
        <p:txBody>
          <a:bodyPr/>
          <a:lstStyle>
            <a:lvl1pPr algn="l">
              <a:defRPr sz="1800" b="0">
                <a:solidFill>
                  <a:schemeClr val="bg1"/>
                </a:solidFill>
              </a:defRPr>
            </a:lvl1pPr>
          </a:lstStyle>
          <a:p>
            <a:pPr>
              <a:defRPr/>
            </a:pPr>
            <a:r>
              <a:rPr lang="en-US">
                <a:solidFill>
                  <a:prstClr val="white"/>
                </a:solidFill>
              </a:rPr>
              <a:t>#</a:t>
            </a:r>
            <a:r>
              <a:rPr lang="en-US" err="1">
                <a:solidFill>
                  <a:prstClr val="white"/>
                </a:solidFill>
              </a:rPr>
              <a:t>vaccineswork</a:t>
            </a:r>
            <a:endParaRPr lang="en-US">
              <a:solidFill>
                <a:prstClr val="white"/>
              </a:solidFill>
            </a:endParaRPr>
          </a:p>
        </p:txBody>
      </p:sp>
    </p:spTree>
    <p:extLst>
      <p:ext uri="{BB962C8B-B14F-4D97-AF65-F5344CB8AC3E}">
        <p14:creationId xmlns:p14="http://schemas.microsoft.com/office/powerpoint/2010/main" val="2330092006"/>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userDrawn="1">
  <p:cSld name="Text and Visual">
    <p:spTree>
      <p:nvGrpSpPr>
        <p:cNvPr id="1" name=""/>
        <p:cNvGrpSpPr/>
        <p:nvPr/>
      </p:nvGrpSpPr>
      <p:grpSpPr>
        <a:xfrm>
          <a:off x="0" y="0"/>
          <a:ext cx="0" cy="0"/>
          <a:chOff x="0" y="0"/>
          <a:chExt cx="0" cy="0"/>
        </a:xfrm>
      </p:grpSpPr>
      <p:sp>
        <p:nvSpPr>
          <p:cNvPr id="2" name="Title 1"/>
          <p:cNvSpPr>
            <a:spLocks noGrp="1"/>
          </p:cNvSpPr>
          <p:nvPr>
            <p:ph type="title"/>
          </p:nvPr>
        </p:nvSpPr>
        <p:spPr>
          <a:xfrm>
            <a:off x="973138" y="225211"/>
            <a:ext cx="7207249" cy="697999"/>
          </a:xfrm>
        </p:spPr>
        <p:txBody>
          <a:bodyPr/>
          <a:lstStyle/>
          <a:p>
            <a:r>
              <a:rPr lang="en-US"/>
              <a:t>Click to edit Master title style</a:t>
            </a:r>
          </a:p>
        </p:txBody>
      </p:sp>
      <p:sp>
        <p:nvSpPr>
          <p:cNvPr id="4" name="Content Placeholder 3"/>
          <p:cNvSpPr>
            <a:spLocks noGrp="1"/>
          </p:cNvSpPr>
          <p:nvPr>
            <p:ph sz="half" idx="2"/>
          </p:nvPr>
        </p:nvSpPr>
        <p:spPr>
          <a:xfrm>
            <a:off x="3425825" y="2302159"/>
            <a:ext cx="4754564" cy="2541673"/>
          </a:xfrm>
        </p:spPr>
        <p:txBody>
          <a:bodyPr/>
          <a:lstStyle>
            <a:lvl1pPr>
              <a:defRPr sz="1600"/>
            </a:lvl1pPr>
            <a:lvl2pPr marL="457200" indent="0">
              <a:buNone/>
              <a:defRPr sz="1600"/>
            </a:lvl2pPr>
            <a:lvl3pPr marL="914400" indent="0">
              <a:buNone/>
              <a:defRPr sz="1600"/>
            </a:lvl3pPr>
            <a:lvl4pPr marL="1371600" indent="0">
              <a:buNone/>
              <a:defRPr sz="1600"/>
            </a:lvl4pPr>
            <a:lvl5pPr marL="1828800" indent="0">
              <a:buNone/>
              <a:defRPr sz="16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p:cNvSpPr>
            <a:spLocks noGrp="1"/>
          </p:cNvSpPr>
          <p:nvPr>
            <p:ph type="pic" sz="quarter" idx="13"/>
          </p:nvPr>
        </p:nvSpPr>
        <p:spPr>
          <a:xfrm>
            <a:off x="973138" y="1247776"/>
            <a:ext cx="2300287" cy="3450384"/>
          </a:xfrm>
        </p:spPr>
        <p:txBody>
          <a:bodyPr rtlCol="0">
            <a:noAutofit/>
          </a:bodyPr>
          <a:lstStyle/>
          <a:p>
            <a:pPr lvl="0"/>
            <a:endParaRPr lang="en-US" noProof="0"/>
          </a:p>
        </p:txBody>
      </p:sp>
      <p:sp>
        <p:nvSpPr>
          <p:cNvPr id="10" name="Content Placeholder 3"/>
          <p:cNvSpPr>
            <a:spLocks noGrp="1"/>
          </p:cNvSpPr>
          <p:nvPr>
            <p:ph sz="half" idx="14"/>
          </p:nvPr>
        </p:nvSpPr>
        <p:spPr>
          <a:xfrm>
            <a:off x="3425825" y="1241426"/>
            <a:ext cx="4754564" cy="879316"/>
          </a:xfrm>
        </p:spPr>
        <p:txBody>
          <a:bodyPr/>
          <a:lstStyle>
            <a:lvl1pPr marL="0" indent="0">
              <a:buNone/>
              <a:defRPr sz="1600">
                <a:solidFill>
                  <a:srgbClr val="005CB9"/>
                </a:solidFill>
              </a:defRPr>
            </a:lvl1pPr>
            <a:lvl2pPr marL="457200" indent="0">
              <a:buNone/>
              <a:defRPr sz="1400">
                <a:solidFill>
                  <a:srgbClr val="005CB9"/>
                </a:solidFill>
              </a:defRPr>
            </a:lvl2pPr>
            <a:lvl3pPr marL="914400" indent="0">
              <a:buNone/>
              <a:defRPr sz="1400">
                <a:solidFill>
                  <a:srgbClr val="005CB9"/>
                </a:solidFill>
              </a:defRPr>
            </a:lvl3pPr>
            <a:lvl4pPr marL="1371600" indent="0">
              <a:buNone/>
              <a:defRPr sz="1400">
                <a:solidFill>
                  <a:srgbClr val="005CB9"/>
                </a:solidFill>
              </a:defRPr>
            </a:lvl4pPr>
            <a:lvl5pPr marL="1828800" indent="0">
              <a:buNone/>
              <a:defRPr sz="1400">
                <a:solidFill>
                  <a:srgbClr val="005CB9"/>
                </a:solidFill>
              </a:defRPr>
            </a:lvl5pPr>
            <a:lvl6pPr>
              <a:defRPr sz="1800"/>
            </a:lvl6pPr>
            <a:lvl7pPr>
              <a:defRPr sz="1800"/>
            </a:lvl7pPr>
            <a:lvl8pPr>
              <a:defRPr sz="1800"/>
            </a:lvl8pPr>
            <a:lvl9pPr>
              <a:defRPr sz="1800"/>
            </a:lvl9pPr>
          </a:lstStyle>
          <a:p>
            <a:pPr lvl="0"/>
            <a:r>
              <a:rPr lang="en-US"/>
              <a:t>Click to edit Master text styles</a:t>
            </a:r>
          </a:p>
        </p:txBody>
      </p:sp>
      <p:sp>
        <p:nvSpPr>
          <p:cNvPr id="6" name="Footer Placeholder 5"/>
          <p:cNvSpPr>
            <a:spLocks noGrp="1"/>
          </p:cNvSpPr>
          <p:nvPr>
            <p:ph type="ftr" sz="quarter" idx="15"/>
          </p:nvPr>
        </p:nvSpPr>
        <p:spPr/>
        <p:txBody>
          <a:bodyPr/>
          <a:lstStyle>
            <a:lvl1pPr>
              <a:defRPr/>
            </a:lvl1pPr>
          </a:lstStyle>
          <a:p>
            <a:pPr>
              <a:defRPr/>
            </a:pPr>
            <a:r>
              <a:rPr lang="en-US">
                <a:solidFill>
                  <a:srgbClr val="005CB9"/>
                </a:solidFill>
              </a:rPr>
              <a:t>Basic facts about </a:t>
            </a:r>
            <a:r>
              <a:rPr lang="en-US" err="1">
                <a:solidFill>
                  <a:srgbClr val="005CB9"/>
                </a:solidFill>
              </a:rPr>
              <a:t>Gavi</a:t>
            </a:r>
            <a:r>
              <a:rPr lang="en-US">
                <a:solidFill>
                  <a:srgbClr val="005CB9"/>
                </a:solidFill>
              </a:rPr>
              <a:t> the Vaccine Alliance</a:t>
            </a:r>
          </a:p>
        </p:txBody>
      </p:sp>
      <p:sp>
        <p:nvSpPr>
          <p:cNvPr id="7" name="Slide Number Placeholder 6"/>
          <p:cNvSpPr>
            <a:spLocks noGrp="1"/>
          </p:cNvSpPr>
          <p:nvPr>
            <p:ph type="sldNum" sz="quarter" idx="16"/>
          </p:nvPr>
        </p:nvSpPr>
        <p:spPr/>
        <p:txBody>
          <a:bodyPr/>
          <a:lstStyle>
            <a:lvl1pPr algn="ctr">
              <a:defRPr/>
            </a:lvl1pPr>
          </a:lstStyle>
          <a:p>
            <a:pPr>
              <a:defRPr/>
            </a:pPr>
            <a:fld id="{FFE8DD00-E6C1-42A5-A44D-4115350A5429}" type="slidenum">
              <a:rPr lang="en-US">
                <a:solidFill>
                  <a:srgbClr val="343434"/>
                </a:solidFill>
              </a:rPr>
              <a:pPr>
                <a:defRPr/>
              </a:pPr>
              <a:t>‹#›</a:t>
            </a:fld>
            <a:endParaRPr lang="en-US">
              <a:solidFill>
                <a:srgbClr val="343434"/>
              </a:solidFill>
            </a:endParaRPr>
          </a:p>
        </p:txBody>
      </p:sp>
    </p:spTree>
    <p:extLst>
      <p:ext uri="{BB962C8B-B14F-4D97-AF65-F5344CB8AC3E}">
        <p14:creationId xmlns:p14="http://schemas.microsoft.com/office/powerpoint/2010/main" val="112458206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4_Blocks_Layout">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p:txBody>
          <a:bodyPr/>
          <a:lstStyle/>
          <a:p>
            <a:r>
              <a:rPr lang="en-US" noProof="0"/>
              <a:t>TITLE</a:t>
            </a:r>
          </a:p>
        </p:txBody>
      </p:sp>
      <p:sp>
        <p:nvSpPr>
          <p:cNvPr id="8" name="Espace réservé de la date 7"/>
          <p:cNvSpPr>
            <a:spLocks noGrp="1"/>
          </p:cNvSpPr>
          <p:nvPr>
            <p:ph type="dt" sz="half" idx="14"/>
          </p:nvPr>
        </p:nvSpPr>
        <p:spPr bwMode="gray"/>
        <p:txBody>
          <a:bodyPr/>
          <a:lstStyle/>
          <a:p>
            <a:r>
              <a:rPr lang="en-US" noProof="0"/>
              <a:t>Date</a:t>
            </a:r>
          </a:p>
        </p:txBody>
      </p:sp>
      <p:sp>
        <p:nvSpPr>
          <p:cNvPr id="9" name="Espace réservé du numéro de diapositive 8"/>
          <p:cNvSpPr>
            <a:spLocks noGrp="1"/>
          </p:cNvSpPr>
          <p:nvPr>
            <p:ph type="sldNum" sz="quarter" idx="15"/>
          </p:nvPr>
        </p:nvSpPr>
        <p:spPr bwMode="gray"/>
        <p:txBody>
          <a:bodyPr/>
          <a:lstStyle/>
          <a:p>
            <a:pPr algn="l"/>
            <a:fld id="{733122C9-A0B9-462F-8757-0847AD287B63}" type="slidenum">
              <a:rPr lang="en-US" noProof="0" smtClean="0"/>
              <a:pPr algn="l"/>
              <a:t>‹#›</a:t>
            </a:fld>
            <a:endParaRPr lang="en-US" noProof="0"/>
          </a:p>
        </p:txBody>
      </p:sp>
      <p:sp>
        <p:nvSpPr>
          <p:cNvPr id="11" name="Espace réservé du pied de page 10"/>
          <p:cNvSpPr>
            <a:spLocks noGrp="1"/>
          </p:cNvSpPr>
          <p:nvPr>
            <p:ph type="ftr" sz="quarter" idx="16"/>
          </p:nvPr>
        </p:nvSpPr>
        <p:spPr bwMode="gray"/>
        <p:txBody>
          <a:bodyPr/>
          <a:lstStyle/>
          <a:p>
            <a:r>
              <a:rPr lang="en-US" noProof="0"/>
              <a:t>#add your hashtag</a:t>
            </a:r>
          </a:p>
        </p:txBody>
      </p:sp>
      <p:sp>
        <p:nvSpPr>
          <p:cNvPr id="21" name="Espace réservé du texte 9"/>
          <p:cNvSpPr>
            <a:spLocks noGrp="1"/>
          </p:cNvSpPr>
          <p:nvPr>
            <p:ph type="body" sz="quarter" idx="19" hasCustomPrompt="1"/>
          </p:nvPr>
        </p:nvSpPr>
        <p:spPr bwMode="gray">
          <a:xfrm>
            <a:off x="935038" y="1341438"/>
            <a:ext cx="1440000" cy="792000"/>
          </a:xfrm>
          <a:solidFill>
            <a:schemeClr val="accent1"/>
          </a:solidFill>
          <a:ln w="9525">
            <a:solidFill>
              <a:schemeClr val="accent1"/>
            </a:solidFill>
          </a:ln>
        </p:spPr>
        <p:txBody>
          <a:bodyPr anchor="ctr" anchorCtr="0"/>
          <a:lstStyle>
            <a:lvl1pPr algn="ctr">
              <a:lnSpc>
                <a:spcPct val="100000"/>
              </a:lnSpc>
              <a:defRPr>
                <a:solidFill>
                  <a:schemeClr val="bg1"/>
                </a:solidFill>
              </a:defRPr>
            </a:lvl1pPr>
          </a:lstStyle>
          <a:p>
            <a:pPr lvl="0"/>
            <a:r>
              <a:rPr lang="en-US" noProof="0"/>
              <a:t>Text level 1</a:t>
            </a:r>
          </a:p>
        </p:txBody>
      </p:sp>
      <p:sp>
        <p:nvSpPr>
          <p:cNvPr id="22" name="Espace réservé du texte 9"/>
          <p:cNvSpPr>
            <a:spLocks noGrp="1"/>
          </p:cNvSpPr>
          <p:nvPr>
            <p:ph type="body" sz="quarter" idx="20" hasCustomPrompt="1"/>
          </p:nvPr>
        </p:nvSpPr>
        <p:spPr bwMode="gray">
          <a:xfrm>
            <a:off x="2376000" y="1341438"/>
            <a:ext cx="5904400" cy="792000"/>
          </a:xfrm>
          <a:ln w="9525">
            <a:solidFill>
              <a:schemeClr val="accent1"/>
            </a:solidFill>
          </a:ln>
        </p:spPr>
        <p:txBody>
          <a:bodyPr tIns="72000"/>
          <a:lstStyle>
            <a:lvl1pPr marL="324000" indent="-180000">
              <a:lnSpc>
                <a:spcPct val="100000"/>
              </a:lnSpc>
              <a:spcBef>
                <a:spcPts val="300"/>
              </a:spcBef>
              <a:buClr>
                <a:schemeClr val="accent3"/>
              </a:buClr>
              <a:buFont typeface="Arial" pitchFamily="34" charset="0"/>
              <a:buChar char="•"/>
              <a:defRPr sz="1800">
                <a:solidFill>
                  <a:schemeClr val="tx1"/>
                </a:solidFill>
              </a:defRPr>
            </a:lvl1pPr>
            <a:lvl2pPr marL="504000">
              <a:buClr>
                <a:schemeClr val="tx1"/>
              </a:buClr>
              <a:defRPr sz="1600" b="0"/>
            </a:lvl2pPr>
            <a:lvl3pPr indent="0">
              <a:buNone/>
              <a:defRPr/>
            </a:lvl3pPr>
            <a:lvl4pPr marL="684000" indent="-180000">
              <a:buClr>
                <a:schemeClr val="tx1"/>
              </a:buClr>
              <a:buFont typeface="Arial" pitchFamily="34" charset="0"/>
              <a:buChar char="•"/>
              <a:defRPr sz="1400"/>
            </a:lvl4pPr>
          </a:lstStyle>
          <a:p>
            <a:pPr lvl="0"/>
            <a:r>
              <a:rPr lang="en-US" noProof="0"/>
              <a:t>Text level 2</a:t>
            </a:r>
          </a:p>
          <a:p>
            <a:pPr lvl="1"/>
            <a:r>
              <a:rPr lang="en-US" noProof="0"/>
              <a:t>Text level 3</a:t>
            </a:r>
          </a:p>
          <a:p>
            <a:pPr lvl="2"/>
            <a:r>
              <a:rPr lang="en-US" noProof="0"/>
              <a:t>Text level 4</a:t>
            </a:r>
          </a:p>
          <a:p>
            <a:pPr lvl="3"/>
            <a:r>
              <a:rPr lang="en-US" noProof="0"/>
              <a:t>Text level 5</a:t>
            </a:r>
          </a:p>
        </p:txBody>
      </p:sp>
      <p:sp>
        <p:nvSpPr>
          <p:cNvPr id="16" name="Espace réservé du texte 9"/>
          <p:cNvSpPr>
            <a:spLocks noGrp="1"/>
          </p:cNvSpPr>
          <p:nvPr>
            <p:ph type="body" sz="quarter" idx="21" hasCustomPrompt="1"/>
          </p:nvPr>
        </p:nvSpPr>
        <p:spPr bwMode="gray">
          <a:xfrm>
            <a:off x="935038" y="2349555"/>
            <a:ext cx="1440000" cy="792000"/>
          </a:xfrm>
          <a:solidFill>
            <a:schemeClr val="accent2"/>
          </a:solidFill>
          <a:ln w="9525">
            <a:solidFill>
              <a:schemeClr val="accent2"/>
            </a:solidFill>
          </a:ln>
        </p:spPr>
        <p:txBody>
          <a:bodyPr anchor="ctr" anchorCtr="0"/>
          <a:lstStyle>
            <a:lvl1pPr algn="ctr">
              <a:lnSpc>
                <a:spcPct val="100000"/>
              </a:lnSpc>
              <a:defRPr>
                <a:solidFill>
                  <a:schemeClr val="bg1"/>
                </a:solidFill>
              </a:defRPr>
            </a:lvl1pPr>
          </a:lstStyle>
          <a:p>
            <a:pPr lvl="0"/>
            <a:r>
              <a:rPr lang="en-US" noProof="0"/>
              <a:t>Text level 1</a:t>
            </a:r>
          </a:p>
        </p:txBody>
      </p:sp>
      <p:sp>
        <p:nvSpPr>
          <p:cNvPr id="17" name="Espace réservé du texte 9"/>
          <p:cNvSpPr>
            <a:spLocks noGrp="1"/>
          </p:cNvSpPr>
          <p:nvPr>
            <p:ph type="body" sz="quarter" idx="22" hasCustomPrompt="1"/>
          </p:nvPr>
        </p:nvSpPr>
        <p:spPr bwMode="gray">
          <a:xfrm>
            <a:off x="2376000" y="2349555"/>
            <a:ext cx="5904400" cy="792000"/>
          </a:xfrm>
          <a:ln w="9525">
            <a:solidFill>
              <a:schemeClr val="accent2"/>
            </a:solidFill>
          </a:ln>
        </p:spPr>
        <p:txBody>
          <a:bodyPr tIns="72000"/>
          <a:lstStyle>
            <a:lvl1pPr marL="324000" indent="-180000">
              <a:lnSpc>
                <a:spcPct val="100000"/>
              </a:lnSpc>
              <a:spcBef>
                <a:spcPts val="300"/>
              </a:spcBef>
              <a:buClr>
                <a:schemeClr val="accent3"/>
              </a:buClr>
              <a:buFont typeface="Arial" pitchFamily="34" charset="0"/>
              <a:buChar char="•"/>
              <a:defRPr sz="1800">
                <a:solidFill>
                  <a:schemeClr val="tx1"/>
                </a:solidFill>
              </a:defRPr>
            </a:lvl1pPr>
            <a:lvl2pPr marL="504000">
              <a:buClr>
                <a:schemeClr val="tx1"/>
              </a:buClr>
              <a:defRPr sz="1600" b="0"/>
            </a:lvl2pPr>
            <a:lvl3pPr indent="0">
              <a:buNone/>
              <a:defRPr/>
            </a:lvl3pPr>
            <a:lvl4pPr marL="684000" indent="-180000">
              <a:buClr>
                <a:schemeClr val="tx1"/>
              </a:buClr>
              <a:buFont typeface="Arial" pitchFamily="34" charset="0"/>
              <a:buChar char="•"/>
              <a:defRPr sz="1400"/>
            </a:lvl4pPr>
          </a:lstStyle>
          <a:p>
            <a:pPr lvl="0"/>
            <a:r>
              <a:rPr lang="en-US" noProof="0"/>
              <a:t>Text level 2</a:t>
            </a:r>
          </a:p>
          <a:p>
            <a:pPr lvl="1"/>
            <a:r>
              <a:rPr lang="en-US" noProof="0"/>
              <a:t>Text level 3</a:t>
            </a:r>
          </a:p>
          <a:p>
            <a:pPr lvl="2"/>
            <a:r>
              <a:rPr lang="en-US" noProof="0"/>
              <a:t>Text level 4</a:t>
            </a:r>
          </a:p>
          <a:p>
            <a:pPr lvl="3"/>
            <a:r>
              <a:rPr lang="en-US" noProof="0"/>
              <a:t>Text level 5</a:t>
            </a:r>
          </a:p>
        </p:txBody>
      </p:sp>
      <p:sp>
        <p:nvSpPr>
          <p:cNvPr id="18" name="Espace réservé du texte 9"/>
          <p:cNvSpPr>
            <a:spLocks noGrp="1"/>
          </p:cNvSpPr>
          <p:nvPr>
            <p:ph type="body" sz="quarter" idx="23" hasCustomPrompt="1"/>
          </p:nvPr>
        </p:nvSpPr>
        <p:spPr bwMode="gray">
          <a:xfrm>
            <a:off x="935038" y="3357672"/>
            <a:ext cx="1440000" cy="792000"/>
          </a:xfrm>
          <a:solidFill>
            <a:schemeClr val="accent3"/>
          </a:solidFill>
          <a:ln w="9525">
            <a:solidFill>
              <a:schemeClr val="accent3"/>
            </a:solidFill>
          </a:ln>
        </p:spPr>
        <p:txBody>
          <a:bodyPr anchor="ctr" anchorCtr="0"/>
          <a:lstStyle>
            <a:lvl1pPr algn="ctr">
              <a:lnSpc>
                <a:spcPct val="100000"/>
              </a:lnSpc>
              <a:defRPr>
                <a:solidFill>
                  <a:schemeClr val="bg1"/>
                </a:solidFill>
              </a:defRPr>
            </a:lvl1pPr>
          </a:lstStyle>
          <a:p>
            <a:pPr lvl="0"/>
            <a:r>
              <a:rPr lang="en-US" noProof="0"/>
              <a:t>Text level 1</a:t>
            </a:r>
          </a:p>
        </p:txBody>
      </p:sp>
      <p:sp>
        <p:nvSpPr>
          <p:cNvPr id="19" name="Espace réservé du texte 9"/>
          <p:cNvSpPr>
            <a:spLocks noGrp="1"/>
          </p:cNvSpPr>
          <p:nvPr>
            <p:ph type="body" sz="quarter" idx="24" hasCustomPrompt="1"/>
          </p:nvPr>
        </p:nvSpPr>
        <p:spPr bwMode="gray">
          <a:xfrm>
            <a:off x="2376000" y="3357672"/>
            <a:ext cx="5904400" cy="792000"/>
          </a:xfrm>
          <a:ln w="9525">
            <a:solidFill>
              <a:schemeClr val="accent3"/>
            </a:solidFill>
          </a:ln>
        </p:spPr>
        <p:txBody>
          <a:bodyPr tIns="72000"/>
          <a:lstStyle>
            <a:lvl1pPr marL="324000" indent="-180000">
              <a:lnSpc>
                <a:spcPct val="100000"/>
              </a:lnSpc>
              <a:spcBef>
                <a:spcPts val="300"/>
              </a:spcBef>
              <a:buClr>
                <a:schemeClr val="accent3"/>
              </a:buClr>
              <a:buFont typeface="Arial" pitchFamily="34" charset="0"/>
              <a:buChar char="•"/>
              <a:defRPr sz="1800">
                <a:solidFill>
                  <a:schemeClr val="tx1"/>
                </a:solidFill>
              </a:defRPr>
            </a:lvl1pPr>
            <a:lvl2pPr marL="504000">
              <a:buClr>
                <a:schemeClr val="tx1"/>
              </a:buClr>
              <a:defRPr sz="1600" b="0"/>
            </a:lvl2pPr>
            <a:lvl3pPr indent="0">
              <a:buNone/>
              <a:defRPr/>
            </a:lvl3pPr>
            <a:lvl4pPr marL="684000" indent="-180000">
              <a:buClr>
                <a:schemeClr val="tx1"/>
              </a:buClr>
              <a:buFont typeface="Arial" pitchFamily="34" charset="0"/>
              <a:buChar char="•"/>
              <a:defRPr sz="1400"/>
            </a:lvl4pPr>
          </a:lstStyle>
          <a:p>
            <a:pPr lvl="0"/>
            <a:r>
              <a:rPr lang="en-US" noProof="0"/>
              <a:t>Text level 2</a:t>
            </a:r>
          </a:p>
          <a:p>
            <a:pPr lvl="1"/>
            <a:r>
              <a:rPr lang="en-US" noProof="0"/>
              <a:t>Text level 3</a:t>
            </a:r>
          </a:p>
          <a:p>
            <a:pPr lvl="2"/>
            <a:r>
              <a:rPr lang="en-US" noProof="0"/>
              <a:t>Text level 4</a:t>
            </a:r>
          </a:p>
          <a:p>
            <a:pPr lvl="3"/>
            <a:r>
              <a:rPr lang="en-US" noProof="0"/>
              <a:t>Text level 5</a:t>
            </a:r>
          </a:p>
        </p:txBody>
      </p:sp>
      <p:sp>
        <p:nvSpPr>
          <p:cNvPr id="20" name="Espace réservé du texte 9"/>
          <p:cNvSpPr>
            <a:spLocks noGrp="1"/>
          </p:cNvSpPr>
          <p:nvPr>
            <p:ph type="body" sz="quarter" idx="25" hasCustomPrompt="1"/>
          </p:nvPr>
        </p:nvSpPr>
        <p:spPr bwMode="gray">
          <a:xfrm>
            <a:off x="935038" y="4365788"/>
            <a:ext cx="1440000" cy="792000"/>
          </a:xfrm>
          <a:solidFill>
            <a:schemeClr val="bg2"/>
          </a:solidFill>
          <a:ln w="9525">
            <a:solidFill>
              <a:schemeClr val="bg2"/>
            </a:solidFill>
          </a:ln>
        </p:spPr>
        <p:txBody>
          <a:bodyPr anchor="ctr" anchorCtr="0"/>
          <a:lstStyle>
            <a:lvl1pPr algn="ctr">
              <a:lnSpc>
                <a:spcPct val="100000"/>
              </a:lnSpc>
              <a:defRPr>
                <a:solidFill>
                  <a:schemeClr val="bg1"/>
                </a:solidFill>
              </a:defRPr>
            </a:lvl1pPr>
          </a:lstStyle>
          <a:p>
            <a:pPr lvl="0"/>
            <a:r>
              <a:rPr lang="en-US" noProof="0"/>
              <a:t>Text level 1</a:t>
            </a:r>
          </a:p>
        </p:txBody>
      </p:sp>
      <p:sp>
        <p:nvSpPr>
          <p:cNvPr id="29" name="Espace réservé du texte 9"/>
          <p:cNvSpPr>
            <a:spLocks noGrp="1"/>
          </p:cNvSpPr>
          <p:nvPr>
            <p:ph type="body" sz="quarter" idx="26" hasCustomPrompt="1"/>
          </p:nvPr>
        </p:nvSpPr>
        <p:spPr bwMode="gray">
          <a:xfrm>
            <a:off x="2376000" y="4365788"/>
            <a:ext cx="5904400" cy="792000"/>
          </a:xfrm>
          <a:ln w="9525">
            <a:solidFill>
              <a:schemeClr val="bg2"/>
            </a:solidFill>
          </a:ln>
        </p:spPr>
        <p:txBody>
          <a:bodyPr tIns="72000"/>
          <a:lstStyle>
            <a:lvl1pPr marL="324000" indent="-180000">
              <a:lnSpc>
                <a:spcPct val="100000"/>
              </a:lnSpc>
              <a:spcBef>
                <a:spcPts val="300"/>
              </a:spcBef>
              <a:buClr>
                <a:schemeClr val="accent3"/>
              </a:buClr>
              <a:buFont typeface="Arial" pitchFamily="34" charset="0"/>
              <a:buChar char="•"/>
              <a:defRPr sz="1800">
                <a:solidFill>
                  <a:schemeClr val="tx1"/>
                </a:solidFill>
              </a:defRPr>
            </a:lvl1pPr>
            <a:lvl2pPr marL="504000">
              <a:buClr>
                <a:schemeClr val="tx1"/>
              </a:buClr>
              <a:defRPr sz="1600" b="0"/>
            </a:lvl2pPr>
            <a:lvl3pPr indent="0">
              <a:buNone/>
              <a:defRPr/>
            </a:lvl3pPr>
            <a:lvl4pPr marL="684000" indent="-180000">
              <a:buClr>
                <a:schemeClr val="tx1"/>
              </a:buClr>
              <a:buFont typeface="Arial" pitchFamily="34" charset="0"/>
              <a:buChar char="•"/>
              <a:defRPr sz="1400"/>
            </a:lvl4pPr>
          </a:lstStyle>
          <a:p>
            <a:pPr lvl="0"/>
            <a:r>
              <a:rPr lang="en-US" noProof="0"/>
              <a:t>Text level 2</a:t>
            </a:r>
          </a:p>
          <a:p>
            <a:pPr lvl="1"/>
            <a:r>
              <a:rPr lang="en-US" noProof="0"/>
              <a:t>Text level 3</a:t>
            </a:r>
          </a:p>
          <a:p>
            <a:pPr lvl="2"/>
            <a:r>
              <a:rPr lang="en-US" noProof="0"/>
              <a:t>Text level 4</a:t>
            </a:r>
          </a:p>
          <a:p>
            <a:pPr lvl="3"/>
            <a:r>
              <a:rPr lang="en-US" noProof="0"/>
              <a:t>Text level 5</a:t>
            </a:r>
          </a:p>
        </p:txBody>
      </p:sp>
    </p:spTree>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userDrawn="1">
  <p:cSld name="Text&amp;4_Blocks_Layout">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p:txBody>
          <a:bodyPr/>
          <a:lstStyle/>
          <a:p>
            <a:r>
              <a:rPr lang="en-GB" noProof="0"/>
              <a:t>TITLE</a:t>
            </a:r>
          </a:p>
        </p:txBody>
      </p:sp>
      <p:sp>
        <p:nvSpPr>
          <p:cNvPr id="10" name="Espace réservé du texte 9"/>
          <p:cNvSpPr>
            <a:spLocks noGrp="1"/>
          </p:cNvSpPr>
          <p:nvPr>
            <p:ph type="body" sz="quarter" idx="13" hasCustomPrompt="1"/>
          </p:nvPr>
        </p:nvSpPr>
        <p:spPr bwMode="gray">
          <a:xfrm>
            <a:off x="935038" y="1304924"/>
            <a:ext cx="7345362" cy="936626"/>
          </a:xfrm>
        </p:spPr>
        <p:txBody>
          <a:body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8" name="Espace réservé de la date 7"/>
          <p:cNvSpPr>
            <a:spLocks noGrp="1"/>
          </p:cNvSpPr>
          <p:nvPr>
            <p:ph type="dt" sz="half" idx="14"/>
          </p:nvPr>
        </p:nvSpPr>
        <p:spPr bwMode="gray"/>
        <p:txBody>
          <a:bodyPr/>
          <a:lstStyle/>
          <a:p>
            <a:r>
              <a:rPr lang="en-US">
                <a:solidFill>
                  <a:prstClr val="white">
                    <a:alpha val="0"/>
                  </a:prstClr>
                </a:solidFill>
              </a:rPr>
              <a:t>Date</a:t>
            </a:r>
            <a:endParaRPr lang="en-GB">
              <a:solidFill>
                <a:prstClr val="white">
                  <a:alpha val="0"/>
                </a:prstClr>
              </a:solidFill>
            </a:endParaRPr>
          </a:p>
        </p:txBody>
      </p:sp>
      <p:sp>
        <p:nvSpPr>
          <p:cNvPr id="9" name="Espace réservé du numéro de diapositive 8"/>
          <p:cNvSpPr>
            <a:spLocks noGrp="1"/>
          </p:cNvSpPr>
          <p:nvPr>
            <p:ph type="sldNum" sz="quarter" idx="15"/>
          </p:nvPr>
        </p:nvSpPr>
        <p:spPr bwMode="gray"/>
        <p:txBody>
          <a:bodyPr/>
          <a:lstStyle/>
          <a:p>
            <a:fld id="{733122C9-A0B9-462F-8757-0847AD287B63}" type="slidenum">
              <a:rPr lang="en-GB" smtClean="0">
                <a:solidFill>
                  <a:srgbClr val="343434"/>
                </a:solidFill>
              </a:rPr>
              <a:pPr/>
              <a:t>‹#›</a:t>
            </a:fld>
            <a:endParaRPr lang="en-GB">
              <a:solidFill>
                <a:srgbClr val="343434"/>
              </a:solidFill>
            </a:endParaRPr>
          </a:p>
        </p:txBody>
      </p:sp>
      <p:sp>
        <p:nvSpPr>
          <p:cNvPr id="11" name="Espace réservé du pied de page 10"/>
          <p:cNvSpPr>
            <a:spLocks noGrp="1"/>
          </p:cNvSpPr>
          <p:nvPr>
            <p:ph type="ftr" sz="quarter" idx="16"/>
          </p:nvPr>
        </p:nvSpPr>
        <p:spPr bwMode="gray"/>
        <p:txBody>
          <a:bodyPr/>
          <a:lstStyle/>
          <a:p>
            <a:r>
              <a:rPr lang="en-GB">
                <a:solidFill>
                  <a:srgbClr val="005CB9"/>
                </a:solidFill>
              </a:rPr>
              <a:t>#vaccineswork</a:t>
            </a:r>
          </a:p>
        </p:txBody>
      </p:sp>
      <p:sp>
        <p:nvSpPr>
          <p:cNvPr id="21" name="Espace réservé du texte 9"/>
          <p:cNvSpPr>
            <a:spLocks noGrp="1"/>
          </p:cNvSpPr>
          <p:nvPr>
            <p:ph type="body" sz="quarter" idx="19" hasCustomPrompt="1"/>
          </p:nvPr>
        </p:nvSpPr>
        <p:spPr bwMode="gray">
          <a:xfrm>
            <a:off x="935038" y="2241550"/>
            <a:ext cx="3564000" cy="324000"/>
          </a:xfrm>
          <a:solidFill>
            <a:schemeClr val="accent1"/>
          </a:solidFill>
          <a:ln w="9525">
            <a:solidFill>
              <a:schemeClr val="accent1"/>
            </a:solidFill>
          </a:ln>
        </p:spPr>
        <p:txBody>
          <a:bodyPr anchor="ctr" anchorCtr="0"/>
          <a:lstStyle>
            <a:lvl1pPr algn="ctr">
              <a:lnSpc>
                <a:spcPct val="100000"/>
              </a:lnSpc>
              <a:defRPr>
                <a:solidFill>
                  <a:schemeClr val="bg1"/>
                </a:solidFill>
              </a:defRPr>
            </a:lvl1pPr>
          </a:lstStyle>
          <a:p>
            <a:pPr lvl="0"/>
            <a:r>
              <a:rPr lang="en-GB" noProof="0"/>
              <a:t>Text level 1</a:t>
            </a:r>
          </a:p>
        </p:txBody>
      </p:sp>
      <p:sp>
        <p:nvSpPr>
          <p:cNvPr id="22" name="Espace réservé du texte 9"/>
          <p:cNvSpPr>
            <a:spLocks noGrp="1"/>
          </p:cNvSpPr>
          <p:nvPr>
            <p:ph type="body" sz="quarter" idx="20" hasCustomPrompt="1"/>
          </p:nvPr>
        </p:nvSpPr>
        <p:spPr bwMode="gray">
          <a:xfrm>
            <a:off x="935038" y="2565550"/>
            <a:ext cx="3564000" cy="1350000"/>
          </a:xfrm>
          <a:ln w="9525">
            <a:solidFill>
              <a:schemeClr val="accent1"/>
            </a:solidFill>
          </a:ln>
        </p:spPr>
        <p:txBody>
          <a:bodyPr tIns="72000"/>
          <a:lstStyle>
            <a:lvl1pPr marL="324000" indent="-180000">
              <a:lnSpc>
                <a:spcPct val="100000"/>
              </a:lnSpc>
              <a:spcBef>
                <a:spcPts val="300"/>
              </a:spcBef>
              <a:buClr>
                <a:schemeClr val="accent3"/>
              </a:buClr>
              <a:buFont typeface="Arial" pitchFamily="34" charset="0"/>
              <a:buChar char="•"/>
              <a:defRPr sz="1800">
                <a:solidFill>
                  <a:schemeClr val="tx1"/>
                </a:solidFill>
              </a:defRPr>
            </a:lvl1pPr>
            <a:lvl2pPr marL="504000">
              <a:buClr>
                <a:schemeClr val="tx1"/>
              </a:buClr>
              <a:defRPr sz="1600" b="0"/>
            </a:lvl2pPr>
            <a:lvl3pPr indent="0">
              <a:buNone/>
              <a:defRPr/>
            </a:lvl3pPr>
            <a:lvl4pPr marL="684000" indent="-180000">
              <a:buClr>
                <a:schemeClr val="tx1"/>
              </a:buClr>
              <a:buFont typeface="Arial" pitchFamily="34" charset="0"/>
              <a:buChar char="•"/>
              <a:defRPr sz="1400"/>
            </a:lvl4pPr>
          </a:lstStyle>
          <a:p>
            <a:pPr lvl="0"/>
            <a:r>
              <a:rPr lang="en-GB" noProof="0"/>
              <a:t>Text level 2</a:t>
            </a:r>
          </a:p>
          <a:p>
            <a:pPr lvl="1"/>
            <a:r>
              <a:rPr lang="en-GB" noProof="0"/>
              <a:t>Text level 3</a:t>
            </a:r>
          </a:p>
          <a:p>
            <a:pPr lvl="2"/>
            <a:r>
              <a:rPr lang="en-GB" noProof="0"/>
              <a:t>Text level 4</a:t>
            </a:r>
          </a:p>
          <a:p>
            <a:pPr lvl="3"/>
            <a:r>
              <a:rPr lang="en-GB" noProof="0"/>
              <a:t>Text level 5</a:t>
            </a:r>
          </a:p>
        </p:txBody>
      </p:sp>
      <p:sp>
        <p:nvSpPr>
          <p:cNvPr id="23" name="Espace réservé du texte 9"/>
          <p:cNvSpPr>
            <a:spLocks noGrp="1"/>
          </p:cNvSpPr>
          <p:nvPr>
            <p:ph type="body" sz="quarter" idx="21" hasCustomPrompt="1"/>
          </p:nvPr>
        </p:nvSpPr>
        <p:spPr bwMode="gray">
          <a:xfrm>
            <a:off x="4716400" y="2241550"/>
            <a:ext cx="3564000" cy="324000"/>
          </a:xfrm>
          <a:solidFill>
            <a:schemeClr val="accent2"/>
          </a:solidFill>
          <a:ln w="9525">
            <a:solidFill>
              <a:schemeClr val="accent2"/>
            </a:solidFill>
          </a:ln>
        </p:spPr>
        <p:txBody>
          <a:bodyPr anchor="ctr" anchorCtr="0"/>
          <a:lstStyle>
            <a:lvl1pPr algn="ctr">
              <a:lnSpc>
                <a:spcPct val="100000"/>
              </a:lnSpc>
              <a:defRPr>
                <a:solidFill>
                  <a:schemeClr val="bg1"/>
                </a:solidFill>
              </a:defRPr>
            </a:lvl1pPr>
          </a:lstStyle>
          <a:p>
            <a:pPr lvl="0"/>
            <a:r>
              <a:rPr lang="en-GB" noProof="0"/>
              <a:t>Text level 1</a:t>
            </a:r>
          </a:p>
        </p:txBody>
      </p:sp>
      <p:sp>
        <p:nvSpPr>
          <p:cNvPr id="24" name="Espace réservé du texte 9"/>
          <p:cNvSpPr>
            <a:spLocks noGrp="1"/>
          </p:cNvSpPr>
          <p:nvPr>
            <p:ph type="body" sz="quarter" idx="22" hasCustomPrompt="1"/>
          </p:nvPr>
        </p:nvSpPr>
        <p:spPr bwMode="gray">
          <a:xfrm>
            <a:off x="4716400" y="2565550"/>
            <a:ext cx="3564000" cy="1350000"/>
          </a:xfrm>
          <a:ln w="9525">
            <a:solidFill>
              <a:schemeClr val="accent2"/>
            </a:solidFill>
          </a:ln>
        </p:spPr>
        <p:txBody>
          <a:bodyPr tIns="72000"/>
          <a:lstStyle>
            <a:lvl1pPr marL="324000" indent="-180000">
              <a:lnSpc>
                <a:spcPct val="100000"/>
              </a:lnSpc>
              <a:spcBef>
                <a:spcPts val="300"/>
              </a:spcBef>
              <a:buClr>
                <a:schemeClr val="accent3"/>
              </a:buClr>
              <a:buFont typeface="Arial" pitchFamily="34" charset="0"/>
              <a:buChar char="•"/>
              <a:defRPr sz="1800">
                <a:solidFill>
                  <a:schemeClr val="tx1"/>
                </a:solidFill>
              </a:defRPr>
            </a:lvl1pPr>
            <a:lvl2pPr marL="504000">
              <a:buClr>
                <a:schemeClr val="tx1"/>
              </a:buClr>
              <a:defRPr sz="1600" b="0"/>
            </a:lvl2pPr>
            <a:lvl3pPr indent="0">
              <a:buNone/>
              <a:defRPr/>
            </a:lvl3pPr>
            <a:lvl4pPr marL="684000" indent="-180000">
              <a:buClr>
                <a:schemeClr val="tx1"/>
              </a:buClr>
              <a:buFont typeface="Arial" pitchFamily="34" charset="0"/>
              <a:buChar char="•"/>
              <a:defRPr sz="1400"/>
            </a:lvl4pPr>
          </a:lstStyle>
          <a:p>
            <a:pPr lvl="0"/>
            <a:r>
              <a:rPr lang="en-GB" noProof="0"/>
              <a:t>Text level 2</a:t>
            </a:r>
          </a:p>
          <a:p>
            <a:pPr lvl="1"/>
            <a:r>
              <a:rPr lang="en-GB" noProof="0"/>
              <a:t>Text level 3</a:t>
            </a:r>
          </a:p>
          <a:p>
            <a:pPr lvl="2"/>
            <a:r>
              <a:rPr lang="en-GB" noProof="0"/>
              <a:t>Text level 4</a:t>
            </a:r>
          </a:p>
          <a:p>
            <a:pPr lvl="3"/>
            <a:r>
              <a:rPr lang="en-GB" noProof="0"/>
              <a:t>Text level 5</a:t>
            </a:r>
          </a:p>
        </p:txBody>
      </p:sp>
      <p:sp>
        <p:nvSpPr>
          <p:cNvPr id="25" name="Espace réservé du texte 9"/>
          <p:cNvSpPr>
            <a:spLocks noGrp="1"/>
          </p:cNvSpPr>
          <p:nvPr>
            <p:ph type="body" sz="quarter" idx="23" hasCustomPrompt="1"/>
          </p:nvPr>
        </p:nvSpPr>
        <p:spPr bwMode="gray">
          <a:xfrm>
            <a:off x="935038" y="4131488"/>
            <a:ext cx="3564000" cy="324000"/>
          </a:xfrm>
          <a:solidFill>
            <a:schemeClr val="accent3"/>
          </a:solidFill>
          <a:ln w="9525">
            <a:solidFill>
              <a:schemeClr val="accent3"/>
            </a:solidFill>
          </a:ln>
        </p:spPr>
        <p:txBody>
          <a:bodyPr anchor="ctr" anchorCtr="0"/>
          <a:lstStyle>
            <a:lvl1pPr algn="ctr">
              <a:lnSpc>
                <a:spcPct val="100000"/>
              </a:lnSpc>
              <a:defRPr>
                <a:solidFill>
                  <a:schemeClr val="bg1"/>
                </a:solidFill>
              </a:defRPr>
            </a:lvl1pPr>
          </a:lstStyle>
          <a:p>
            <a:pPr lvl="0"/>
            <a:r>
              <a:rPr lang="en-GB" noProof="0"/>
              <a:t>Text level 1</a:t>
            </a:r>
          </a:p>
        </p:txBody>
      </p:sp>
      <p:sp>
        <p:nvSpPr>
          <p:cNvPr id="26" name="Espace réservé du texte 9"/>
          <p:cNvSpPr>
            <a:spLocks noGrp="1"/>
          </p:cNvSpPr>
          <p:nvPr>
            <p:ph type="body" sz="quarter" idx="24" hasCustomPrompt="1"/>
          </p:nvPr>
        </p:nvSpPr>
        <p:spPr bwMode="gray">
          <a:xfrm>
            <a:off x="935038" y="4455488"/>
            <a:ext cx="3564000" cy="1350000"/>
          </a:xfrm>
          <a:ln w="9525">
            <a:solidFill>
              <a:schemeClr val="accent3"/>
            </a:solidFill>
          </a:ln>
        </p:spPr>
        <p:txBody>
          <a:bodyPr tIns="72000"/>
          <a:lstStyle>
            <a:lvl1pPr marL="324000" indent="-180000">
              <a:lnSpc>
                <a:spcPct val="100000"/>
              </a:lnSpc>
              <a:spcBef>
                <a:spcPts val="300"/>
              </a:spcBef>
              <a:buClr>
                <a:schemeClr val="accent3"/>
              </a:buClr>
              <a:buFont typeface="Arial" pitchFamily="34" charset="0"/>
              <a:buChar char="•"/>
              <a:defRPr sz="1800">
                <a:solidFill>
                  <a:schemeClr val="tx1"/>
                </a:solidFill>
              </a:defRPr>
            </a:lvl1pPr>
            <a:lvl2pPr marL="504000">
              <a:buClr>
                <a:schemeClr val="tx1"/>
              </a:buClr>
              <a:defRPr sz="1600" b="0"/>
            </a:lvl2pPr>
            <a:lvl3pPr indent="0">
              <a:buNone/>
              <a:defRPr/>
            </a:lvl3pPr>
            <a:lvl4pPr marL="684000" indent="-180000">
              <a:buClr>
                <a:schemeClr val="tx1"/>
              </a:buClr>
              <a:buFont typeface="Arial" pitchFamily="34" charset="0"/>
              <a:buChar char="•"/>
              <a:defRPr sz="1400"/>
            </a:lvl4pPr>
          </a:lstStyle>
          <a:p>
            <a:pPr lvl="0"/>
            <a:r>
              <a:rPr lang="en-GB" noProof="0"/>
              <a:t>Text level 2</a:t>
            </a:r>
          </a:p>
          <a:p>
            <a:pPr lvl="1"/>
            <a:r>
              <a:rPr lang="en-GB" noProof="0"/>
              <a:t>Text level 3</a:t>
            </a:r>
          </a:p>
          <a:p>
            <a:pPr lvl="2"/>
            <a:r>
              <a:rPr lang="en-GB" noProof="0"/>
              <a:t>Text level 4</a:t>
            </a:r>
          </a:p>
          <a:p>
            <a:pPr lvl="3"/>
            <a:r>
              <a:rPr lang="en-GB" noProof="0"/>
              <a:t>Text level 5</a:t>
            </a:r>
          </a:p>
        </p:txBody>
      </p:sp>
      <p:sp>
        <p:nvSpPr>
          <p:cNvPr id="27" name="Espace réservé du texte 9"/>
          <p:cNvSpPr>
            <a:spLocks noGrp="1"/>
          </p:cNvSpPr>
          <p:nvPr>
            <p:ph type="body" sz="quarter" idx="25" hasCustomPrompt="1"/>
          </p:nvPr>
        </p:nvSpPr>
        <p:spPr bwMode="gray">
          <a:xfrm>
            <a:off x="4716400" y="4131488"/>
            <a:ext cx="3564000" cy="324000"/>
          </a:xfrm>
          <a:solidFill>
            <a:schemeClr val="bg2"/>
          </a:solidFill>
          <a:ln w="9525">
            <a:solidFill>
              <a:schemeClr val="bg2"/>
            </a:solidFill>
          </a:ln>
        </p:spPr>
        <p:txBody>
          <a:bodyPr anchor="ctr" anchorCtr="0"/>
          <a:lstStyle>
            <a:lvl1pPr algn="ctr">
              <a:lnSpc>
                <a:spcPct val="100000"/>
              </a:lnSpc>
              <a:defRPr>
                <a:solidFill>
                  <a:schemeClr val="bg1"/>
                </a:solidFill>
              </a:defRPr>
            </a:lvl1pPr>
          </a:lstStyle>
          <a:p>
            <a:pPr lvl="0"/>
            <a:r>
              <a:rPr lang="en-GB" noProof="0"/>
              <a:t>Text level 1</a:t>
            </a:r>
          </a:p>
        </p:txBody>
      </p:sp>
      <p:sp>
        <p:nvSpPr>
          <p:cNvPr id="28" name="Espace réservé du texte 9"/>
          <p:cNvSpPr>
            <a:spLocks noGrp="1"/>
          </p:cNvSpPr>
          <p:nvPr>
            <p:ph type="body" sz="quarter" idx="26" hasCustomPrompt="1"/>
          </p:nvPr>
        </p:nvSpPr>
        <p:spPr bwMode="gray">
          <a:xfrm>
            <a:off x="4716400" y="4455488"/>
            <a:ext cx="3564000" cy="1350000"/>
          </a:xfrm>
          <a:ln w="9525">
            <a:solidFill>
              <a:schemeClr val="bg2"/>
            </a:solidFill>
          </a:ln>
        </p:spPr>
        <p:txBody>
          <a:bodyPr tIns="72000"/>
          <a:lstStyle>
            <a:lvl1pPr marL="324000" indent="-180000">
              <a:lnSpc>
                <a:spcPct val="100000"/>
              </a:lnSpc>
              <a:spcBef>
                <a:spcPts val="300"/>
              </a:spcBef>
              <a:buClr>
                <a:schemeClr val="accent3"/>
              </a:buClr>
              <a:buFont typeface="Arial" pitchFamily="34" charset="0"/>
              <a:buChar char="•"/>
              <a:defRPr sz="1800">
                <a:solidFill>
                  <a:schemeClr val="tx1"/>
                </a:solidFill>
              </a:defRPr>
            </a:lvl1pPr>
            <a:lvl2pPr marL="504000">
              <a:buClr>
                <a:schemeClr val="tx1"/>
              </a:buClr>
              <a:defRPr sz="1600" b="0"/>
            </a:lvl2pPr>
            <a:lvl3pPr indent="0">
              <a:buNone/>
              <a:defRPr/>
            </a:lvl3pPr>
            <a:lvl4pPr marL="684000" indent="-180000">
              <a:buClr>
                <a:schemeClr val="tx1"/>
              </a:buClr>
              <a:buFont typeface="Arial" pitchFamily="34" charset="0"/>
              <a:buChar char="•"/>
              <a:defRPr sz="1400"/>
            </a:lvl4pPr>
          </a:lstStyle>
          <a:p>
            <a:pPr lvl="0"/>
            <a:r>
              <a:rPr lang="en-GB" noProof="0"/>
              <a:t>Text level 2</a:t>
            </a:r>
          </a:p>
          <a:p>
            <a:pPr lvl="1"/>
            <a:r>
              <a:rPr lang="en-GB" noProof="0"/>
              <a:t>Text level 3</a:t>
            </a:r>
          </a:p>
          <a:p>
            <a:pPr lvl="2"/>
            <a:r>
              <a:rPr lang="en-GB" noProof="0"/>
              <a:t>Text level 4</a:t>
            </a:r>
          </a:p>
          <a:p>
            <a:pPr lvl="3"/>
            <a:r>
              <a:rPr lang="en-GB" noProof="0"/>
              <a:t>Text level 5</a:t>
            </a:r>
          </a:p>
        </p:txBody>
      </p:sp>
    </p:spTree>
    <p:extLst>
      <p:ext uri="{BB962C8B-B14F-4D97-AF65-F5344CB8AC3E}">
        <p14:creationId xmlns:p14="http://schemas.microsoft.com/office/powerpoint/2010/main" val="2060631211"/>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pic>
        <p:nvPicPr>
          <p:cNvPr id="6" name="Image 18" descr="FD_02.pn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gray">
          <a:xfrm>
            <a:off x="0" y="0"/>
            <a:ext cx="9144000" cy="51577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7" name="Rectangle 6"/>
          <p:cNvSpPr/>
          <p:nvPr userDrawn="1"/>
        </p:nvSpPr>
        <p:spPr bwMode="gray">
          <a:xfrm>
            <a:off x="3635375" y="5265738"/>
            <a:ext cx="5508625" cy="15922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prstClr val="white"/>
              </a:solidFill>
            </a:endParaRPr>
          </a:p>
        </p:txBody>
      </p:sp>
      <p:pic>
        <p:nvPicPr>
          <p:cNvPr id="10" name="Image 19" descr="Bas_couv.png"/>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gray">
          <a:xfrm>
            <a:off x="0" y="5172075"/>
            <a:ext cx="3635375" cy="16859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1" name="Rectangle 10"/>
          <p:cNvSpPr/>
          <p:nvPr userDrawn="1"/>
        </p:nvSpPr>
        <p:spPr bwMode="gray">
          <a:xfrm>
            <a:off x="3635375" y="6354763"/>
            <a:ext cx="5113338" cy="2873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p>
            <a:pPr algn="r">
              <a:defRPr/>
            </a:pPr>
            <a:r>
              <a:rPr lang="en-US" sz="1000" err="1">
                <a:solidFill>
                  <a:srgbClr val="95D600"/>
                </a:solidFill>
              </a:rPr>
              <a:t>www.gavi.org</a:t>
            </a:r>
            <a:endParaRPr lang="en-US" sz="1000">
              <a:solidFill>
                <a:srgbClr val="95D600"/>
              </a:solidFill>
            </a:endParaRPr>
          </a:p>
        </p:txBody>
      </p:sp>
      <p:cxnSp>
        <p:nvCxnSpPr>
          <p:cNvPr id="12" name="Connecteur droit 22"/>
          <p:cNvCxnSpPr/>
          <p:nvPr userDrawn="1"/>
        </p:nvCxnSpPr>
        <p:spPr bwMode="gray">
          <a:xfrm flipH="1">
            <a:off x="468313" y="3402013"/>
            <a:ext cx="2447925" cy="0"/>
          </a:xfrm>
          <a:prstGeom prst="line">
            <a:avLst/>
          </a:prstGeom>
          <a:ln w="24130">
            <a:solidFill>
              <a:schemeClr val="accent1"/>
            </a:solidFill>
          </a:ln>
        </p:spPr>
        <p:style>
          <a:lnRef idx="1">
            <a:schemeClr val="accent1"/>
          </a:lnRef>
          <a:fillRef idx="0">
            <a:schemeClr val="accent1"/>
          </a:fillRef>
          <a:effectRef idx="0">
            <a:schemeClr val="accent1"/>
          </a:effectRef>
          <a:fontRef idx="minor">
            <a:schemeClr val="tx1"/>
          </a:fontRef>
        </p:style>
      </p:cxnSp>
      <p:sp>
        <p:nvSpPr>
          <p:cNvPr id="9" name="Espace réservé du texte 8"/>
          <p:cNvSpPr>
            <a:spLocks noGrp="1"/>
          </p:cNvSpPr>
          <p:nvPr>
            <p:ph type="body" sz="quarter" idx="13"/>
          </p:nvPr>
        </p:nvSpPr>
        <p:spPr bwMode="gray">
          <a:xfrm>
            <a:off x="468314" y="1036800"/>
            <a:ext cx="4824412" cy="2232000"/>
          </a:xfrm>
        </p:spPr>
        <p:txBody>
          <a:bodyPr anchor="b"/>
          <a:lstStyle>
            <a:lvl1pPr marL="0" indent="0" algn="l">
              <a:lnSpc>
                <a:spcPct val="90000"/>
              </a:lnSpc>
              <a:buNone/>
              <a:defRPr sz="2800" b="1" cap="none" baseline="0">
                <a:solidFill>
                  <a:schemeClr val="bg1"/>
                </a:solidFill>
              </a:defRPr>
            </a:lvl1pPr>
            <a:lvl2pPr marL="0" algn="ctr">
              <a:lnSpc>
                <a:spcPct val="100000"/>
              </a:lnSpc>
              <a:spcBef>
                <a:spcPts val="6900"/>
              </a:spcBef>
              <a:defRPr sz="2000" b="1">
                <a:solidFill>
                  <a:schemeClr val="bg1"/>
                </a:solidFill>
              </a:defRPr>
            </a:lvl2pPr>
          </a:lstStyle>
          <a:p>
            <a:pPr lvl="0"/>
            <a:r>
              <a:rPr lang="en-US" noProof="0"/>
              <a:t>Click to edit Master text styles</a:t>
            </a:r>
          </a:p>
        </p:txBody>
      </p:sp>
      <p:sp>
        <p:nvSpPr>
          <p:cNvPr id="8" name="Espace réservé du texte 8"/>
          <p:cNvSpPr>
            <a:spLocks noGrp="1"/>
          </p:cNvSpPr>
          <p:nvPr>
            <p:ph type="body" sz="quarter" idx="14"/>
          </p:nvPr>
        </p:nvSpPr>
        <p:spPr bwMode="gray">
          <a:xfrm>
            <a:off x="468314" y="3585600"/>
            <a:ext cx="4824411" cy="1479600"/>
          </a:xfrm>
        </p:spPr>
        <p:txBody>
          <a:bodyPr/>
          <a:lstStyle>
            <a:lvl1pPr marL="0" indent="0" algn="l">
              <a:lnSpc>
                <a:spcPct val="90000"/>
              </a:lnSpc>
              <a:buNone/>
              <a:defRPr sz="2000" b="0" baseline="0">
                <a:solidFill>
                  <a:schemeClr val="bg1"/>
                </a:solidFill>
              </a:defRPr>
            </a:lvl1pPr>
            <a:lvl2pPr marL="0" algn="ctr">
              <a:lnSpc>
                <a:spcPct val="100000"/>
              </a:lnSpc>
              <a:spcBef>
                <a:spcPts val="6900"/>
              </a:spcBef>
              <a:defRPr sz="2000" b="1">
                <a:solidFill>
                  <a:schemeClr val="bg1"/>
                </a:solidFill>
              </a:defRPr>
            </a:lvl2pPr>
          </a:lstStyle>
          <a:p>
            <a:pPr lvl="0"/>
            <a:r>
              <a:rPr lang="en-US" noProof="0"/>
              <a:t>Click to edit Master text styles</a:t>
            </a:r>
          </a:p>
        </p:txBody>
      </p:sp>
      <p:sp>
        <p:nvSpPr>
          <p:cNvPr id="15" name="Espace réservé du texte 14"/>
          <p:cNvSpPr>
            <a:spLocks noGrp="1"/>
          </p:cNvSpPr>
          <p:nvPr>
            <p:ph type="body" sz="quarter" idx="19"/>
          </p:nvPr>
        </p:nvSpPr>
        <p:spPr bwMode="gray">
          <a:xfrm>
            <a:off x="3635376" y="6021388"/>
            <a:ext cx="5113338" cy="324000"/>
          </a:xfrm>
        </p:spPr>
        <p:txBody>
          <a:bodyPr anchor="b"/>
          <a:lstStyle>
            <a:lvl1pPr algn="r">
              <a:lnSpc>
                <a:spcPct val="100000"/>
              </a:lnSpc>
              <a:defRPr sz="1000" b="1">
                <a:solidFill>
                  <a:schemeClr val="accent3"/>
                </a:solidFill>
              </a:defRPr>
            </a:lvl1pPr>
          </a:lstStyle>
          <a:p>
            <a:pPr lvl="0"/>
            <a:r>
              <a:rPr lang="en-US" noProof="0"/>
              <a:t>Click to edit Master text styles</a:t>
            </a:r>
          </a:p>
        </p:txBody>
      </p:sp>
      <p:sp>
        <p:nvSpPr>
          <p:cNvPr id="17" name="Espace réservé du texte 16"/>
          <p:cNvSpPr>
            <a:spLocks noGrp="1"/>
          </p:cNvSpPr>
          <p:nvPr>
            <p:ph type="body" sz="quarter" idx="20"/>
          </p:nvPr>
        </p:nvSpPr>
        <p:spPr bwMode="gray">
          <a:xfrm>
            <a:off x="0" y="5157788"/>
            <a:ext cx="9144000" cy="287337"/>
          </a:xfrm>
          <a:solidFill>
            <a:schemeClr val="bg1"/>
          </a:solidFill>
        </p:spPr>
        <p:txBody>
          <a:bodyPr/>
          <a:lstStyle>
            <a:lvl1pPr>
              <a:defRPr sz="100" b="0">
                <a:solidFill>
                  <a:schemeClr val="bg1">
                    <a:alpha val="0"/>
                  </a:schemeClr>
                </a:solidFill>
              </a:defRPr>
            </a:lvl1pPr>
          </a:lstStyle>
          <a:p>
            <a:pPr lvl="0"/>
            <a:r>
              <a:rPr lang="en-US" noProof="0"/>
              <a:t>Click to edit Master text styles</a:t>
            </a:r>
          </a:p>
        </p:txBody>
      </p:sp>
      <p:sp>
        <p:nvSpPr>
          <p:cNvPr id="13" name="Espace réservé de la date 9"/>
          <p:cNvSpPr>
            <a:spLocks noGrp="1"/>
          </p:cNvSpPr>
          <p:nvPr>
            <p:ph type="dt" sz="half" idx="21"/>
          </p:nvPr>
        </p:nvSpPr>
        <p:spPr/>
        <p:txBody>
          <a:bodyPr/>
          <a:lstStyle>
            <a:lvl1pPr>
              <a:defRPr/>
            </a:lvl1pPr>
          </a:lstStyle>
          <a:p>
            <a:pPr>
              <a:defRPr/>
            </a:pPr>
            <a:r>
              <a:rPr lang="en-US">
                <a:solidFill>
                  <a:prstClr val="white">
                    <a:alpha val="0"/>
                  </a:prstClr>
                </a:solidFill>
              </a:rPr>
              <a:t>Date</a:t>
            </a:r>
          </a:p>
        </p:txBody>
      </p:sp>
      <p:sp>
        <p:nvSpPr>
          <p:cNvPr id="14" name="Espace réservé du numéro de diapositive 10"/>
          <p:cNvSpPr>
            <a:spLocks noGrp="1"/>
          </p:cNvSpPr>
          <p:nvPr>
            <p:ph type="sldNum" sz="quarter" idx="22"/>
          </p:nvPr>
        </p:nvSpPr>
        <p:spPr/>
        <p:txBody>
          <a:bodyPr/>
          <a:lstStyle>
            <a:lvl1pPr>
              <a:defRPr sz="100">
                <a:solidFill>
                  <a:schemeClr val="bg1">
                    <a:alpha val="0"/>
                  </a:schemeClr>
                </a:solidFill>
              </a:defRPr>
            </a:lvl1pPr>
          </a:lstStyle>
          <a:p>
            <a:pPr>
              <a:defRPr/>
            </a:pPr>
            <a:r>
              <a:rPr lang="en-US">
                <a:solidFill>
                  <a:prstClr val="white">
                    <a:alpha val="0"/>
                  </a:prstClr>
                </a:solidFill>
              </a:rPr>
              <a:t>Page: </a:t>
            </a:r>
            <a:fld id="{541ADD26-9626-44B7-849C-716E619042DF}" type="slidenum">
              <a:rPr lang="en-US">
                <a:solidFill>
                  <a:prstClr val="white">
                    <a:alpha val="0"/>
                  </a:prstClr>
                </a:solidFill>
              </a:rPr>
              <a:pPr>
                <a:defRPr/>
              </a:pPr>
              <a:t>‹#›</a:t>
            </a:fld>
            <a:endParaRPr lang="en-US">
              <a:solidFill>
                <a:prstClr val="white">
                  <a:alpha val="0"/>
                </a:prstClr>
              </a:solidFill>
            </a:endParaRPr>
          </a:p>
        </p:txBody>
      </p:sp>
      <p:sp>
        <p:nvSpPr>
          <p:cNvPr id="16" name="Espace réservé du pied de page 11"/>
          <p:cNvSpPr>
            <a:spLocks noGrp="1"/>
          </p:cNvSpPr>
          <p:nvPr>
            <p:ph type="ftr" sz="quarter" idx="23"/>
          </p:nvPr>
        </p:nvSpPr>
        <p:spPr>
          <a:xfrm>
            <a:off x="468313" y="523875"/>
            <a:ext cx="4824412" cy="360363"/>
          </a:xfrm>
        </p:spPr>
        <p:txBody>
          <a:bodyPr/>
          <a:lstStyle>
            <a:lvl1pPr algn="l">
              <a:defRPr sz="1800" b="0">
                <a:solidFill>
                  <a:schemeClr val="bg1"/>
                </a:solidFill>
              </a:defRPr>
            </a:lvl1pPr>
          </a:lstStyle>
          <a:p>
            <a:pPr>
              <a:defRPr/>
            </a:pPr>
            <a:r>
              <a:rPr lang="en-US">
                <a:solidFill>
                  <a:prstClr val="white"/>
                </a:solidFill>
              </a:rPr>
              <a:t>#vaccelerate</a:t>
            </a:r>
          </a:p>
        </p:txBody>
      </p:sp>
    </p:spTree>
    <p:extLst>
      <p:ext uri="{BB962C8B-B14F-4D97-AF65-F5344CB8AC3E}">
        <p14:creationId xmlns:p14="http://schemas.microsoft.com/office/powerpoint/2010/main" val="2612902832"/>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Cover_Picture_1">
    <p:spTree>
      <p:nvGrpSpPr>
        <p:cNvPr id="1" name=""/>
        <p:cNvGrpSpPr/>
        <p:nvPr/>
      </p:nvGrpSpPr>
      <p:grpSpPr>
        <a:xfrm>
          <a:off x="0" y="0"/>
          <a:ext cx="0" cy="0"/>
          <a:chOff x="0" y="0"/>
          <a:chExt cx="0" cy="0"/>
        </a:xfrm>
      </p:grpSpPr>
      <p:pic>
        <p:nvPicPr>
          <p:cNvPr id="7" name="Image 20" descr="FD_1_L254.png"/>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gray">
          <a:xfrm>
            <a:off x="0" y="0"/>
            <a:ext cx="9144000" cy="51577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0" name="Rectangle 9"/>
          <p:cNvSpPr/>
          <p:nvPr userDrawn="1"/>
        </p:nvSpPr>
        <p:spPr bwMode="gray">
          <a:xfrm>
            <a:off x="3635375" y="5265738"/>
            <a:ext cx="5508625" cy="15922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prstClr val="white"/>
              </a:solidFill>
            </a:endParaRPr>
          </a:p>
        </p:txBody>
      </p:sp>
      <p:pic>
        <p:nvPicPr>
          <p:cNvPr id="11" name="Image 19" descr="Bas_couv.png"/>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gray">
          <a:xfrm>
            <a:off x="0" y="5172075"/>
            <a:ext cx="3635375" cy="16859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2" name="Rectangle 11"/>
          <p:cNvSpPr/>
          <p:nvPr userDrawn="1"/>
        </p:nvSpPr>
        <p:spPr bwMode="gray">
          <a:xfrm>
            <a:off x="3635375" y="6354763"/>
            <a:ext cx="5113338" cy="2873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p>
            <a:pPr algn="r">
              <a:defRPr/>
            </a:pPr>
            <a:r>
              <a:rPr lang="en-US" sz="1000" err="1">
                <a:solidFill>
                  <a:srgbClr val="95D600"/>
                </a:solidFill>
              </a:rPr>
              <a:t>www.gavi.org</a:t>
            </a:r>
            <a:endParaRPr lang="en-US" sz="1000">
              <a:solidFill>
                <a:srgbClr val="95D600"/>
              </a:solidFill>
            </a:endParaRPr>
          </a:p>
        </p:txBody>
      </p:sp>
      <p:cxnSp>
        <p:nvCxnSpPr>
          <p:cNvPr id="13" name="Connecteur droit 22"/>
          <p:cNvCxnSpPr/>
          <p:nvPr userDrawn="1"/>
        </p:nvCxnSpPr>
        <p:spPr bwMode="gray">
          <a:xfrm flipH="1">
            <a:off x="468313" y="3402013"/>
            <a:ext cx="2447925" cy="0"/>
          </a:xfrm>
          <a:prstGeom prst="line">
            <a:avLst/>
          </a:prstGeom>
          <a:ln w="24130">
            <a:solidFill>
              <a:schemeClr val="accent1"/>
            </a:solidFill>
          </a:ln>
        </p:spPr>
        <p:style>
          <a:lnRef idx="1">
            <a:schemeClr val="accent1"/>
          </a:lnRef>
          <a:fillRef idx="0">
            <a:schemeClr val="accent1"/>
          </a:fillRef>
          <a:effectRef idx="0">
            <a:schemeClr val="accent1"/>
          </a:effectRef>
          <a:fontRef idx="minor">
            <a:schemeClr val="tx1"/>
          </a:fontRef>
        </p:style>
      </p:cxnSp>
      <p:sp>
        <p:nvSpPr>
          <p:cNvPr id="9" name="Espace réservé du texte 8"/>
          <p:cNvSpPr>
            <a:spLocks noGrp="1"/>
          </p:cNvSpPr>
          <p:nvPr>
            <p:ph type="body" sz="quarter" idx="13"/>
          </p:nvPr>
        </p:nvSpPr>
        <p:spPr bwMode="gray">
          <a:xfrm>
            <a:off x="468314" y="1036638"/>
            <a:ext cx="4824412" cy="2231392"/>
          </a:xfrm>
        </p:spPr>
        <p:txBody>
          <a:bodyPr anchor="b"/>
          <a:lstStyle>
            <a:lvl1pPr marL="0" indent="0" algn="l">
              <a:lnSpc>
                <a:spcPct val="90000"/>
              </a:lnSpc>
              <a:buNone/>
              <a:defRPr sz="2800" b="1" cap="none" baseline="0">
                <a:solidFill>
                  <a:schemeClr val="bg1"/>
                </a:solidFill>
              </a:defRPr>
            </a:lvl1pPr>
            <a:lvl2pPr marL="0" algn="ctr">
              <a:lnSpc>
                <a:spcPct val="100000"/>
              </a:lnSpc>
              <a:spcBef>
                <a:spcPts val="6900"/>
              </a:spcBef>
              <a:defRPr sz="2000" b="1">
                <a:solidFill>
                  <a:schemeClr val="bg1"/>
                </a:solidFill>
              </a:defRPr>
            </a:lvl2pPr>
          </a:lstStyle>
          <a:p>
            <a:pPr lvl="0"/>
            <a:r>
              <a:rPr lang="en-US" noProof="0"/>
              <a:t>Click to edit Master text styles</a:t>
            </a:r>
          </a:p>
        </p:txBody>
      </p:sp>
      <p:sp>
        <p:nvSpPr>
          <p:cNvPr id="8" name="Espace réservé du texte 8"/>
          <p:cNvSpPr>
            <a:spLocks noGrp="1"/>
          </p:cNvSpPr>
          <p:nvPr>
            <p:ph type="body" sz="quarter" idx="14"/>
          </p:nvPr>
        </p:nvSpPr>
        <p:spPr bwMode="gray">
          <a:xfrm>
            <a:off x="468314" y="3584637"/>
            <a:ext cx="3592800" cy="1477788"/>
          </a:xfrm>
        </p:spPr>
        <p:txBody>
          <a:bodyPr/>
          <a:lstStyle>
            <a:lvl1pPr marL="0" indent="0" algn="l">
              <a:lnSpc>
                <a:spcPct val="90000"/>
              </a:lnSpc>
              <a:buNone/>
              <a:defRPr sz="2000" b="0" baseline="0">
                <a:solidFill>
                  <a:schemeClr val="bg1"/>
                </a:solidFill>
              </a:defRPr>
            </a:lvl1pPr>
            <a:lvl2pPr marL="0" algn="ctr">
              <a:lnSpc>
                <a:spcPct val="100000"/>
              </a:lnSpc>
              <a:spcBef>
                <a:spcPts val="6900"/>
              </a:spcBef>
              <a:defRPr sz="2000" b="1">
                <a:solidFill>
                  <a:schemeClr val="bg1"/>
                </a:solidFill>
              </a:defRPr>
            </a:lvl2pPr>
          </a:lstStyle>
          <a:p>
            <a:pPr lvl="0"/>
            <a:r>
              <a:rPr lang="en-US" noProof="0"/>
              <a:t>Click to edit Master text styles</a:t>
            </a:r>
          </a:p>
        </p:txBody>
      </p:sp>
      <p:sp>
        <p:nvSpPr>
          <p:cNvPr id="15" name="Espace réservé du texte 14"/>
          <p:cNvSpPr>
            <a:spLocks noGrp="1"/>
          </p:cNvSpPr>
          <p:nvPr>
            <p:ph type="body" sz="quarter" idx="19"/>
          </p:nvPr>
        </p:nvSpPr>
        <p:spPr bwMode="gray">
          <a:xfrm>
            <a:off x="3635376" y="6021388"/>
            <a:ext cx="5113338" cy="324000"/>
          </a:xfrm>
        </p:spPr>
        <p:txBody>
          <a:bodyPr anchor="b"/>
          <a:lstStyle>
            <a:lvl1pPr algn="r">
              <a:lnSpc>
                <a:spcPct val="100000"/>
              </a:lnSpc>
              <a:defRPr sz="1000" b="1">
                <a:solidFill>
                  <a:schemeClr val="accent3"/>
                </a:solidFill>
              </a:defRPr>
            </a:lvl1pPr>
          </a:lstStyle>
          <a:p>
            <a:pPr lvl="0"/>
            <a:r>
              <a:rPr lang="en-US" noProof="0"/>
              <a:t>Click to edit Master text styles</a:t>
            </a:r>
          </a:p>
        </p:txBody>
      </p:sp>
      <p:sp>
        <p:nvSpPr>
          <p:cNvPr id="17" name="Espace réservé du texte 16"/>
          <p:cNvSpPr>
            <a:spLocks noGrp="1"/>
          </p:cNvSpPr>
          <p:nvPr>
            <p:ph type="body" sz="quarter" idx="20"/>
          </p:nvPr>
        </p:nvSpPr>
        <p:spPr bwMode="gray">
          <a:xfrm>
            <a:off x="0" y="5157788"/>
            <a:ext cx="9144000" cy="287337"/>
          </a:xfrm>
          <a:solidFill>
            <a:schemeClr val="bg1"/>
          </a:solidFill>
        </p:spPr>
        <p:txBody>
          <a:bodyPr/>
          <a:lstStyle>
            <a:lvl1pPr>
              <a:defRPr sz="100" b="0">
                <a:solidFill>
                  <a:schemeClr val="bg1">
                    <a:alpha val="0"/>
                  </a:schemeClr>
                </a:solidFill>
              </a:defRPr>
            </a:lvl1pPr>
          </a:lstStyle>
          <a:p>
            <a:pPr lvl="0"/>
            <a:r>
              <a:rPr lang="en-US" noProof="0"/>
              <a:t>Click to edit Master text styles</a:t>
            </a:r>
          </a:p>
        </p:txBody>
      </p:sp>
      <p:sp>
        <p:nvSpPr>
          <p:cNvPr id="24" name="Espace réservé pour une image  17"/>
          <p:cNvSpPr>
            <a:spLocks noGrp="1"/>
          </p:cNvSpPr>
          <p:nvPr>
            <p:ph type="pic" sz="quarter" idx="18"/>
          </p:nvPr>
        </p:nvSpPr>
        <p:spPr bwMode="gray">
          <a:xfrm>
            <a:off x="4192588" y="0"/>
            <a:ext cx="4951412" cy="5162400"/>
          </a:xfrm>
          <a:custGeom>
            <a:avLst/>
            <a:gdLst>
              <a:gd name="connsiteX0" fmla="*/ 0 w 3851275"/>
              <a:gd name="connsiteY0" fmla="*/ 0 h 5157788"/>
              <a:gd name="connsiteX1" fmla="*/ 3851275 w 3851275"/>
              <a:gd name="connsiteY1" fmla="*/ 0 h 5157788"/>
              <a:gd name="connsiteX2" fmla="*/ 3851275 w 3851275"/>
              <a:gd name="connsiteY2" fmla="*/ 5157788 h 5157788"/>
              <a:gd name="connsiteX3" fmla="*/ 0 w 3851275"/>
              <a:gd name="connsiteY3" fmla="*/ 5157788 h 5157788"/>
              <a:gd name="connsiteX4" fmla="*/ 0 w 3851275"/>
              <a:gd name="connsiteY4"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0 w 3851275"/>
              <a:gd name="connsiteY3" fmla="*/ 5157788 h 5157788"/>
              <a:gd name="connsiteX4" fmla="*/ 1692275 w 3851275"/>
              <a:gd name="connsiteY4" fmla="*/ 0 h 5157788"/>
              <a:gd name="connsiteX0" fmla="*/ 0 w 2159000"/>
              <a:gd name="connsiteY0" fmla="*/ 0 h 5157788"/>
              <a:gd name="connsiteX1" fmla="*/ 2159000 w 2159000"/>
              <a:gd name="connsiteY1" fmla="*/ 0 h 5157788"/>
              <a:gd name="connsiteX2" fmla="*/ 2159000 w 2159000"/>
              <a:gd name="connsiteY2" fmla="*/ 5157788 h 5157788"/>
              <a:gd name="connsiteX3" fmla="*/ 0 w 2159000"/>
              <a:gd name="connsiteY3" fmla="*/ 5157788 h 5157788"/>
              <a:gd name="connsiteX4" fmla="*/ 0 w 2159000"/>
              <a:gd name="connsiteY4" fmla="*/ 0 h 5157788"/>
              <a:gd name="connsiteX0" fmla="*/ 2625271 w 4784271"/>
              <a:gd name="connsiteY0" fmla="*/ 0 h 5157788"/>
              <a:gd name="connsiteX1" fmla="*/ 4784271 w 4784271"/>
              <a:gd name="connsiteY1" fmla="*/ 0 h 5157788"/>
              <a:gd name="connsiteX2" fmla="*/ 4784271 w 4784271"/>
              <a:gd name="connsiteY2" fmla="*/ 5157788 h 5157788"/>
              <a:gd name="connsiteX3" fmla="*/ 2625271 w 4784271"/>
              <a:gd name="connsiteY3" fmla="*/ 5157788 h 5157788"/>
              <a:gd name="connsiteX4" fmla="*/ 2625271 w 4784271"/>
              <a:gd name="connsiteY4" fmla="*/ 0 h 5157788"/>
              <a:gd name="connsiteX0" fmla="*/ 2625271 w 4784271"/>
              <a:gd name="connsiteY0" fmla="*/ 0 h 5157788"/>
              <a:gd name="connsiteX1" fmla="*/ 4784271 w 4784271"/>
              <a:gd name="connsiteY1" fmla="*/ 0 h 5157788"/>
              <a:gd name="connsiteX2" fmla="*/ 4784271 w 4784271"/>
              <a:gd name="connsiteY2" fmla="*/ 5157788 h 5157788"/>
              <a:gd name="connsiteX3" fmla="*/ 2625271 w 4784271"/>
              <a:gd name="connsiteY3" fmla="*/ 5157788 h 5157788"/>
              <a:gd name="connsiteX4" fmla="*/ 2625271 w 4784271"/>
              <a:gd name="connsiteY4" fmla="*/ 0 h 5157788"/>
              <a:gd name="connsiteX0" fmla="*/ 3568576 w 5727576"/>
              <a:gd name="connsiteY0" fmla="*/ 0 h 5157788"/>
              <a:gd name="connsiteX1" fmla="*/ 5727576 w 5727576"/>
              <a:gd name="connsiteY1" fmla="*/ 0 h 5157788"/>
              <a:gd name="connsiteX2" fmla="*/ 5727576 w 5727576"/>
              <a:gd name="connsiteY2" fmla="*/ 5157788 h 5157788"/>
              <a:gd name="connsiteX3" fmla="*/ 3568576 w 5727576"/>
              <a:gd name="connsiteY3" fmla="*/ 5157788 h 5157788"/>
              <a:gd name="connsiteX4" fmla="*/ 3568576 w 5727576"/>
              <a:gd name="connsiteY4" fmla="*/ 0 h 5157788"/>
              <a:gd name="connsiteX0" fmla="*/ 3306355 w 5465355"/>
              <a:gd name="connsiteY0" fmla="*/ 0 h 5157788"/>
              <a:gd name="connsiteX1" fmla="*/ 5465355 w 5465355"/>
              <a:gd name="connsiteY1" fmla="*/ 0 h 5157788"/>
              <a:gd name="connsiteX2" fmla="*/ 5465355 w 5465355"/>
              <a:gd name="connsiteY2" fmla="*/ 5157788 h 5157788"/>
              <a:gd name="connsiteX3" fmla="*/ 3306355 w 5465355"/>
              <a:gd name="connsiteY3" fmla="*/ 5157788 h 5157788"/>
              <a:gd name="connsiteX4" fmla="*/ 3306355 w 5465355"/>
              <a:gd name="connsiteY4" fmla="*/ 0 h 5157788"/>
              <a:gd name="connsiteX0" fmla="*/ 1416957 w 3575957"/>
              <a:gd name="connsiteY0" fmla="*/ 0 h 5157788"/>
              <a:gd name="connsiteX1" fmla="*/ 3575957 w 3575957"/>
              <a:gd name="connsiteY1" fmla="*/ 0 h 5157788"/>
              <a:gd name="connsiteX2" fmla="*/ 3575957 w 3575957"/>
              <a:gd name="connsiteY2" fmla="*/ 5157788 h 5157788"/>
              <a:gd name="connsiteX3" fmla="*/ 1416957 w 3575957"/>
              <a:gd name="connsiteY3" fmla="*/ 5157788 h 5157788"/>
              <a:gd name="connsiteX4" fmla="*/ 0 w 3575957"/>
              <a:gd name="connsiteY4" fmla="*/ 3339193 h 5157788"/>
              <a:gd name="connsiteX5" fmla="*/ 1416957 w 3575957"/>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6017419"/>
              <a:gd name="connsiteX1" fmla="*/ 3851275 w 3851275"/>
              <a:gd name="connsiteY1" fmla="*/ 0 h 6017419"/>
              <a:gd name="connsiteX2" fmla="*/ 3851275 w 3851275"/>
              <a:gd name="connsiteY2" fmla="*/ 5157788 h 6017419"/>
              <a:gd name="connsiteX3" fmla="*/ 1692275 w 3851275"/>
              <a:gd name="connsiteY3" fmla="*/ 5157788 h 6017419"/>
              <a:gd name="connsiteX4" fmla="*/ 0 w 3851275"/>
              <a:gd name="connsiteY4" fmla="*/ 3284984 h 6017419"/>
              <a:gd name="connsiteX5" fmla="*/ 1692275 w 3851275"/>
              <a:gd name="connsiteY5" fmla="*/ 0 h 6017419"/>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429000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429000 h 5157788"/>
              <a:gd name="connsiteX5" fmla="*/ 1710871 w 3869871"/>
              <a:gd name="connsiteY5" fmla="*/ 0 h 5157788"/>
              <a:gd name="connsiteX0" fmla="*/ 1704975 w 3863975"/>
              <a:gd name="connsiteY0" fmla="*/ 0 h 5157788"/>
              <a:gd name="connsiteX1" fmla="*/ 3863975 w 3863975"/>
              <a:gd name="connsiteY1" fmla="*/ 0 h 5157788"/>
              <a:gd name="connsiteX2" fmla="*/ 3863975 w 3863975"/>
              <a:gd name="connsiteY2" fmla="*/ 5157788 h 5157788"/>
              <a:gd name="connsiteX3" fmla="*/ 1704975 w 3863975"/>
              <a:gd name="connsiteY3" fmla="*/ 5157788 h 5157788"/>
              <a:gd name="connsiteX4" fmla="*/ 12700 w 3863975"/>
              <a:gd name="connsiteY4" fmla="*/ 3429000 h 5157788"/>
              <a:gd name="connsiteX5" fmla="*/ 1704975 w 3863975"/>
              <a:gd name="connsiteY5" fmla="*/ 0 h 5157788"/>
              <a:gd name="connsiteX0" fmla="*/ 1707243 w 3866243"/>
              <a:gd name="connsiteY0" fmla="*/ 0 h 5157788"/>
              <a:gd name="connsiteX1" fmla="*/ 3866243 w 3866243"/>
              <a:gd name="connsiteY1" fmla="*/ 0 h 5157788"/>
              <a:gd name="connsiteX2" fmla="*/ 3866243 w 3866243"/>
              <a:gd name="connsiteY2" fmla="*/ 5157788 h 5157788"/>
              <a:gd name="connsiteX3" fmla="*/ 1707243 w 3866243"/>
              <a:gd name="connsiteY3" fmla="*/ 5157788 h 5157788"/>
              <a:gd name="connsiteX4" fmla="*/ 14968 w 3866243"/>
              <a:gd name="connsiteY4" fmla="*/ 3429000 h 5157788"/>
              <a:gd name="connsiteX5" fmla="*/ 1707243 w 3866243"/>
              <a:gd name="connsiteY5" fmla="*/ 0 h 5157788"/>
              <a:gd name="connsiteX0" fmla="*/ 1130447 w 3866243"/>
              <a:gd name="connsiteY0" fmla="*/ 0 h 5157788"/>
              <a:gd name="connsiteX1" fmla="*/ 3866243 w 3866243"/>
              <a:gd name="connsiteY1" fmla="*/ 0 h 5157788"/>
              <a:gd name="connsiteX2" fmla="*/ 3866243 w 3866243"/>
              <a:gd name="connsiteY2" fmla="*/ 5157788 h 5157788"/>
              <a:gd name="connsiteX3" fmla="*/ 1707243 w 3866243"/>
              <a:gd name="connsiteY3" fmla="*/ 5157788 h 5157788"/>
              <a:gd name="connsiteX4" fmla="*/ 14968 w 3866243"/>
              <a:gd name="connsiteY4" fmla="*/ 3429000 h 5157788"/>
              <a:gd name="connsiteX5" fmla="*/ 1130447 w 3866243"/>
              <a:gd name="connsiteY5" fmla="*/ 0 h 5157788"/>
              <a:gd name="connsiteX0" fmla="*/ 2746143 w 5481939"/>
              <a:gd name="connsiteY0" fmla="*/ 0 h 5157788"/>
              <a:gd name="connsiteX1" fmla="*/ 5481939 w 5481939"/>
              <a:gd name="connsiteY1" fmla="*/ 0 h 5157788"/>
              <a:gd name="connsiteX2" fmla="*/ 5481939 w 5481939"/>
              <a:gd name="connsiteY2" fmla="*/ 5157788 h 5157788"/>
              <a:gd name="connsiteX3" fmla="*/ 585903 w 5481939"/>
              <a:gd name="connsiteY3" fmla="*/ 5153180 h 5157788"/>
              <a:gd name="connsiteX4" fmla="*/ 1630664 w 5481939"/>
              <a:gd name="connsiteY4" fmla="*/ 3429000 h 5157788"/>
              <a:gd name="connsiteX5" fmla="*/ 2746143 w 5481939"/>
              <a:gd name="connsiteY5" fmla="*/ 0 h 5157788"/>
              <a:gd name="connsiteX0" fmla="*/ 2746143 w 5481939"/>
              <a:gd name="connsiteY0" fmla="*/ 0 h 5157788"/>
              <a:gd name="connsiteX1" fmla="*/ 5481939 w 5481939"/>
              <a:gd name="connsiteY1" fmla="*/ 0 h 5157788"/>
              <a:gd name="connsiteX2" fmla="*/ 5481939 w 5481939"/>
              <a:gd name="connsiteY2" fmla="*/ 5157788 h 5157788"/>
              <a:gd name="connsiteX3" fmla="*/ 585903 w 5481939"/>
              <a:gd name="connsiteY3" fmla="*/ 5153180 h 5157788"/>
              <a:gd name="connsiteX4" fmla="*/ 1630664 w 5481939"/>
              <a:gd name="connsiteY4" fmla="*/ 3429000 h 5157788"/>
              <a:gd name="connsiteX5" fmla="*/ 2746143 w 548193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3574235 w 6310031"/>
              <a:gd name="connsiteY0" fmla="*/ 0 h 5157788"/>
              <a:gd name="connsiteX1" fmla="*/ 6310031 w 6310031"/>
              <a:gd name="connsiteY1" fmla="*/ 0 h 5157788"/>
              <a:gd name="connsiteX2" fmla="*/ 6310031 w 6310031"/>
              <a:gd name="connsiteY2" fmla="*/ 5157788 h 5157788"/>
              <a:gd name="connsiteX3" fmla="*/ 585903 w 6310031"/>
              <a:gd name="connsiteY3" fmla="*/ 5153180 h 5157788"/>
              <a:gd name="connsiteX4" fmla="*/ 1738031 w 6310031"/>
              <a:gd name="connsiteY4" fmla="*/ 3389965 h 5157788"/>
              <a:gd name="connsiteX5" fmla="*/ 3574235 w 6310031"/>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296143 w 5724128"/>
              <a:gd name="connsiteY4" fmla="*/ 3461908 h 5157788"/>
              <a:gd name="connsiteX5" fmla="*/ 2988332 w 5724128"/>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1188132 w 5760132"/>
              <a:gd name="connsiteY4" fmla="*/ 3425937 h 5157788"/>
              <a:gd name="connsiteX5" fmla="*/ 3024336 w 5760132"/>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2736304 w 5760132"/>
              <a:gd name="connsiteY4" fmla="*/ 3461908 h 5157788"/>
              <a:gd name="connsiteX5" fmla="*/ 3024336 w 5760132"/>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2736304 w 5760132"/>
              <a:gd name="connsiteY4" fmla="*/ 3461908 h 5157788"/>
              <a:gd name="connsiteX5" fmla="*/ 3024336 w 5760132"/>
              <a:gd name="connsiteY5" fmla="*/ 0 h 5157788"/>
              <a:gd name="connsiteX0" fmla="*/ 2160240 w 4896036"/>
              <a:gd name="connsiteY0" fmla="*/ 0 h 5157788"/>
              <a:gd name="connsiteX1" fmla="*/ 4896036 w 4896036"/>
              <a:gd name="connsiteY1" fmla="*/ 0 h 5157788"/>
              <a:gd name="connsiteX2" fmla="*/ 4896036 w 4896036"/>
              <a:gd name="connsiteY2" fmla="*/ 5157788 h 5157788"/>
              <a:gd name="connsiteX3" fmla="*/ 0 w 4896036"/>
              <a:gd name="connsiteY3" fmla="*/ 5153180 h 5157788"/>
              <a:gd name="connsiteX4" fmla="*/ 1872208 w 4896036"/>
              <a:gd name="connsiteY4" fmla="*/ 3461908 h 5157788"/>
              <a:gd name="connsiteX5" fmla="*/ 2160240 w 4896036"/>
              <a:gd name="connsiteY5" fmla="*/ 0 h 5157788"/>
              <a:gd name="connsiteX0" fmla="*/ 2232248 w 4968044"/>
              <a:gd name="connsiteY0" fmla="*/ 0 h 5157788"/>
              <a:gd name="connsiteX1" fmla="*/ 4968044 w 4968044"/>
              <a:gd name="connsiteY1" fmla="*/ 0 h 5157788"/>
              <a:gd name="connsiteX2" fmla="*/ 4968044 w 4968044"/>
              <a:gd name="connsiteY2" fmla="*/ 5157788 h 5157788"/>
              <a:gd name="connsiteX3" fmla="*/ 0 w 4968044"/>
              <a:gd name="connsiteY3" fmla="*/ 5153180 h 5157788"/>
              <a:gd name="connsiteX4" fmla="*/ 1944216 w 4968044"/>
              <a:gd name="connsiteY4" fmla="*/ 3461908 h 5157788"/>
              <a:gd name="connsiteX5" fmla="*/ 2232248 w 4968044"/>
              <a:gd name="connsiteY5" fmla="*/ 0 h 5157788"/>
              <a:gd name="connsiteX0" fmla="*/ 2207679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207679 w 4943475"/>
              <a:gd name="connsiteY5" fmla="*/ 0 h 5157788"/>
              <a:gd name="connsiteX0" fmla="*/ 2963763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963763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092200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71575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343583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675731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675731 w 4943475"/>
              <a:gd name="connsiteY5" fmla="*/ 0 h 5157788"/>
              <a:gd name="connsiteX0" fmla="*/ 2675731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675731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9672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19672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51412" h="5157788">
                <a:moveTo>
                  <a:pt x="2706687" y="0"/>
                </a:moveTo>
                <a:lnTo>
                  <a:pt x="4951412" y="0"/>
                </a:lnTo>
                <a:lnTo>
                  <a:pt x="4951412" y="5157788"/>
                </a:lnTo>
                <a:lnTo>
                  <a:pt x="0" y="5153180"/>
                </a:lnTo>
                <a:cubicBezTo>
                  <a:pt x="84411" y="4542509"/>
                  <a:pt x="183041" y="4024723"/>
                  <a:pt x="1243508" y="2562613"/>
                </a:cubicBezTo>
                <a:cubicBezTo>
                  <a:pt x="1867447" y="1704780"/>
                  <a:pt x="2665955" y="709265"/>
                  <a:pt x="2706687" y="0"/>
                </a:cubicBezTo>
                <a:close/>
              </a:path>
            </a:pathLst>
          </a:custGeom>
          <a:solidFill>
            <a:schemeClr val="bg2"/>
          </a:solidFill>
          <a:ln w="3175">
            <a:noFill/>
          </a:ln>
        </p:spPr>
        <p:txBody>
          <a:bodyPr tIns="720000" rtlCol="0" anchor="ctr">
            <a:noAutofit/>
          </a:bodyPr>
          <a:lstStyle>
            <a:lvl1pPr algn="ctr">
              <a:defRPr sz="1500">
                <a:solidFill>
                  <a:schemeClr val="bg1"/>
                </a:solidFill>
              </a:defRPr>
            </a:lvl1pPr>
          </a:lstStyle>
          <a:p>
            <a:pPr lvl="0"/>
            <a:r>
              <a:rPr lang="en-US" noProof="0"/>
              <a:t>Click icon to add picture</a:t>
            </a:r>
          </a:p>
        </p:txBody>
      </p:sp>
      <p:sp>
        <p:nvSpPr>
          <p:cNvPr id="14" name="Espace réservé de la date 9"/>
          <p:cNvSpPr>
            <a:spLocks noGrp="1"/>
          </p:cNvSpPr>
          <p:nvPr>
            <p:ph type="dt" sz="half" idx="21"/>
          </p:nvPr>
        </p:nvSpPr>
        <p:spPr/>
        <p:txBody>
          <a:bodyPr/>
          <a:lstStyle>
            <a:lvl1pPr>
              <a:defRPr/>
            </a:lvl1pPr>
          </a:lstStyle>
          <a:p>
            <a:pPr>
              <a:defRPr/>
            </a:pPr>
            <a:r>
              <a:rPr lang="en-US">
                <a:solidFill>
                  <a:prstClr val="white">
                    <a:alpha val="0"/>
                  </a:prstClr>
                </a:solidFill>
              </a:rPr>
              <a:t>Date</a:t>
            </a:r>
          </a:p>
        </p:txBody>
      </p:sp>
      <p:sp>
        <p:nvSpPr>
          <p:cNvPr id="16" name="Espace réservé du numéro de diapositive 10"/>
          <p:cNvSpPr>
            <a:spLocks noGrp="1"/>
          </p:cNvSpPr>
          <p:nvPr>
            <p:ph type="sldNum" sz="quarter" idx="22"/>
          </p:nvPr>
        </p:nvSpPr>
        <p:spPr/>
        <p:txBody>
          <a:bodyPr/>
          <a:lstStyle>
            <a:lvl1pPr>
              <a:defRPr sz="100">
                <a:solidFill>
                  <a:schemeClr val="bg1">
                    <a:alpha val="0"/>
                  </a:schemeClr>
                </a:solidFill>
              </a:defRPr>
            </a:lvl1pPr>
          </a:lstStyle>
          <a:p>
            <a:pPr>
              <a:defRPr/>
            </a:pPr>
            <a:r>
              <a:rPr lang="en-US">
                <a:solidFill>
                  <a:prstClr val="white">
                    <a:alpha val="0"/>
                  </a:prstClr>
                </a:solidFill>
              </a:rPr>
              <a:t>Page: </a:t>
            </a:r>
            <a:fld id="{FBC781E1-DB0D-44EA-942B-52789A2EA6EC}" type="slidenum">
              <a:rPr lang="en-US">
                <a:solidFill>
                  <a:prstClr val="white">
                    <a:alpha val="0"/>
                  </a:prstClr>
                </a:solidFill>
              </a:rPr>
              <a:pPr>
                <a:defRPr/>
              </a:pPr>
              <a:t>‹#›</a:t>
            </a:fld>
            <a:endParaRPr lang="en-US">
              <a:solidFill>
                <a:prstClr val="white">
                  <a:alpha val="0"/>
                </a:prstClr>
              </a:solidFill>
            </a:endParaRPr>
          </a:p>
        </p:txBody>
      </p:sp>
      <p:sp>
        <p:nvSpPr>
          <p:cNvPr id="18" name="Espace réservé du pied de page 11"/>
          <p:cNvSpPr>
            <a:spLocks noGrp="1"/>
          </p:cNvSpPr>
          <p:nvPr>
            <p:ph type="ftr" sz="quarter" idx="23"/>
          </p:nvPr>
        </p:nvSpPr>
        <p:spPr>
          <a:xfrm>
            <a:off x="468313" y="523875"/>
            <a:ext cx="4824412" cy="360363"/>
          </a:xfrm>
        </p:spPr>
        <p:txBody>
          <a:bodyPr/>
          <a:lstStyle>
            <a:lvl1pPr algn="l">
              <a:defRPr sz="1800" b="0">
                <a:solidFill>
                  <a:schemeClr val="bg1"/>
                </a:solidFill>
              </a:defRPr>
            </a:lvl1pPr>
          </a:lstStyle>
          <a:p>
            <a:pPr>
              <a:defRPr/>
            </a:pPr>
            <a:r>
              <a:rPr lang="en-US">
                <a:solidFill>
                  <a:prstClr val="white"/>
                </a:solidFill>
              </a:rPr>
              <a:t>#</a:t>
            </a:r>
            <a:r>
              <a:rPr lang="en-US" err="1">
                <a:solidFill>
                  <a:prstClr val="white"/>
                </a:solidFill>
              </a:rPr>
              <a:t>vaccineswork</a:t>
            </a:r>
            <a:endParaRPr lang="en-US">
              <a:solidFill>
                <a:prstClr val="white"/>
              </a:solidFill>
            </a:endParaRPr>
          </a:p>
          <a:p>
            <a:pPr>
              <a:defRPr/>
            </a:pPr>
            <a:endParaRPr lang="en-US">
              <a:solidFill>
                <a:prstClr val="white"/>
              </a:solidFill>
            </a:endParaRPr>
          </a:p>
        </p:txBody>
      </p:sp>
    </p:spTree>
    <p:extLst>
      <p:ext uri="{BB962C8B-B14F-4D97-AF65-F5344CB8AC3E}">
        <p14:creationId xmlns:p14="http://schemas.microsoft.com/office/powerpoint/2010/main" val="1873783611"/>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Cover_Picture_2">
    <p:spTree>
      <p:nvGrpSpPr>
        <p:cNvPr id="1" name=""/>
        <p:cNvGrpSpPr/>
        <p:nvPr/>
      </p:nvGrpSpPr>
      <p:grpSpPr>
        <a:xfrm>
          <a:off x="0" y="0"/>
          <a:ext cx="0" cy="0"/>
          <a:chOff x="0" y="0"/>
          <a:chExt cx="0" cy="0"/>
        </a:xfrm>
      </p:grpSpPr>
      <p:pic>
        <p:nvPicPr>
          <p:cNvPr id="7" name="Image 20" descr="FD_1_L254.png"/>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gray">
          <a:xfrm>
            <a:off x="0" y="0"/>
            <a:ext cx="9144000" cy="51577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0" name="Rectangle 9"/>
          <p:cNvSpPr/>
          <p:nvPr userDrawn="1"/>
        </p:nvSpPr>
        <p:spPr bwMode="gray">
          <a:xfrm>
            <a:off x="3635375" y="5265738"/>
            <a:ext cx="5508625" cy="15922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prstClr val="white"/>
              </a:solidFill>
            </a:endParaRPr>
          </a:p>
        </p:txBody>
      </p:sp>
      <p:pic>
        <p:nvPicPr>
          <p:cNvPr id="11" name="Image 19" descr="Bas_couv.png"/>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gray">
          <a:xfrm>
            <a:off x="0" y="5172075"/>
            <a:ext cx="3635375" cy="16859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2" name="Rectangle 11"/>
          <p:cNvSpPr/>
          <p:nvPr userDrawn="1"/>
        </p:nvSpPr>
        <p:spPr bwMode="gray">
          <a:xfrm>
            <a:off x="3635375" y="6354763"/>
            <a:ext cx="5113338" cy="2873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p>
            <a:pPr algn="r">
              <a:defRPr/>
            </a:pPr>
            <a:r>
              <a:rPr lang="en-US" sz="1000" err="1">
                <a:solidFill>
                  <a:srgbClr val="95D600"/>
                </a:solidFill>
              </a:rPr>
              <a:t>www.gavi.org</a:t>
            </a:r>
            <a:endParaRPr lang="en-US" sz="1000">
              <a:solidFill>
                <a:srgbClr val="95D600"/>
              </a:solidFill>
            </a:endParaRPr>
          </a:p>
        </p:txBody>
      </p:sp>
      <p:cxnSp>
        <p:nvCxnSpPr>
          <p:cNvPr id="13" name="Connecteur droit 13"/>
          <p:cNvCxnSpPr/>
          <p:nvPr userDrawn="1"/>
        </p:nvCxnSpPr>
        <p:spPr bwMode="gray">
          <a:xfrm flipH="1">
            <a:off x="468313" y="3402013"/>
            <a:ext cx="2447925" cy="0"/>
          </a:xfrm>
          <a:prstGeom prst="line">
            <a:avLst/>
          </a:prstGeom>
          <a:ln w="24130">
            <a:solidFill>
              <a:schemeClr val="accent1"/>
            </a:solidFill>
          </a:ln>
        </p:spPr>
        <p:style>
          <a:lnRef idx="1">
            <a:schemeClr val="accent1"/>
          </a:lnRef>
          <a:fillRef idx="0">
            <a:schemeClr val="accent1"/>
          </a:fillRef>
          <a:effectRef idx="0">
            <a:schemeClr val="accent1"/>
          </a:effectRef>
          <a:fontRef idx="minor">
            <a:schemeClr val="tx1"/>
          </a:fontRef>
        </p:style>
      </p:cxnSp>
      <p:sp>
        <p:nvSpPr>
          <p:cNvPr id="9" name="Espace réservé du texte 8"/>
          <p:cNvSpPr>
            <a:spLocks noGrp="1"/>
          </p:cNvSpPr>
          <p:nvPr>
            <p:ph type="body" sz="quarter" idx="13"/>
          </p:nvPr>
        </p:nvSpPr>
        <p:spPr bwMode="gray">
          <a:xfrm>
            <a:off x="468000" y="1036800"/>
            <a:ext cx="4824412" cy="2232000"/>
          </a:xfrm>
        </p:spPr>
        <p:txBody>
          <a:bodyPr anchor="b"/>
          <a:lstStyle>
            <a:lvl1pPr marL="0" indent="0" algn="l">
              <a:lnSpc>
                <a:spcPct val="90000"/>
              </a:lnSpc>
              <a:buNone/>
              <a:defRPr sz="2800" b="1" cap="none" baseline="0">
                <a:solidFill>
                  <a:schemeClr val="bg1"/>
                </a:solidFill>
              </a:defRPr>
            </a:lvl1pPr>
            <a:lvl2pPr marL="0" algn="ctr">
              <a:lnSpc>
                <a:spcPct val="100000"/>
              </a:lnSpc>
              <a:spcBef>
                <a:spcPts val="6900"/>
              </a:spcBef>
              <a:defRPr sz="2000" b="1">
                <a:solidFill>
                  <a:schemeClr val="bg1"/>
                </a:solidFill>
              </a:defRPr>
            </a:lvl2pPr>
          </a:lstStyle>
          <a:p>
            <a:pPr lvl="0"/>
            <a:r>
              <a:rPr lang="en-US" noProof="0"/>
              <a:t>Click to edit Master text styles</a:t>
            </a:r>
          </a:p>
        </p:txBody>
      </p:sp>
      <p:sp>
        <p:nvSpPr>
          <p:cNvPr id="8" name="Espace réservé du texte 8"/>
          <p:cNvSpPr>
            <a:spLocks noGrp="1"/>
          </p:cNvSpPr>
          <p:nvPr>
            <p:ph type="body" sz="quarter" idx="14"/>
          </p:nvPr>
        </p:nvSpPr>
        <p:spPr bwMode="gray">
          <a:xfrm>
            <a:off x="468314" y="3585600"/>
            <a:ext cx="3592800" cy="1479600"/>
          </a:xfrm>
        </p:spPr>
        <p:txBody>
          <a:bodyPr/>
          <a:lstStyle>
            <a:lvl1pPr marL="0" indent="0" algn="l">
              <a:lnSpc>
                <a:spcPct val="90000"/>
              </a:lnSpc>
              <a:buNone/>
              <a:defRPr sz="2000" b="0" baseline="0">
                <a:solidFill>
                  <a:schemeClr val="bg1"/>
                </a:solidFill>
              </a:defRPr>
            </a:lvl1pPr>
            <a:lvl2pPr marL="0" algn="ctr">
              <a:lnSpc>
                <a:spcPct val="100000"/>
              </a:lnSpc>
              <a:spcBef>
                <a:spcPts val="6900"/>
              </a:spcBef>
              <a:defRPr sz="2000" b="1">
                <a:solidFill>
                  <a:schemeClr val="bg1"/>
                </a:solidFill>
              </a:defRPr>
            </a:lvl2pPr>
          </a:lstStyle>
          <a:p>
            <a:pPr lvl="0"/>
            <a:r>
              <a:rPr lang="en-US" noProof="0"/>
              <a:t>Click to edit Master text styles</a:t>
            </a:r>
          </a:p>
        </p:txBody>
      </p:sp>
      <p:sp>
        <p:nvSpPr>
          <p:cNvPr id="15" name="Espace réservé du texte 14"/>
          <p:cNvSpPr>
            <a:spLocks noGrp="1"/>
          </p:cNvSpPr>
          <p:nvPr>
            <p:ph type="body" sz="quarter" idx="19"/>
          </p:nvPr>
        </p:nvSpPr>
        <p:spPr bwMode="gray">
          <a:xfrm>
            <a:off x="3635376" y="6021388"/>
            <a:ext cx="5113338" cy="324000"/>
          </a:xfrm>
        </p:spPr>
        <p:txBody>
          <a:bodyPr anchor="b"/>
          <a:lstStyle>
            <a:lvl1pPr algn="r">
              <a:lnSpc>
                <a:spcPct val="100000"/>
              </a:lnSpc>
              <a:defRPr sz="1000" b="1">
                <a:solidFill>
                  <a:schemeClr val="accent3"/>
                </a:solidFill>
              </a:defRPr>
            </a:lvl1pPr>
          </a:lstStyle>
          <a:p>
            <a:pPr lvl="0"/>
            <a:r>
              <a:rPr lang="en-US" noProof="0"/>
              <a:t>Click to edit Master text styles</a:t>
            </a:r>
          </a:p>
        </p:txBody>
      </p:sp>
      <p:sp>
        <p:nvSpPr>
          <p:cNvPr id="17" name="Espace réservé du texte 16"/>
          <p:cNvSpPr>
            <a:spLocks noGrp="1"/>
          </p:cNvSpPr>
          <p:nvPr>
            <p:ph type="body" sz="quarter" idx="20"/>
          </p:nvPr>
        </p:nvSpPr>
        <p:spPr bwMode="gray">
          <a:xfrm>
            <a:off x="0" y="5157788"/>
            <a:ext cx="9144000" cy="287337"/>
          </a:xfrm>
          <a:solidFill>
            <a:schemeClr val="bg1"/>
          </a:solidFill>
        </p:spPr>
        <p:txBody>
          <a:bodyPr/>
          <a:lstStyle>
            <a:lvl1pPr>
              <a:defRPr sz="100" b="0">
                <a:solidFill>
                  <a:schemeClr val="bg1">
                    <a:alpha val="0"/>
                  </a:schemeClr>
                </a:solidFill>
              </a:defRPr>
            </a:lvl1pPr>
          </a:lstStyle>
          <a:p>
            <a:pPr lvl="0"/>
            <a:r>
              <a:rPr lang="en-US" noProof="0"/>
              <a:t>Click to edit Master text styles</a:t>
            </a:r>
          </a:p>
        </p:txBody>
      </p:sp>
      <p:sp>
        <p:nvSpPr>
          <p:cNvPr id="18" name="Espace réservé pour une image  17"/>
          <p:cNvSpPr>
            <a:spLocks noGrp="1"/>
          </p:cNvSpPr>
          <p:nvPr>
            <p:ph type="pic" sz="quarter" idx="18"/>
          </p:nvPr>
        </p:nvSpPr>
        <p:spPr bwMode="gray">
          <a:xfrm>
            <a:off x="4192588" y="0"/>
            <a:ext cx="4951412" cy="5162400"/>
          </a:xfrm>
          <a:custGeom>
            <a:avLst/>
            <a:gdLst>
              <a:gd name="connsiteX0" fmla="*/ 0 w 3851275"/>
              <a:gd name="connsiteY0" fmla="*/ 0 h 5157788"/>
              <a:gd name="connsiteX1" fmla="*/ 3851275 w 3851275"/>
              <a:gd name="connsiteY1" fmla="*/ 0 h 5157788"/>
              <a:gd name="connsiteX2" fmla="*/ 3851275 w 3851275"/>
              <a:gd name="connsiteY2" fmla="*/ 5157788 h 5157788"/>
              <a:gd name="connsiteX3" fmla="*/ 0 w 3851275"/>
              <a:gd name="connsiteY3" fmla="*/ 5157788 h 5157788"/>
              <a:gd name="connsiteX4" fmla="*/ 0 w 3851275"/>
              <a:gd name="connsiteY4"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0 w 3851275"/>
              <a:gd name="connsiteY3" fmla="*/ 5157788 h 5157788"/>
              <a:gd name="connsiteX4" fmla="*/ 1692275 w 3851275"/>
              <a:gd name="connsiteY4" fmla="*/ 0 h 5157788"/>
              <a:gd name="connsiteX0" fmla="*/ 0 w 2159000"/>
              <a:gd name="connsiteY0" fmla="*/ 0 h 5157788"/>
              <a:gd name="connsiteX1" fmla="*/ 2159000 w 2159000"/>
              <a:gd name="connsiteY1" fmla="*/ 0 h 5157788"/>
              <a:gd name="connsiteX2" fmla="*/ 2159000 w 2159000"/>
              <a:gd name="connsiteY2" fmla="*/ 5157788 h 5157788"/>
              <a:gd name="connsiteX3" fmla="*/ 0 w 2159000"/>
              <a:gd name="connsiteY3" fmla="*/ 5157788 h 5157788"/>
              <a:gd name="connsiteX4" fmla="*/ 0 w 2159000"/>
              <a:gd name="connsiteY4" fmla="*/ 0 h 5157788"/>
              <a:gd name="connsiteX0" fmla="*/ 2625271 w 4784271"/>
              <a:gd name="connsiteY0" fmla="*/ 0 h 5157788"/>
              <a:gd name="connsiteX1" fmla="*/ 4784271 w 4784271"/>
              <a:gd name="connsiteY1" fmla="*/ 0 h 5157788"/>
              <a:gd name="connsiteX2" fmla="*/ 4784271 w 4784271"/>
              <a:gd name="connsiteY2" fmla="*/ 5157788 h 5157788"/>
              <a:gd name="connsiteX3" fmla="*/ 2625271 w 4784271"/>
              <a:gd name="connsiteY3" fmla="*/ 5157788 h 5157788"/>
              <a:gd name="connsiteX4" fmla="*/ 2625271 w 4784271"/>
              <a:gd name="connsiteY4" fmla="*/ 0 h 5157788"/>
              <a:gd name="connsiteX0" fmla="*/ 2625271 w 4784271"/>
              <a:gd name="connsiteY0" fmla="*/ 0 h 5157788"/>
              <a:gd name="connsiteX1" fmla="*/ 4784271 w 4784271"/>
              <a:gd name="connsiteY1" fmla="*/ 0 h 5157788"/>
              <a:gd name="connsiteX2" fmla="*/ 4784271 w 4784271"/>
              <a:gd name="connsiteY2" fmla="*/ 5157788 h 5157788"/>
              <a:gd name="connsiteX3" fmla="*/ 2625271 w 4784271"/>
              <a:gd name="connsiteY3" fmla="*/ 5157788 h 5157788"/>
              <a:gd name="connsiteX4" fmla="*/ 2625271 w 4784271"/>
              <a:gd name="connsiteY4" fmla="*/ 0 h 5157788"/>
              <a:gd name="connsiteX0" fmla="*/ 3568576 w 5727576"/>
              <a:gd name="connsiteY0" fmla="*/ 0 h 5157788"/>
              <a:gd name="connsiteX1" fmla="*/ 5727576 w 5727576"/>
              <a:gd name="connsiteY1" fmla="*/ 0 h 5157788"/>
              <a:gd name="connsiteX2" fmla="*/ 5727576 w 5727576"/>
              <a:gd name="connsiteY2" fmla="*/ 5157788 h 5157788"/>
              <a:gd name="connsiteX3" fmla="*/ 3568576 w 5727576"/>
              <a:gd name="connsiteY3" fmla="*/ 5157788 h 5157788"/>
              <a:gd name="connsiteX4" fmla="*/ 3568576 w 5727576"/>
              <a:gd name="connsiteY4" fmla="*/ 0 h 5157788"/>
              <a:gd name="connsiteX0" fmla="*/ 3306355 w 5465355"/>
              <a:gd name="connsiteY0" fmla="*/ 0 h 5157788"/>
              <a:gd name="connsiteX1" fmla="*/ 5465355 w 5465355"/>
              <a:gd name="connsiteY1" fmla="*/ 0 h 5157788"/>
              <a:gd name="connsiteX2" fmla="*/ 5465355 w 5465355"/>
              <a:gd name="connsiteY2" fmla="*/ 5157788 h 5157788"/>
              <a:gd name="connsiteX3" fmla="*/ 3306355 w 5465355"/>
              <a:gd name="connsiteY3" fmla="*/ 5157788 h 5157788"/>
              <a:gd name="connsiteX4" fmla="*/ 3306355 w 5465355"/>
              <a:gd name="connsiteY4" fmla="*/ 0 h 5157788"/>
              <a:gd name="connsiteX0" fmla="*/ 1416957 w 3575957"/>
              <a:gd name="connsiteY0" fmla="*/ 0 h 5157788"/>
              <a:gd name="connsiteX1" fmla="*/ 3575957 w 3575957"/>
              <a:gd name="connsiteY1" fmla="*/ 0 h 5157788"/>
              <a:gd name="connsiteX2" fmla="*/ 3575957 w 3575957"/>
              <a:gd name="connsiteY2" fmla="*/ 5157788 h 5157788"/>
              <a:gd name="connsiteX3" fmla="*/ 1416957 w 3575957"/>
              <a:gd name="connsiteY3" fmla="*/ 5157788 h 5157788"/>
              <a:gd name="connsiteX4" fmla="*/ 0 w 3575957"/>
              <a:gd name="connsiteY4" fmla="*/ 3339193 h 5157788"/>
              <a:gd name="connsiteX5" fmla="*/ 1416957 w 3575957"/>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6017419"/>
              <a:gd name="connsiteX1" fmla="*/ 3851275 w 3851275"/>
              <a:gd name="connsiteY1" fmla="*/ 0 h 6017419"/>
              <a:gd name="connsiteX2" fmla="*/ 3851275 w 3851275"/>
              <a:gd name="connsiteY2" fmla="*/ 5157788 h 6017419"/>
              <a:gd name="connsiteX3" fmla="*/ 1692275 w 3851275"/>
              <a:gd name="connsiteY3" fmla="*/ 5157788 h 6017419"/>
              <a:gd name="connsiteX4" fmla="*/ 0 w 3851275"/>
              <a:gd name="connsiteY4" fmla="*/ 3284984 h 6017419"/>
              <a:gd name="connsiteX5" fmla="*/ 1692275 w 3851275"/>
              <a:gd name="connsiteY5" fmla="*/ 0 h 6017419"/>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429000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429000 h 5157788"/>
              <a:gd name="connsiteX5" fmla="*/ 1710871 w 3869871"/>
              <a:gd name="connsiteY5" fmla="*/ 0 h 5157788"/>
              <a:gd name="connsiteX0" fmla="*/ 1704975 w 3863975"/>
              <a:gd name="connsiteY0" fmla="*/ 0 h 5157788"/>
              <a:gd name="connsiteX1" fmla="*/ 3863975 w 3863975"/>
              <a:gd name="connsiteY1" fmla="*/ 0 h 5157788"/>
              <a:gd name="connsiteX2" fmla="*/ 3863975 w 3863975"/>
              <a:gd name="connsiteY2" fmla="*/ 5157788 h 5157788"/>
              <a:gd name="connsiteX3" fmla="*/ 1704975 w 3863975"/>
              <a:gd name="connsiteY3" fmla="*/ 5157788 h 5157788"/>
              <a:gd name="connsiteX4" fmla="*/ 12700 w 3863975"/>
              <a:gd name="connsiteY4" fmla="*/ 3429000 h 5157788"/>
              <a:gd name="connsiteX5" fmla="*/ 1704975 w 3863975"/>
              <a:gd name="connsiteY5" fmla="*/ 0 h 5157788"/>
              <a:gd name="connsiteX0" fmla="*/ 1707243 w 3866243"/>
              <a:gd name="connsiteY0" fmla="*/ 0 h 5157788"/>
              <a:gd name="connsiteX1" fmla="*/ 3866243 w 3866243"/>
              <a:gd name="connsiteY1" fmla="*/ 0 h 5157788"/>
              <a:gd name="connsiteX2" fmla="*/ 3866243 w 3866243"/>
              <a:gd name="connsiteY2" fmla="*/ 5157788 h 5157788"/>
              <a:gd name="connsiteX3" fmla="*/ 1707243 w 3866243"/>
              <a:gd name="connsiteY3" fmla="*/ 5157788 h 5157788"/>
              <a:gd name="connsiteX4" fmla="*/ 14968 w 3866243"/>
              <a:gd name="connsiteY4" fmla="*/ 3429000 h 5157788"/>
              <a:gd name="connsiteX5" fmla="*/ 1707243 w 3866243"/>
              <a:gd name="connsiteY5" fmla="*/ 0 h 5157788"/>
              <a:gd name="connsiteX0" fmla="*/ 1130447 w 3866243"/>
              <a:gd name="connsiteY0" fmla="*/ 0 h 5157788"/>
              <a:gd name="connsiteX1" fmla="*/ 3866243 w 3866243"/>
              <a:gd name="connsiteY1" fmla="*/ 0 h 5157788"/>
              <a:gd name="connsiteX2" fmla="*/ 3866243 w 3866243"/>
              <a:gd name="connsiteY2" fmla="*/ 5157788 h 5157788"/>
              <a:gd name="connsiteX3" fmla="*/ 1707243 w 3866243"/>
              <a:gd name="connsiteY3" fmla="*/ 5157788 h 5157788"/>
              <a:gd name="connsiteX4" fmla="*/ 14968 w 3866243"/>
              <a:gd name="connsiteY4" fmla="*/ 3429000 h 5157788"/>
              <a:gd name="connsiteX5" fmla="*/ 1130447 w 3866243"/>
              <a:gd name="connsiteY5" fmla="*/ 0 h 5157788"/>
              <a:gd name="connsiteX0" fmla="*/ 2746143 w 5481939"/>
              <a:gd name="connsiteY0" fmla="*/ 0 h 5157788"/>
              <a:gd name="connsiteX1" fmla="*/ 5481939 w 5481939"/>
              <a:gd name="connsiteY1" fmla="*/ 0 h 5157788"/>
              <a:gd name="connsiteX2" fmla="*/ 5481939 w 5481939"/>
              <a:gd name="connsiteY2" fmla="*/ 5157788 h 5157788"/>
              <a:gd name="connsiteX3" fmla="*/ 585903 w 5481939"/>
              <a:gd name="connsiteY3" fmla="*/ 5153180 h 5157788"/>
              <a:gd name="connsiteX4" fmla="*/ 1630664 w 5481939"/>
              <a:gd name="connsiteY4" fmla="*/ 3429000 h 5157788"/>
              <a:gd name="connsiteX5" fmla="*/ 2746143 w 5481939"/>
              <a:gd name="connsiteY5" fmla="*/ 0 h 5157788"/>
              <a:gd name="connsiteX0" fmla="*/ 2746143 w 5481939"/>
              <a:gd name="connsiteY0" fmla="*/ 0 h 5157788"/>
              <a:gd name="connsiteX1" fmla="*/ 5481939 w 5481939"/>
              <a:gd name="connsiteY1" fmla="*/ 0 h 5157788"/>
              <a:gd name="connsiteX2" fmla="*/ 5481939 w 5481939"/>
              <a:gd name="connsiteY2" fmla="*/ 5157788 h 5157788"/>
              <a:gd name="connsiteX3" fmla="*/ 585903 w 5481939"/>
              <a:gd name="connsiteY3" fmla="*/ 5153180 h 5157788"/>
              <a:gd name="connsiteX4" fmla="*/ 1630664 w 5481939"/>
              <a:gd name="connsiteY4" fmla="*/ 3429000 h 5157788"/>
              <a:gd name="connsiteX5" fmla="*/ 2746143 w 548193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3574235 w 6310031"/>
              <a:gd name="connsiteY0" fmla="*/ 0 h 5157788"/>
              <a:gd name="connsiteX1" fmla="*/ 6310031 w 6310031"/>
              <a:gd name="connsiteY1" fmla="*/ 0 h 5157788"/>
              <a:gd name="connsiteX2" fmla="*/ 6310031 w 6310031"/>
              <a:gd name="connsiteY2" fmla="*/ 5157788 h 5157788"/>
              <a:gd name="connsiteX3" fmla="*/ 585903 w 6310031"/>
              <a:gd name="connsiteY3" fmla="*/ 5153180 h 5157788"/>
              <a:gd name="connsiteX4" fmla="*/ 1738031 w 6310031"/>
              <a:gd name="connsiteY4" fmla="*/ 3389965 h 5157788"/>
              <a:gd name="connsiteX5" fmla="*/ 3574235 w 6310031"/>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296143 w 5724128"/>
              <a:gd name="connsiteY4" fmla="*/ 3461908 h 5157788"/>
              <a:gd name="connsiteX5" fmla="*/ 2988332 w 5724128"/>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1188132 w 5760132"/>
              <a:gd name="connsiteY4" fmla="*/ 3425937 h 5157788"/>
              <a:gd name="connsiteX5" fmla="*/ 3024336 w 5760132"/>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2736304 w 5760132"/>
              <a:gd name="connsiteY4" fmla="*/ 3461908 h 5157788"/>
              <a:gd name="connsiteX5" fmla="*/ 3024336 w 5760132"/>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2736304 w 5760132"/>
              <a:gd name="connsiteY4" fmla="*/ 3461908 h 5157788"/>
              <a:gd name="connsiteX5" fmla="*/ 3024336 w 5760132"/>
              <a:gd name="connsiteY5" fmla="*/ 0 h 5157788"/>
              <a:gd name="connsiteX0" fmla="*/ 2160240 w 4896036"/>
              <a:gd name="connsiteY0" fmla="*/ 0 h 5157788"/>
              <a:gd name="connsiteX1" fmla="*/ 4896036 w 4896036"/>
              <a:gd name="connsiteY1" fmla="*/ 0 h 5157788"/>
              <a:gd name="connsiteX2" fmla="*/ 4896036 w 4896036"/>
              <a:gd name="connsiteY2" fmla="*/ 5157788 h 5157788"/>
              <a:gd name="connsiteX3" fmla="*/ 0 w 4896036"/>
              <a:gd name="connsiteY3" fmla="*/ 5153180 h 5157788"/>
              <a:gd name="connsiteX4" fmla="*/ 1872208 w 4896036"/>
              <a:gd name="connsiteY4" fmla="*/ 3461908 h 5157788"/>
              <a:gd name="connsiteX5" fmla="*/ 2160240 w 4896036"/>
              <a:gd name="connsiteY5" fmla="*/ 0 h 5157788"/>
              <a:gd name="connsiteX0" fmla="*/ 2232248 w 4968044"/>
              <a:gd name="connsiteY0" fmla="*/ 0 h 5157788"/>
              <a:gd name="connsiteX1" fmla="*/ 4968044 w 4968044"/>
              <a:gd name="connsiteY1" fmla="*/ 0 h 5157788"/>
              <a:gd name="connsiteX2" fmla="*/ 4968044 w 4968044"/>
              <a:gd name="connsiteY2" fmla="*/ 5157788 h 5157788"/>
              <a:gd name="connsiteX3" fmla="*/ 0 w 4968044"/>
              <a:gd name="connsiteY3" fmla="*/ 5153180 h 5157788"/>
              <a:gd name="connsiteX4" fmla="*/ 1944216 w 4968044"/>
              <a:gd name="connsiteY4" fmla="*/ 3461908 h 5157788"/>
              <a:gd name="connsiteX5" fmla="*/ 2232248 w 4968044"/>
              <a:gd name="connsiteY5" fmla="*/ 0 h 5157788"/>
              <a:gd name="connsiteX0" fmla="*/ 2207679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207679 w 4943475"/>
              <a:gd name="connsiteY5" fmla="*/ 0 h 5157788"/>
              <a:gd name="connsiteX0" fmla="*/ 2963763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963763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092200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71575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343583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675731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675731 w 4943475"/>
              <a:gd name="connsiteY5" fmla="*/ 0 h 5157788"/>
              <a:gd name="connsiteX0" fmla="*/ 2675731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675731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9672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19672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51412" h="5157788">
                <a:moveTo>
                  <a:pt x="2706687" y="0"/>
                </a:moveTo>
                <a:lnTo>
                  <a:pt x="4951412" y="0"/>
                </a:lnTo>
                <a:lnTo>
                  <a:pt x="4951412" y="5157788"/>
                </a:lnTo>
                <a:lnTo>
                  <a:pt x="0" y="5153180"/>
                </a:lnTo>
                <a:cubicBezTo>
                  <a:pt x="84411" y="4542509"/>
                  <a:pt x="183041" y="4024723"/>
                  <a:pt x="1243508" y="2562613"/>
                </a:cubicBezTo>
                <a:cubicBezTo>
                  <a:pt x="1867447" y="1704780"/>
                  <a:pt x="2665955" y="709265"/>
                  <a:pt x="2706687" y="0"/>
                </a:cubicBezTo>
                <a:close/>
              </a:path>
            </a:pathLst>
          </a:custGeom>
          <a:solidFill>
            <a:schemeClr val="bg2"/>
          </a:solidFill>
          <a:ln w="3175">
            <a:noFill/>
          </a:ln>
        </p:spPr>
        <p:txBody>
          <a:bodyPr tIns="720000" rtlCol="0" anchor="ctr">
            <a:noAutofit/>
          </a:bodyPr>
          <a:lstStyle>
            <a:lvl1pPr algn="ctr">
              <a:defRPr sz="1500">
                <a:solidFill>
                  <a:schemeClr val="bg1"/>
                </a:solidFill>
              </a:defRPr>
            </a:lvl1pPr>
          </a:lstStyle>
          <a:p>
            <a:pPr lvl="0"/>
            <a:r>
              <a:rPr lang="en-US" noProof="0"/>
              <a:t>Click icon to add picture</a:t>
            </a:r>
          </a:p>
        </p:txBody>
      </p:sp>
      <p:sp>
        <p:nvSpPr>
          <p:cNvPr id="14" name="Espace réservé de la date 9"/>
          <p:cNvSpPr>
            <a:spLocks noGrp="1"/>
          </p:cNvSpPr>
          <p:nvPr>
            <p:ph type="dt" sz="half" idx="21"/>
          </p:nvPr>
        </p:nvSpPr>
        <p:spPr/>
        <p:txBody>
          <a:bodyPr/>
          <a:lstStyle>
            <a:lvl1pPr>
              <a:defRPr/>
            </a:lvl1pPr>
          </a:lstStyle>
          <a:p>
            <a:pPr>
              <a:defRPr/>
            </a:pPr>
            <a:r>
              <a:rPr lang="en-US">
                <a:solidFill>
                  <a:prstClr val="white">
                    <a:alpha val="0"/>
                  </a:prstClr>
                </a:solidFill>
              </a:rPr>
              <a:t>Date</a:t>
            </a:r>
          </a:p>
        </p:txBody>
      </p:sp>
      <p:sp>
        <p:nvSpPr>
          <p:cNvPr id="16" name="Espace réservé du numéro de diapositive 10"/>
          <p:cNvSpPr>
            <a:spLocks noGrp="1"/>
          </p:cNvSpPr>
          <p:nvPr>
            <p:ph type="sldNum" sz="quarter" idx="22"/>
          </p:nvPr>
        </p:nvSpPr>
        <p:spPr/>
        <p:txBody>
          <a:bodyPr/>
          <a:lstStyle>
            <a:lvl1pPr>
              <a:defRPr sz="100">
                <a:solidFill>
                  <a:schemeClr val="bg1">
                    <a:alpha val="0"/>
                  </a:schemeClr>
                </a:solidFill>
              </a:defRPr>
            </a:lvl1pPr>
          </a:lstStyle>
          <a:p>
            <a:pPr>
              <a:defRPr/>
            </a:pPr>
            <a:r>
              <a:rPr lang="en-US">
                <a:solidFill>
                  <a:prstClr val="white">
                    <a:alpha val="0"/>
                  </a:prstClr>
                </a:solidFill>
              </a:rPr>
              <a:t>Page: </a:t>
            </a:r>
            <a:fld id="{A170035D-6B8C-439A-85EA-19B5ADE5A975}" type="slidenum">
              <a:rPr lang="en-US">
                <a:solidFill>
                  <a:prstClr val="white">
                    <a:alpha val="0"/>
                  </a:prstClr>
                </a:solidFill>
              </a:rPr>
              <a:pPr>
                <a:defRPr/>
              </a:pPr>
              <a:t>‹#›</a:t>
            </a:fld>
            <a:endParaRPr lang="en-US">
              <a:solidFill>
                <a:prstClr val="white">
                  <a:alpha val="0"/>
                </a:prstClr>
              </a:solidFill>
            </a:endParaRPr>
          </a:p>
        </p:txBody>
      </p:sp>
      <p:sp>
        <p:nvSpPr>
          <p:cNvPr id="19" name="Espace réservé du pied de page 11"/>
          <p:cNvSpPr>
            <a:spLocks noGrp="1"/>
          </p:cNvSpPr>
          <p:nvPr>
            <p:ph type="ftr" sz="quarter" idx="23"/>
          </p:nvPr>
        </p:nvSpPr>
        <p:spPr>
          <a:xfrm>
            <a:off x="468313" y="523875"/>
            <a:ext cx="4824412" cy="360363"/>
          </a:xfrm>
        </p:spPr>
        <p:txBody>
          <a:bodyPr/>
          <a:lstStyle>
            <a:lvl1pPr algn="l">
              <a:defRPr sz="1800" b="0">
                <a:solidFill>
                  <a:schemeClr val="bg1"/>
                </a:solidFill>
              </a:defRPr>
            </a:lvl1pPr>
          </a:lstStyle>
          <a:p>
            <a:pPr>
              <a:defRPr/>
            </a:pPr>
            <a:r>
              <a:rPr lang="en-US">
                <a:solidFill>
                  <a:prstClr val="white"/>
                </a:solidFill>
              </a:rPr>
              <a:t>#</a:t>
            </a:r>
            <a:r>
              <a:rPr lang="en-US" err="1">
                <a:solidFill>
                  <a:prstClr val="white"/>
                </a:solidFill>
              </a:rPr>
              <a:t>vaccineswork</a:t>
            </a:r>
            <a:endParaRPr lang="en-US">
              <a:solidFill>
                <a:prstClr val="white"/>
              </a:solidFill>
            </a:endParaRPr>
          </a:p>
        </p:txBody>
      </p:sp>
    </p:spTree>
    <p:extLst>
      <p:ext uri="{BB962C8B-B14F-4D97-AF65-F5344CB8AC3E}">
        <p14:creationId xmlns:p14="http://schemas.microsoft.com/office/powerpoint/2010/main" val="4072289218"/>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Chapter_Layout">
    <p:spTree>
      <p:nvGrpSpPr>
        <p:cNvPr id="1" name=""/>
        <p:cNvGrpSpPr/>
        <p:nvPr/>
      </p:nvGrpSpPr>
      <p:grpSpPr>
        <a:xfrm>
          <a:off x="0" y="0"/>
          <a:ext cx="0" cy="0"/>
          <a:chOff x="0" y="0"/>
          <a:chExt cx="0" cy="0"/>
        </a:xfrm>
      </p:grpSpPr>
      <p:pic>
        <p:nvPicPr>
          <p:cNvPr id="6" name="Image 17" descr="FD_03_chap_110x190,5.pn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gray">
          <a:xfrm>
            <a:off x="0" y="0"/>
            <a:ext cx="3959225" cy="68580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cxnSp>
        <p:nvCxnSpPr>
          <p:cNvPr id="7" name="Connecteur droit 14"/>
          <p:cNvCxnSpPr/>
          <p:nvPr userDrawn="1"/>
        </p:nvCxnSpPr>
        <p:spPr bwMode="gray">
          <a:xfrm flipH="1">
            <a:off x="3635375" y="2389188"/>
            <a:ext cx="1584325" cy="0"/>
          </a:xfrm>
          <a:prstGeom prst="line">
            <a:avLst/>
          </a:prstGeom>
          <a:ln w="24130">
            <a:solidFill>
              <a:schemeClr val="accent1"/>
            </a:solidFill>
          </a:ln>
        </p:spPr>
        <p:style>
          <a:lnRef idx="1">
            <a:schemeClr val="accent1"/>
          </a:lnRef>
          <a:fillRef idx="0">
            <a:schemeClr val="accent1"/>
          </a:fillRef>
          <a:effectRef idx="0">
            <a:schemeClr val="accent1"/>
          </a:effectRef>
          <a:fontRef idx="minor">
            <a:schemeClr val="tx1"/>
          </a:fontRef>
        </p:style>
      </p:cxnSp>
      <p:sp>
        <p:nvSpPr>
          <p:cNvPr id="2" name="Titre 1"/>
          <p:cNvSpPr>
            <a:spLocks noGrp="1"/>
          </p:cNvSpPr>
          <p:nvPr>
            <p:ph type="title"/>
          </p:nvPr>
        </p:nvSpPr>
        <p:spPr bwMode="gray">
          <a:xfrm>
            <a:off x="3635374" y="1036638"/>
            <a:ext cx="3263901" cy="1268759"/>
          </a:xfrm>
        </p:spPr>
        <p:txBody>
          <a:bodyPr/>
          <a:lstStyle/>
          <a:p>
            <a:r>
              <a:rPr lang="en-US" noProof="0"/>
              <a:t>Click to edit Master title style</a:t>
            </a:r>
          </a:p>
        </p:txBody>
      </p:sp>
      <p:sp>
        <p:nvSpPr>
          <p:cNvPr id="10" name="Espace réservé du texte 9"/>
          <p:cNvSpPr>
            <a:spLocks noGrp="1"/>
          </p:cNvSpPr>
          <p:nvPr>
            <p:ph type="body" sz="quarter" idx="13"/>
          </p:nvPr>
        </p:nvSpPr>
        <p:spPr bwMode="gray">
          <a:xfrm>
            <a:off x="3635376" y="2574000"/>
            <a:ext cx="3263900" cy="3447388"/>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Espace réservé du texte 9"/>
          <p:cNvSpPr>
            <a:spLocks noGrp="1"/>
          </p:cNvSpPr>
          <p:nvPr>
            <p:ph type="body" sz="quarter" idx="14"/>
          </p:nvPr>
        </p:nvSpPr>
        <p:spPr bwMode="gray">
          <a:xfrm>
            <a:off x="0" y="139974"/>
            <a:ext cx="2628000" cy="5017814"/>
          </a:xfrm>
        </p:spPr>
        <p:txBody>
          <a:bodyPr/>
          <a:lstStyle>
            <a:lvl1pPr algn="r">
              <a:defRPr sz="16600" b="1">
                <a:solidFill>
                  <a:schemeClr val="bg1"/>
                </a:solidFill>
              </a:defRPr>
            </a:lvl1pPr>
          </a:lstStyle>
          <a:p>
            <a:pPr lvl="0"/>
            <a:r>
              <a:rPr lang="en-US" noProof="0"/>
              <a:t>Click to edit Master text styles</a:t>
            </a:r>
          </a:p>
        </p:txBody>
      </p:sp>
      <p:sp>
        <p:nvSpPr>
          <p:cNvPr id="19" name="Espace réservé pour une image  17"/>
          <p:cNvSpPr>
            <a:spLocks noGrp="1"/>
          </p:cNvSpPr>
          <p:nvPr>
            <p:ph type="pic" sz="quarter" idx="18"/>
          </p:nvPr>
        </p:nvSpPr>
        <p:spPr bwMode="gray">
          <a:xfrm>
            <a:off x="7254332" y="132082"/>
            <a:ext cx="1899827" cy="5812641"/>
          </a:xfrm>
          <a:custGeom>
            <a:avLst/>
            <a:gdLst>
              <a:gd name="connsiteX0" fmla="*/ 0 w 3851275"/>
              <a:gd name="connsiteY0" fmla="*/ 0 h 5157788"/>
              <a:gd name="connsiteX1" fmla="*/ 3851275 w 3851275"/>
              <a:gd name="connsiteY1" fmla="*/ 0 h 5157788"/>
              <a:gd name="connsiteX2" fmla="*/ 3851275 w 3851275"/>
              <a:gd name="connsiteY2" fmla="*/ 5157788 h 5157788"/>
              <a:gd name="connsiteX3" fmla="*/ 0 w 3851275"/>
              <a:gd name="connsiteY3" fmla="*/ 5157788 h 5157788"/>
              <a:gd name="connsiteX4" fmla="*/ 0 w 3851275"/>
              <a:gd name="connsiteY4"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0 w 3851275"/>
              <a:gd name="connsiteY3" fmla="*/ 5157788 h 5157788"/>
              <a:gd name="connsiteX4" fmla="*/ 1692275 w 3851275"/>
              <a:gd name="connsiteY4" fmla="*/ 0 h 5157788"/>
              <a:gd name="connsiteX0" fmla="*/ 0 w 2159000"/>
              <a:gd name="connsiteY0" fmla="*/ 0 h 5157788"/>
              <a:gd name="connsiteX1" fmla="*/ 2159000 w 2159000"/>
              <a:gd name="connsiteY1" fmla="*/ 0 h 5157788"/>
              <a:gd name="connsiteX2" fmla="*/ 2159000 w 2159000"/>
              <a:gd name="connsiteY2" fmla="*/ 5157788 h 5157788"/>
              <a:gd name="connsiteX3" fmla="*/ 0 w 2159000"/>
              <a:gd name="connsiteY3" fmla="*/ 5157788 h 5157788"/>
              <a:gd name="connsiteX4" fmla="*/ 0 w 2159000"/>
              <a:gd name="connsiteY4" fmla="*/ 0 h 5157788"/>
              <a:gd name="connsiteX0" fmla="*/ 2625271 w 4784271"/>
              <a:gd name="connsiteY0" fmla="*/ 0 h 5157788"/>
              <a:gd name="connsiteX1" fmla="*/ 4784271 w 4784271"/>
              <a:gd name="connsiteY1" fmla="*/ 0 h 5157788"/>
              <a:gd name="connsiteX2" fmla="*/ 4784271 w 4784271"/>
              <a:gd name="connsiteY2" fmla="*/ 5157788 h 5157788"/>
              <a:gd name="connsiteX3" fmla="*/ 2625271 w 4784271"/>
              <a:gd name="connsiteY3" fmla="*/ 5157788 h 5157788"/>
              <a:gd name="connsiteX4" fmla="*/ 2625271 w 4784271"/>
              <a:gd name="connsiteY4" fmla="*/ 0 h 5157788"/>
              <a:gd name="connsiteX0" fmla="*/ 2625271 w 4784271"/>
              <a:gd name="connsiteY0" fmla="*/ 0 h 5157788"/>
              <a:gd name="connsiteX1" fmla="*/ 4784271 w 4784271"/>
              <a:gd name="connsiteY1" fmla="*/ 0 h 5157788"/>
              <a:gd name="connsiteX2" fmla="*/ 4784271 w 4784271"/>
              <a:gd name="connsiteY2" fmla="*/ 5157788 h 5157788"/>
              <a:gd name="connsiteX3" fmla="*/ 2625271 w 4784271"/>
              <a:gd name="connsiteY3" fmla="*/ 5157788 h 5157788"/>
              <a:gd name="connsiteX4" fmla="*/ 2625271 w 4784271"/>
              <a:gd name="connsiteY4" fmla="*/ 0 h 5157788"/>
              <a:gd name="connsiteX0" fmla="*/ 3568576 w 5727576"/>
              <a:gd name="connsiteY0" fmla="*/ 0 h 5157788"/>
              <a:gd name="connsiteX1" fmla="*/ 5727576 w 5727576"/>
              <a:gd name="connsiteY1" fmla="*/ 0 h 5157788"/>
              <a:gd name="connsiteX2" fmla="*/ 5727576 w 5727576"/>
              <a:gd name="connsiteY2" fmla="*/ 5157788 h 5157788"/>
              <a:gd name="connsiteX3" fmla="*/ 3568576 w 5727576"/>
              <a:gd name="connsiteY3" fmla="*/ 5157788 h 5157788"/>
              <a:gd name="connsiteX4" fmla="*/ 3568576 w 5727576"/>
              <a:gd name="connsiteY4" fmla="*/ 0 h 5157788"/>
              <a:gd name="connsiteX0" fmla="*/ 3306355 w 5465355"/>
              <a:gd name="connsiteY0" fmla="*/ 0 h 5157788"/>
              <a:gd name="connsiteX1" fmla="*/ 5465355 w 5465355"/>
              <a:gd name="connsiteY1" fmla="*/ 0 h 5157788"/>
              <a:gd name="connsiteX2" fmla="*/ 5465355 w 5465355"/>
              <a:gd name="connsiteY2" fmla="*/ 5157788 h 5157788"/>
              <a:gd name="connsiteX3" fmla="*/ 3306355 w 5465355"/>
              <a:gd name="connsiteY3" fmla="*/ 5157788 h 5157788"/>
              <a:gd name="connsiteX4" fmla="*/ 3306355 w 5465355"/>
              <a:gd name="connsiteY4" fmla="*/ 0 h 5157788"/>
              <a:gd name="connsiteX0" fmla="*/ 1416957 w 3575957"/>
              <a:gd name="connsiteY0" fmla="*/ 0 h 5157788"/>
              <a:gd name="connsiteX1" fmla="*/ 3575957 w 3575957"/>
              <a:gd name="connsiteY1" fmla="*/ 0 h 5157788"/>
              <a:gd name="connsiteX2" fmla="*/ 3575957 w 3575957"/>
              <a:gd name="connsiteY2" fmla="*/ 5157788 h 5157788"/>
              <a:gd name="connsiteX3" fmla="*/ 1416957 w 3575957"/>
              <a:gd name="connsiteY3" fmla="*/ 5157788 h 5157788"/>
              <a:gd name="connsiteX4" fmla="*/ 0 w 3575957"/>
              <a:gd name="connsiteY4" fmla="*/ 3339193 h 5157788"/>
              <a:gd name="connsiteX5" fmla="*/ 1416957 w 3575957"/>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6017419"/>
              <a:gd name="connsiteX1" fmla="*/ 3851275 w 3851275"/>
              <a:gd name="connsiteY1" fmla="*/ 0 h 6017419"/>
              <a:gd name="connsiteX2" fmla="*/ 3851275 w 3851275"/>
              <a:gd name="connsiteY2" fmla="*/ 5157788 h 6017419"/>
              <a:gd name="connsiteX3" fmla="*/ 1692275 w 3851275"/>
              <a:gd name="connsiteY3" fmla="*/ 5157788 h 6017419"/>
              <a:gd name="connsiteX4" fmla="*/ 0 w 3851275"/>
              <a:gd name="connsiteY4" fmla="*/ 3284984 h 6017419"/>
              <a:gd name="connsiteX5" fmla="*/ 1692275 w 3851275"/>
              <a:gd name="connsiteY5" fmla="*/ 0 h 6017419"/>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429000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429000 h 5157788"/>
              <a:gd name="connsiteX5" fmla="*/ 1710871 w 3869871"/>
              <a:gd name="connsiteY5" fmla="*/ 0 h 5157788"/>
              <a:gd name="connsiteX0" fmla="*/ 1704975 w 3863975"/>
              <a:gd name="connsiteY0" fmla="*/ 0 h 5157788"/>
              <a:gd name="connsiteX1" fmla="*/ 3863975 w 3863975"/>
              <a:gd name="connsiteY1" fmla="*/ 0 h 5157788"/>
              <a:gd name="connsiteX2" fmla="*/ 3863975 w 3863975"/>
              <a:gd name="connsiteY2" fmla="*/ 5157788 h 5157788"/>
              <a:gd name="connsiteX3" fmla="*/ 1704975 w 3863975"/>
              <a:gd name="connsiteY3" fmla="*/ 5157788 h 5157788"/>
              <a:gd name="connsiteX4" fmla="*/ 12700 w 3863975"/>
              <a:gd name="connsiteY4" fmla="*/ 3429000 h 5157788"/>
              <a:gd name="connsiteX5" fmla="*/ 1704975 w 3863975"/>
              <a:gd name="connsiteY5" fmla="*/ 0 h 5157788"/>
              <a:gd name="connsiteX0" fmla="*/ 1707243 w 3866243"/>
              <a:gd name="connsiteY0" fmla="*/ 0 h 5157788"/>
              <a:gd name="connsiteX1" fmla="*/ 3866243 w 3866243"/>
              <a:gd name="connsiteY1" fmla="*/ 0 h 5157788"/>
              <a:gd name="connsiteX2" fmla="*/ 3866243 w 3866243"/>
              <a:gd name="connsiteY2" fmla="*/ 5157788 h 5157788"/>
              <a:gd name="connsiteX3" fmla="*/ 1707243 w 3866243"/>
              <a:gd name="connsiteY3" fmla="*/ 5157788 h 5157788"/>
              <a:gd name="connsiteX4" fmla="*/ 14968 w 3866243"/>
              <a:gd name="connsiteY4" fmla="*/ 3429000 h 5157788"/>
              <a:gd name="connsiteX5" fmla="*/ 1707243 w 3866243"/>
              <a:gd name="connsiteY5" fmla="*/ 0 h 5157788"/>
              <a:gd name="connsiteX0" fmla="*/ 1130447 w 3866243"/>
              <a:gd name="connsiteY0" fmla="*/ 0 h 5157788"/>
              <a:gd name="connsiteX1" fmla="*/ 3866243 w 3866243"/>
              <a:gd name="connsiteY1" fmla="*/ 0 h 5157788"/>
              <a:gd name="connsiteX2" fmla="*/ 3866243 w 3866243"/>
              <a:gd name="connsiteY2" fmla="*/ 5157788 h 5157788"/>
              <a:gd name="connsiteX3" fmla="*/ 1707243 w 3866243"/>
              <a:gd name="connsiteY3" fmla="*/ 5157788 h 5157788"/>
              <a:gd name="connsiteX4" fmla="*/ 14968 w 3866243"/>
              <a:gd name="connsiteY4" fmla="*/ 3429000 h 5157788"/>
              <a:gd name="connsiteX5" fmla="*/ 1130447 w 3866243"/>
              <a:gd name="connsiteY5" fmla="*/ 0 h 5157788"/>
              <a:gd name="connsiteX0" fmla="*/ 2746143 w 5481939"/>
              <a:gd name="connsiteY0" fmla="*/ 0 h 5157788"/>
              <a:gd name="connsiteX1" fmla="*/ 5481939 w 5481939"/>
              <a:gd name="connsiteY1" fmla="*/ 0 h 5157788"/>
              <a:gd name="connsiteX2" fmla="*/ 5481939 w 5481939"/>
              <a:gd name="connsiteY2" fmla="*/ 5157788 h 5157788"/>
              <a:gd name="connsiteX3" fmla="*/ 585903 w 5481939"/>
              <a:gd name="connsiteY3" fmla="*/ 5153180 h 5157788"/>
              <a:gd name="connsiteX4" fmla="*/ 1630664 w 5481939"/>
              <a:gd name="connsiteY4" fmla="*/ 3429000 h 5157788"/>
              <a:gd name="connsiteX5" fmla="*/ 2746143 w 5481939"/>
              <a:gd name="connsiteY5" fmla="*/ 0 h 5157788"/>
              <a:gd name="connsiteX0" fmla="*/ 2746143 w 5481939"/>
              <a:gd name="connsiteY0" fmla="*/ 0 h 5157788"/>
              <a:gd name="connsiteX1" fmla="*/ 5481939 w 5481939"/>
              <a:gd name="connsiteY1" fmla="*/ 0 h 5157788"/>
              <a:gd name="connsiteX2" fmla="*/ 5481939 w 5481939"/>
              <a:gd name="connsiteY2" fmla="*/ 5157788 h 5157788"/>
              <a:gd name="connsiteX3" fmla="*/ 585903 w 5481939"/>
              <a:gd name="connsiteY3" fmla="*/ 5153180 h 5157788"/>
              <a:gd name="connsiteX4" fmla="*/ 1630664 w 5481939"/>
              <a:gd name="connsiteY4" fmla="*/ 3429000 h 5157788"/>
              <a:gd name="connsiteX5" fmla="*/ 2746143 w 548193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3574235 w 6310031"/>
              <a:gd name="connsiteY0" fmla="*/ 0 h 5157788"/>
              <a:gd name="connsiteX1" fmla="*/ 6310031 w 6310031"/>
              <a:gd name="connsiteY1" fmla="*/ 0 h 5157788"/>
              <a:gd name="connsiteX2" fmla="*/ 6310031 w 6310031"/>
              <a:gd name="connsiteY2" fmla="*/ 5157788 h 5157788"/>
              <a:gd name="connsiteX3" fmla="*/ 585903 w 6310031"/>
              <a:gd name="connsiteY3" fmla="*/ 5153180 h 5157788"/>
              <a:gd name="connsiteX4" fmla="*/ 1738031 w 6310031"/>
              <a:gd name="connsiteY4" fmla="*/ 3389965 h 5157788"/>
              <a:gd name="connsiteX5" fmla="*/ 3574235 w 6310031"/>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296143 w 5724128"/>
              <a:gd name="connsiteY4" fmla="*/ 3461908 h 5157788"/>
              <a:gd name="connsiteX5" fmla="*/ 2988332 w 5724128"/>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1188132 w 5760132"/>
              <a:gd name="connsiteY4" fmla="*/ 3425937 h 5157788"/>
              <a:gd name="connsiteX5" fmla="*/ 3024336 w 5760132"/>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2736304 w 5760132"/>
              <a:gd name="connsiteY4" fmla="*/ 3461908 h 5157788"/>
              <a:gd name="connsiteX5" fmla="*/ 3024336 w 5760132"/>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2736304 w 5760132"/>
              <a:gd name="connsiteY4" fmla="*/ 3461908 h 5157788"/>
              <a:gd name="connsiteX5" fmla="*/ 3024336 w 5760132"/>
              <a:gd name="connsiteY5" fmla="*/ 0 h 5157788"/>
              <a:gd name="connsiteX0" fmla="*/ 2160240 w 4896036"/>
              <a:gd name="connsiteY0" fmla="*/ 0 h 5157788"/>
              <a:gd name="connsiteX1" fmla="*/ 4896036 w 4896036"/>
              <a:gd name="connsiteY1" fmla="*/ 0 h 5157788"/>
              <a:gd name="connsiteX2" fmla="*/ 4896036 w 4896036"/>
              <a:gd name="connsiteY2" fmla="*/ 5157788 h 5157788"/>
              <a:gd name="connsiteX3" fmla="*/ 0 w 4896036"/>
              <a:gd name="connsiteY3" fmla="*/ 5153180 h 5157788"/>
              <a:gd name="connsiteX4" fmla="*/ 1872208 w 4896036"/>
              <a:gd name="connsiteY4" fmla="*/ 3461908 h 5157788"/>
              <a:gd name="connsiteX5" fmla="*/ 2160240 w 4896036"/>
              <a:gd name="connsiteY5" fmla="*/ 0 h 5157788"/>
              <a:gd name="connsiteX0" fmla="*/ 2232248 w 4968044"/>
              <a:gd name="connsiteY0" fmla="*/ 0 h 5157788"/>
              <a:gd name="connsiteX1" fmla="*/ 4968044 w 4968044"/>
              <a:gd name="connsiteY1" fmla="*/ 0 h 5157788"/>
              <a:gd name="connsiteX2" fmla="*/ 4968044 w 4968044"/>
              <a:gd name="connsiteY2" fmla="*/ 5157788 h 5157788"/>
              <a:gd name="connsiteX3" fmla="*/ 0 w 4968044"/>
              <a:gd name="connsiteY3" fmla="*/ 5153180 h 5157788"/>
              <a:gd name="connsiteX4" fmla="*/ 1944216 w 4968044"/>
              <a:gd name="connsiteY4" fmla="*/ 3461908 h 5157788"/>
              <a:gd name="connsiteX5" fmla="*/ 2232248 w 4968044"/>
              <a:gd name="connsiteY5" fmla="*/ 0 h 5157788"/>
              <a:gd name="connsiteX0" fmla="*/ 2207679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207679 w 4943475"/>
              <a:gd name="connsiteY5" fmla="*/ 0 h 5157788"/>
              <a:gd name="connsiteX0" fmla="*/ 2963763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963763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092200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71575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343583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675731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675731 w 4943475"/>
              <a:gd name="connsiteY5" fmla="*/ 0 h 5157788"/>
              <a:gd name="connsiteX0" fmla="*/ 2675731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675731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9672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19672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1668519 w 3913244"/>
              <a:gd name="connsiteY0" fmla="*/ 0 h 5183692"/>
              <a:gd name="connsiteX1" fmla="*/ 3913244 w 3913244"/>
              <a:gd name="connsiteY1" fmla="*/ 0 h 5183692"/>
              <a:gd name="connsiteX2" fmla="*/ 3913244 w 3913244"/>
              <a:gd name="connsiteY2" fmla="*/ 5157788 h 5183692"/>
              <a:gd name="connsiteX3" fmla="*/ 2456872 w 3913244"/>
              <a:gd name="connsiteY3" fmla="*/ 5183633 h 5183692"/>
              <a:gd name="connsiteX4" fmla="*/ 205340 w 3913244"/>
              <a:gd name="connsiteY4" fmla="*/ 2562613 h 5183692"/>
              <a:gd name="connsiteX5" fmla="*/ 1668519 w 3913244"/>
              <a:gd name="connsiteY5" fmla="*/ 0 h 5183692"/>
              <a:gd name="connsiteX0" fmla="*/ 1668519 w 3923404"/>
              <a:gd name="connsiteY0" fmla="*/ 0 h 5939409"/>
              <a:gd name="connsiteX1" fmla="*/ 3913244 w 3923404"/>
              <a:gd name="connsiteY1" fmla="*/ 0 h 5939409"/>
              <a:gd name="connsiteX2" fmla="*/ 3923404 w 3923404"/>
              <a:gd name="connsiteY2" fmla="*/ 5939409 h 5939409"/>
              <a:gd name="connsiteX3" fmla="*/ 2456872 w 3923404"/>
              <a:gd name="connsiteY3" fmla="*/ 5183633 h 5939409"/>
              <a:gd name="connsiteX4" fmla="*/ 205340 w 3923404"/>
              <a:gd name="connsiteY4" fmla="*/ 2562613 h 5939409"/>
              <a:gd name="connsiteX5" fmla="*/ 1668519 w 3923404"/>
              <a:gd name="connsiteY5" fmla="*/ 0 h 5939409"/>
              <a:gd name="connsiteX0" fmla="*/ 1668519 w 3923404"/>
              <a:gd name="connsiteY0" fmla="*/ 0 h 5939409"/>
              <a:gd name="connsiteX1" fmla="*/ 3913244 w 3923404"/>
              <a:gd name="connsiteY1" fmla="*/ 0 h 5939409"/>
              <a:gd name="connsiteX2" fmla="*/ 3923404 w 3923404"/>
              <a:gd name="connsiteY2" fmla="*/ 5939409 h 5939409"/>
              <a:gd name="connsiteX3" fmla="*/ 2456872 w 3923404"/>
              <a:gd name="connsiteY3" fmla="*/ 5183633 h 5939409"/>
              <a:gd name="connsiteX4" fmla="*/ 205340 w 3923404"/>
              <a:gd name="connsiteY4" fmla="*/ 2562613 h 5939409"/>
              <a:gd name="connsiteX5" fmla="*/ 1668519 w 3923404"/>
              <a:gd name="connsiteY5" fmla="*/ 0 h 5939409"/>
              <a:gd name="connsiteX0" fmla="*/ 1696047 w 3950932"/>
              <a:gd name="connsiteY0" fmla="*/ 0 h 5939409"/>
              <a:gd name="connsiteX1" fmla="*/ 3940772 w 3950932"/>
              <a:gd name="connsiteY1" fmla="*/ 0 h 5939409"/>
              <a:gd name="connsiteX2" fmla="*/ 3950932 w 3950932"/>
              <a:gd name="connsiteY2" fmla="*/ 5939409 h 5939409"/>
              <a:gd name="connsiteX3" fmla="*/ 2484400 w 3950932"/>
              <a:gd name="connsiteY3" fmla="*/ 5183633 h 5939409"/>
              <a:gd name="connsiteX4" fmla="*/ 232868 w 3950932"/>
              <a:gd name="connsiteY4" fmla="*/ 2562613 h 5939409"/>
              <a:gd name="connsiteX5" fmla="*/ 1696047 w 3950932"/>
              <a:gd name="connsiteY5" fmla="*/ 0 h 5939409"/>
              <a:gd name="connsiteX0" fmla="*/ 1463179 w 3718064"/>
              <a:gd name="connsiteY0" fmla="*/ 0 h 5983194"/>
              <a:gd name="connsiteX1" fmla="*/ 3707904 w 3718064"/>
              <a:gd name="connsiteY1" fmla="*/ 0 h 5983194"/>
              <a:gd name="connsiteX2" fmla="*/ 3718064 w 3718064"/>
              <a:gd name="connsiteY2" fmla="*/ 5939409 h 5983194"/>
              <a:gd name="connsiteX3" fmla="*/ 0 w 3718064"/>
              <a:gd name="connsiteY3" fmla="*/ 2562613 h 5983194"/>
              <a:gd name="connsiteX4" fmla="*/ 1463179 w 3718064"/>
              <a:gd name="connsiteY4" fmla="*/ 0 h 5983194"/>
              <a:gd name="connsiteX0" fmla="*/ 1464005 w 3718890"/>
              <a:gd name="connsiteY0" fmla="*/ 0 h 5987401"/>
              <a:gd name="connsiteX1" fmla="*/ 3708730 w 3718890"/>
              <a:gd name="connsiteY1" fmla="*/ 0 h 5987401"/>
              <a:gd name="connsiteX2" fmla="*/ 3718890 w 3718890"/>
              <a:gd name="connsiteY2" fmla="*/ 5939409 h 5987401"/>
              <a:gd name="connsiteX3" fmla="*/ 826 w 3718890"/>
              <a:gd name="connsiteY3" fmla="*/ 2562613 h 5987401"/>
              <a:gd name="connsiteX4" fmla="*/ 1464005 w 3718890"/>
              <a:gd name="connsiteY4" fmla="*/ 0 h 5987401"/>
              <a:gd name="connsiteX0" fmla="*/ 1267 w 2256152"/>
              <a:gd name="connsiteY0" fmla="*/ 0 h 6002954"/>
              <a:gd name="connsiteX1" fmla="*/ 2245992 w 2256152"/>
              <a:gd name="connsiteY1" fmla="*/ 0 h 6002954"/>
              <a:gd name="connsiteX2" fmla="*/ 2256152 w 2256152"/>
              <a:gd name="connsiteY2" fmla="*/ 5939409 h 6002954"/>
              <a:gd name="connsiteX3" fmla="*/ 956168 w 2256152"/>
              <a:gd name="connsiteY3" fmla="*/ 3273178 h 6002954"/>
              <a:gd name="connsiteX4" fmla="*/ 1267 w 2256152"/>
              <a:gd name="connsiteY4" fmla="*/ 0 h 6002954"/>
              <a:gd name="connsiteX0" fmla="*/ 2 w 1299986"/>
              <a:gd name="connsiteY0" fmla="*/ 3321709 h 6044422"/>
              <a:gd name="connsiteX1" fmla="*/ 1289826 w 1299986"/>
              <a:gd name="connsiteY1" fmla="*/ 48531 h 6044422"/>
              <a:gd name="connsiteX2" fmla="*/ 1299986 w 1299986"/>
              <a:gd name="connsiteY2" fmla="*/ 5987940 h 6044422"/>
              <a:gd name="connsiteX3" fmla="*/ 2 w 1299986"/>
              <a:gd name="connsiteY3" fmla="*/ 3321709 h 6044422"/>
              <a:gd name="connsiteX0" fmla="*/ 2 w 1299986"/>
              <a:gd name="connsiteY0" fmla="*/ 3273178 h 5995891"/>
              <a:gd name="connsiteX1" fmla="*/ 1289826 w 1299986"/>
              <a:gd name="connsiteY1" fmla="*/ 0 h 5995891"/>
              <a:gd name="connsiteX2" fmla="*/ 1299986 w 1299986"/>
              <a:gd name="connsiteY2" fmla="*/ 5939409 h 5995891"/>
              <a:gd name="connsiteX3" fmla="*/ 2 w 1299986"/>
              <a:gd name="connsiteY3" fmla="*/ 3273178 h 5995891"/>
              <a:gd name="connsiteX0" fmla="*/ 2 w 1299986"/>
              <a:gd name="connsiteY0" fmla="*/ 3273178 h 5995891"/>
              <a:gd name="connsiteX1" fmla="*/ 1289826 w 1299986"/>
              <a:gd name="connsiteY1" fmla="*/ 0 h 5995891"/>
              <a:gd name="connsiteX2" fmla="*/ 1299986 w 1299986"/>
              <a:gd name="connsiteY2" fmla="*/ 5939409 h 5995891"/>
              <a:gd name="connsiteX3" fmla="*/ 2 w 1299986"/>
              <a:gd name="connsiteY3" fmla="*/ 3273178 h 5995891"/>
              <a:gd name="connsiteX0" fmla="*/ 2 w 1299986"/>
              <a:gd name="connsiteY0" fmla="*/ 3273178 h 5995891"/>
              <a:gd name="connsiteX1" fmla="*/ 1289826 w 1299986"/>
              <a:gd name="connsiteY1" fmla="*/ 0 h 5995891"/>
              <a:gd name="connsiteX2" fmla="*/ 1299986 w 1299986"/>
              <a:gd name="connsiteY2" fmla="*/ 5939409 h 5995891"/>
              <a:gd name="connsiteX3" fmla="*/ 2 w 1299986"/>
              <a:gd name="connsiteY3" fmla="*/ 3273178 h 5995891"/>
              <a:gd name="connsiteX0" fmla="*/ 2 w 1299986"/>
              <a:gd name="connsiteY0" fmla="*/ 2725028 h 5445777"/>
              <a:gd name="connsiteX1" fmla="*/ 1289826 w 1299986"/>
              <a:gd name="connsiteY1" fmla="*/ 0 h 5445777"/>
              <a:gd name="connsiteX2" fmla="*/ 1299986 w 1299986"/>
              <a:gd name="connsiteY2" fmla="*/ 5391259 h 5445777"/>
              <a:gd name="connsiteX3" fmla="*/ 2 w 1299986"/>
              <a:gd name="connsiteY3" fmla="*/ 2725028 h 5445777"/>
              <a:gd name="connsiteX0" fmla="*/ 2 w 1299986"/>
              <a:gd name="connsiteY0" fmla="*/ 3141216 h 5863443"/>
              <a:gd name="connsiteX1" fmla="*/ 1289826 w 1299986"/>
              <a:gd name="connsiteY1" fmla="*/ 0 h 5863443"/>
              <a:gd name="connsiteX2" fmla="*/ 1299986 w 1299986"/>
              <a:gd name="connsiteY2" fmla="*/ 5807447 h 5863443"/>
              <a:gd name="connsiteX3" fmla="*/ 2 w 1299986"/>
              <a:gd name="connsiteY3" fmla="*/ 3141216 h 5863443"/>
              <a:gd name="connsiteX0" fmla="*/ 2 w 1299986"/>
              <a:gd name="connsiteY0" fmla="*/ 3141216 h 5863444"/>
              <a:gd name="connsiteX1" fmla="*/ 1289826 w 1299986"/>
              <a:gd name="connsiteY1" fmla="*/ 0 h 5863444"/>
              <a:gd name="connsiteX2" fmla="*/ 1299986 w 1299986"/>
              <a:gd name="connsiteY2" fmla="*/ 5807447 h 5863444"/>
              <a:gd name="connsiteX3" fmla="*/ 2 w 1299986"/>
              <a:gd name="connsiteY3" fmla="*/ 3141216 h 5863444"/>
              <a:gd name="connsiteX0" fmla="*/ 1 w 1889265"/>
              <a:gd name="connsiteY0" fmla="*/ 3851780 h 5885741"/>
              <a:gd name="connsiteX1" fmla="*/ 1879105 w 1889265"/>
              <a:gd name="connsiteY1" fmla="*/ 0 h 5885741"/>
              <a:gd name="connsiteX2" fmla="*/ 1889265 w 1889265"/>
              <a:gd name="connsiteY2" fmla="*/ 5807447 h 5885741"/>
              <a:gd name="connsiteX3" fmla="*/ 1 w 1889265"/>
              <a:gd name="connsiteY3" fmla="*/ 3851780 h 5885741"/>
              <a:gd name="connsiteX0" fmla="*/ 694 w 1889958"/>
              <a:gd name="connsiteY0" fmla="*/ 3851780 h 5898819"/>
              <a:gd name="connsiteX1" fmla="*/ 1879798 w 1889958"/>
              <a:gd name="connsiteY1" fmla="*/ 0 h 5898819"/>
              <a:gd name="connsiteX2" fmla="*/ 1889958 w 1889958"/>
              <a:gd name="connsiteY2" fmla="*/ 5807447 h 5898819"/>
              <a:gd name="connsiteX3" fmla="*/ 694 w 1889958"/>
              <a:gd name="connsiteY3" fmla="*/ 3851780 h 5898819"/>
              <a:gd name="connsiteX0" fmla="*/ 694 w 1889958"/>
              <a:gd name="connsiteY0" fmla="*/ 3740120 h 5892762"/>
              <a:gd name="connsiteX1" fmla="*/ 1879798 w 1889958"/>
              <a:gd name="connsiteY1" fmla="*/ 0 h 5892762"/>
              <a:gd name="connsiteX2" fmla="*/ 1889958 w 1889958"/>
              <a:gd name="connsiteY2" fmla="*/ 5807447 h 5892762"/>
              <a:gd name="connsiteX3" fmla="*/ 694 w 1889958"/>
              <a:gd name="connsiteY3" fmla="*/ 3740120 h 5892762"/>
              <a:gd name="connsiteX0" fmla="*/ 690 w 1900114"/>
              <a:gd name="connsiteY0" fmla="*/ 3811177 h 5896524"/>
              <a:gd name="connsiteX1" fmla="*/ 1889954 w 1900114"/>
              <a:gd name="connsiteY1" fmla="*/ 0 h 5896524"/>
              <a:gd name="connsiteX2" fmla="*/ 1900114 w 1900114"/>
              <a:gd name="connsiteY2" fmla="*/ 5807447 h 5896524"/>
              <a:gd name="connsiteX3" fmla="*/ 690 w 1900114"/>
              <a:gd name="connsiteY3" fmla="*/ 3811177 h 5896524"/>
              <a:gd name="connsiteX0" fmla="*/ 690 w 1900114"/>
              <a:gd name="connsiteY0" fmla="*/ 3811177 h 5807447"/>
              <a:gd name="connsiteX1" fmla="*/ 1889954 w 1900114"/>
              <a:gd name="connsiteY1" fmla="*/ 0 h 5807447"/>
              <a:gd name="connsiteX2" fmla="*/ 1900114 w 1900114"/>
              <a:gd name="connsiteY2" fmla="*/ 5807447 h 5807447"/>
              <a:gd name="connsiteX3" fmla="*/ 690 w 1900114"/>
              <a:gd name="connsiteY3" fmla="*/ 3811177 h 5807447"/>
              <a:gd name="connsiteX0" fmla="*/ 690 w 1900114"/>
              <a:gd name="connsiteY0" fmla="*/ 3811177 h 5807447"/>
              <a:gd name="connsiteX1" fmla="*/ 1889954 w 1900114"/>
              <a:gd name="connsiteY1" fmla="*/ 0 h 5807447"/>
              <a:gd name="connsiteX2" fmla="*/ 1900114 w 1900114"/>
              <a:gd name="connsiteY2" fmla="*/ 5807447 h 5807447"/>
              <a:gd name="connsiteX3" fmla="*/ 690 w 1900114"/>
              <a:gd name="connsiteY3" fmla="*/ 3811177 h 5807447"/>
              <a:gd name="connsiteX0" fmla="*/ 403 w 1899827"/>
              <a:gd name="connsiteY0" fmla="*/ 3811177 h 5807447"/>
              <a:gd name="connsiteX1" fmla="*/ 1889667 w 1899827"/>
              <a:gd name="connsiteY1" fmla="*/ 0 h 5807447"/>
              <a:gd name="connsiteX2" fmla="*/ 1899827 w 1899827"/>
              <a:gd name="connsiteY2" fmla="*/ 5807447 h 5807447"/>
              <a:gd name="connsiteX3" fmla="*/ 403 w 1899827"/>
              <a:gd name="connsiteY3" fmla="*/ 3811177 h 5807447"/>
            </a:gdLst>
            <a:ahLst/>
            <a:cxnLst>
              <a:cxn ang="0">
                <a:pos x="connsiteX0" y="connsiteY0"/>
              </a:cxn>
              <a:cxn ang="0">
                <a:pos x="connsiteX1" y="connsiteY1"/>
              </a:cxn>
              <a:cxn ang="0">
                <a:pos x="connsiteX2" y="connsiteY2"/>
              </a:cxn>
              <a:cxn ang="0">
                <a:pos x="connsiteX3" y="connsiteY3"/>
              </a:cxn>
            </a:cxnLst>
            <a:rect l="l" t="t" r="r" b="b"/>
            <a:pathLst>
              <a:path w="1899827" h="5807447">
                <a:moveTo>
                  <a:pt x="403" y="3811177"/>
                </a:moveTo>
                <a:cubicBezTo>
                  <a:pt x="-31770" y="2467685"/>
                  <a:pt x="1876203" y="854946"/>
                  <a:pt x="1889667" y="0"/>
                </a:cubicBezTo>
                <a:cubicBezTo>
                  <a:pt x="1893054" y="1979803"/>
                  <a:pt x="1896440" y="3827644"/>
                  <a:pt x="1899827" y="5807447"/>
                </a:cubicBezTo>
                <a:cubicBezTo>
                  <a:pt x="1007523" y="5706703"/>
                  <a:pt x="32576" y="5154669"/>
                  <a:pt x="403" y="3811177"/>
                </a:cubicBezTo>
                <a:close/>
              </a:path>
            </a:pathLst>
          </a:custGeom>
          <a:solidFill>
            <a:schemeClr val="bg2"/>
          </a:solidFill>
          <a:ln w="3175">
            <a:noFill/>
          </a:ln>
        </p:spPr>
        <p:txBody>
          <a:bodyPr tIns="720000" rtlCol="0" anchor="ctr">
            <a:noAutofit/>
          </a:bodyPr>
          <a:lstStyle>
            <a:lvl1pPr algn="ctr">
              <a:defRPr sz="1500">
                <a:solidFill>
                  <a:schemeClr val="bg1"/>
                </a:solidFill>
              </a:defRPr>
            </a:lvl1pPr>
          </a:lstStyle>
          <a:p>
            <a:pPr lvl="0"/>
            <a:r>
              <a:rPr lang="en-US" noProof="0"/>
              <a:t>Click icon to add picture</a:t>
            </a:r>
          </a:p>
        </p:txBody>
      </p:sp>
      <p:sp>
        <p:nvSpPr>
          <p:cNvPr id="8" name="Espace réservé de la date 10"/>
          <p:cNvSpPr>
            <a:spLocks noGrp="1"/>
          </p:cNvSpPr>
          <p:nvPr>
            <p:ph type="dt" sz="half" idx="19"/>
          </p:nvPr>
        </p:nvSpPr>
        <p:spPr/>
        <p:txBody>
          <a:bodyPr/>
          <a:lstStyle>
            <a:lvl1pPr>
              <a:defRPr/>
            </a:lvl1pPr>
          </a:lstStyle>
          <a:p>
            <a:pPr>
              <a:defRPr/>
            </a:pPr>
            <a:r>
              <a:rPr lang="en-US">
                <a:solidFill>
                  <a:prstClr val="white">
                    <a:alpha val="0"/>
                  </a:prstClr>
                </a:solidFill>
              </a:rPr>
              <a:t>Date</a:t>
            </a:r>
          </a:p>
        </p:txBody>
      </p:sp>
      <p:sp>
        <p:nvSpPr>
          <p:cNvPr id="9" name="Espace réservé du numéro de diapositive 11"/>
          <p:cNvSpPr>
            <a:spLocks noGrp="1"/>
          </p:cNvSpPr>
          <p:nvPr>
            <p:ph type="sldNum" sz="quarter" idx="20"/>
          </p:nvPr>
        </p:nvSpPr>
        <p:spPr/>
        <p:txBody>
          <a:bodyPr/>
          <a:lstStyle>
            <a:lvl1pPr>
              <a:defRPr/>
            </a:lvl1pPr>
          </a:lstStyle>
          <a:p>
            <a:pPr>
              <a:defRPr/>
            </a:pPr>
            <a:fld id="{669CD8F2-86ED-43C7-A24E-82A206DEE6AE}" type="slidenum">
              <a:rPr lang="en-US">
                <a:solidFill>
                  <a:srgbClr val="343434"/>
                </a:solidFill>
              </a:rPr>
              <a:pPr>
                <a:defRPr/>
              </a:pPr>
              <a:t>‹#›</a:t>
            </a:fld>
            <a:endParaRPr lang="en-US">
              <a:solidFill>
                <a:srgbClr val="343434"/>
              </a:solidFill>
            </a:endParaRPr>
          </a:p>
        </p:txBody>
      </p:sp>
      <p:sp>
        <p:nvSpPr>
          <p:cNvPr id="11" name="Espace réservé du pied de page 12"/>
          <p:cNvSpPr>
            <a:spLocks noGrp="1"/>
          </p:cNvSpPr>
          <p:nvPr>
            <p:ph type="ftr" sz="quarter" idx="21"/>
          </p:nvPr>
        </p:nvSpPr>
        <p:spPr/>
        <p:txBody>
          <a:bodyPr/>
          <a:lstStyle>
            <a:lvl1pPr>
              <a:defRPr/>
            </a:lvl1pPr>
          </a:lstStyle>
          <a:p>
            <a:pPr>
              <a:defRPr/>
            </a:pPr>
            <a:r>
              <a:rPr lang="en-US">
                <a:solidFill>
                  <a:srgbClr val="005CB9"/>
                </a:solidFill>
              </a:rPr>
              <a:t>#</a:t>
            </a:r>
            <a:r>
              <a:rPr lang="en-US" err="1">
                <a:solidFill>
                  <a:srgbClr val="005CB9"/>
                </a:solidFill>
              </a:rPr>
              <a:t>vaccineswork</a:t>
            </a:r>
            <a:endParaRPr lang="en-US">
              <a:solidFill>
                <a:srgbClr val="005CB9"/>
              </a:solidFill>
            </a:endParaRPr>
          </a:p>
        </p:txBody>
      </p:sp>
    </p:spTree>
    <p:extLst>
      <p:ext uri="{BB962C8B-B14F-4D97-AF65-F5344CB8AC3E}">
        <p14:creationId xmlns:p14="http://schemas.microsoft.com/office/powerpoint/2010/main" val="2977484005"/>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Picture_Layout">
    <p:spTree>
      <p:nvGrpSpPr>
        <p:cNvPr id="1" name=""/>
        <p:cNvGrpSpPr/>
        <p:nvPr/>
      </p:nvGrpSpPr>
      <p:grpSpPr>
        <a:xfrm>
          <a:off x="0" y="0"/>
          <a:ext cx="0" cy="0"/>
          <a:chOff x="0" y="0"/>
          <a:chExt cx="0" cy="0"/>
        </a:xfrm>
      </p:grpSpPr>
      <p:sp>
        <p:nvSpPr>
          <p:cNvPr id="2" name="Titre 1"/>
          <p:cNvSpPr>
            <a:spLocks noGrp="1"/>
          </p:cNvSpPr>
          <p:nvPr>
            <p:ph type="title"/>
          </p:nvPr>
        </p:nvSpPr>
        <p:spPr bwMode="gray"/>
        <p:txBody>
          <a:bodyPr/>
          <a:lstStyle/>
          <a:p>
            <a:r>
              <a:rPr lang="en-US" noProof="0"/>
              <a:t>Click to edit Master title style</a:t>
            </a:r>
          </a:p>
        </p:txBody>
      </p:sp>
      <p:sp>
        <p:nvSpPr>
          <p:cNvPr id="3" name="Espace réservé du contenu 2"/>
          <p:cNvSpPr>
            <a:spLocks noGrp="1"/>
          </p:cNvSpPr>
          <p:nvPr>
            <p:ph idx="1"/>
          </p:nvPr>
        </p:nvSpPr>
        <p:spPr bwMode="gray">
          <a:xfrm>
            <a:off x="3635896" y="1304925"/>
            <a:ext cx="4644504" cy="4716463"/>
          </a:xfrm>
        </p:spPr>
        <p:txBody>
          <a:bodyPr/>
          <a:lstStyle>
            <a:lvl2pPr>
              <a:defRPr/>
            </a:lvl2pPr>
            <a:lvl3pPr>
              <a:defRPr/>
            </a:lvl3pPr>
            <a:lvl4pPr>
              <a:defRPr baseline="0"/>
            </a:lvl4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Espace réservé pour une image  8"/>
          <p:cNvSpPr>
            <a:spLocks noGrp="1"/>
          </p:cNvSpPr>
          <p:nvPr>
            <p:ph type="pic" sz="quarter" idx="13"/>
          </p:nvPr>
        </p:nvSpPr>
        <p:spPr bwMode="gray">
          <a:xfrm>
            <a:off x="0" y="1341438"/>
            <a:ext cx="3419038" cy="4679950"/>
          </a:xfrm>
        </p:spPr>
        <p:txBody>
          <a:bodyPr tIns="1008000" rtlCol="0" anchor="ctr">
            <a:noAutofit/>
          </a:bodyPr>
          <a:lstStyle>
            <a:lvl1pPr algn="ctr">
              <a:defRPr/>
            </a:lvl1pPr>
          </a:lstStyle>
          <a:p>
            <a:pPr lvl="0"/>
            <a:r>
              <a:rPr lang="en-US" noProof="0"/>
              <a:t>Click icon to add picture</a:t>
            </a:r>
          </a:p>
        </p:txBody>
      </p:sp>
      <p:sp>
        <p:nvSpPr>
          <p:cNvPr id="5" name="Espace réservé de la date 3"/>
          <p:cNvSpPr>
            <a:spLocks noGrp="1"/>
          </p:cNvSpPr>
          <p:nvPr>
            <p:ph type="dt" sz="half" idx="14"/>
          </p:nvPr>
        </p:nvSpPr>
        <p:spPr/>
        <p:txBody>
          <a:bodyPr/>
          <a:lstStyle>
            <a:lvl1pPr>
              <a:defRPr/>
            </a:lvl1pPr>
          </a:lstStyle>
          <a:p>
            <a:pPr>
              <a:defRPr/>
            </a:pPr>
            <a:r>
              <a:rPr lang="en-US">
                <a:solidFill>
                  <a:prstClr val="white">
                    <a:alpha val="0"/>
                  </a:prstClr>
                </a:solidFill>
              </a:rPr>
              <a:t>Date</a:t>
            </a:r>
          </a:p>
        </p:txBody>
      </p:sp>
      <p:sp>
        <p:nvSpPr>
          <p:cNvPr id="6" name="Espace réservé du pied de page 4"/>
          <p:cNvSpPr>
            <a:spLocks noGrp="1"/>
          </p:cNvSpPr>
          <p:nvPr>
            <p:ph type="ftr" sz="quarter" idx="15"/>
          </p:nvPr>
        </p:nvSpPr>
        <p:spPr/>
        <p:txBody>
          <a:bodyPr/>
          <a:lstStyle>
            <a:lvl1pPr>
              <a:defRPr/>
            </a:lvl1pPr>
          </a:lstStyle>
          <a:p>
            <a:pPr>
              <a:defRPr/>
            </a:pPr>
            <a:r>
              <a:rPr lang="en-US">
                <a:solidFill>
                  <a:srgbClr val="005CB9"/>
                </a:solidFill>
              </a:rPr>
              <a:t>#</a:t>
            </a:r>
            <a:r>
              <a:rPr lang="en-US" err="1">
                <a:solidFill>
                  <a:srgbClr val="005CB9"/>
                </a:solidFill>
              </a:rPr>
              <a:t>vaccineswork</a:t>
            </a:r>
            <a:endParaRPr lang="en-US">
              <a:solidFill>
                <a:srgbClr val="005CB9"/>
              </a:solidFill>
            </a:endParaRPr>
          </a:p>
        </p:txBody>
      </p:sp>
      <p:sp>
        <p:nvSpPr>
          <p:cNvPr id="7" name="Espace réservé du numéro de diapositive 5"/>
          <p:cNvSpPr>
            <a:spLocks noGrp="1"/>
          </p:cNvSpPr>
          <p:nvPr>
            <p:ph type="sldNum" sz="quarter" idx="16"/>
          </p:nvPr>
        </p:nvSpPr>
        <p:spPr/>
        <p:txBody>
          <a:bodyPr/>
          <a:lstStyle>
            <a:lvl1pPr>
              <a:defRPr/>
            </a:lvl1pPr>
          </a:lstStyle>
          <a:p>
            <a:pPr>
              <a:defRPr/>
            </a:pPr>
            <a:fld id="{D8886677-8A24-41A7-8E0F-301076E1EA36}" type="slidenum">
              <a:rPr lang="en-US">
                <a:solidFill>
                  <a:srgbClr val="343434"/>
                </a:solidFill>
              </a:rPr>
              <a:pPr>
                <a:defRPr/>
              </a:pPr>
              <a:t>‹#›</a:t>
            </a:fld>
            <a:endParaRPr lang="en-US">
              <a:solidFill>
                <a:srgbClr val="343434"/>
              </a:solidFill>
            </a:endParaRPr>
          </a:p>
        </p:txBody>
      </p:sp>
    </p:spTree>
    <p:extLst>
      <p:ext uri="{BB962C8B-B14F-4D97-AF65-F5344CB8AC3E}">
        <p14:creationId xmlns:p14="http://schemas.microsoft.com/office/powerpoint/2010/main" val="877420395"/>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Text&amp;Content_Layout">
    <p:spTree>
      <p:nvGrpSpPr>
        <p:cNvPr id="1" name=""/>
        <p:cNvGrpSpPr/>
        <p:nvPr/>
      </p:nvGrpSpPr>
      <p:grpSpPr>
        <a:xfrm>
          <a:off x="0" y="0"/>
          <a:ext cx="0" cy="0"/>
          <a:chOff x="0" y="0"/>
          <a:chExt cx="0" cy="0"/>
        </a:xfrm>
      </p:grpSpPr>
      <p:sp>
        <p:nvSpPr>
          <p:cNvPr id="2" name="Titre 1"/>
          <p:cNvSpPr>
            <a:spLocks noGrp="1"/>
          </p:cNvSpPr>
          <p:nvPr>
            <p:ph type="title"/>
          </p:nvPr>
        </p:nvSpPr>
        <p:spPr bwMode="gray"/>
        <p:txBody>
          <a:bodyPr/>
          <a:lstStyle/>
          <a:p>
            <a:r>
              <a:rPr lang="en-US" noProof="0"/>
              <a:t>Click to edit Master title style</a:t>
            </a:r>
          </a:p>
        </p:txBody>
      </p:sp>
      <p:sp>
        <p:nvSpPr>
          <p:cNvPr id="3" name="Espace réservé du contenu 2"/>
          <p:cNvSpPr>
            <a:spLocks noGrp="1"/>
          </p:cNvSpPr>
          <p:nvPr>
            <p:ph idx="1"/>
          </p:nvPr>
        </p:nvSpPr>
        <p:spPr bwMode="gray">
          <a:xfrm>
            <a:off x="935038" y="2781388"/>
            <a:ext cx="7345362" cy="3240000"/>
          </a:xfrm>
        </p:spPr>
        <p:txBody>
          <a:bodyPr/>
          <a:lstStyle>
            <a:lvl2pPr>
              <a:defRPr/>
            </a:lvl2pPr>
            <a:lvl3pPr>
              <a:defRPr/>
            </a:lvl3pPr>
            <a:lvl4pPr>
              <a:defRPr baseline="0"/>
            </a:lvl4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Espace réservé du texte 9"/>
          <p:cNvSpPr>
            <a:spLocks noGrp="1"/>
          </p:cNvSpPr>
          <p:nvPr>
            <p:ph type="body" sz="quarter" idx="13"/>
          </p:nvPr>
        </p:nvSpPr>
        <p:spPr bwMode="gray">
          <a:xfrm>
            <a:off x="935038" y="1304924"/>
            <a:ext cx="7345362" cy="126000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Espace réservé de la date 3"/>
          <p:cNvSpPr>
            <a:spLocks noGrp="1"/>
          </p:cNvSpPr>
          <p:nvPr>
            <p:ph type="dt" sz="half" idx="14"/>
          </p:nvPr>
        </p:nvSpPr>
        <p:spPr/>
        <p:txBody>
          <a:bodyPr/>
          <a:lstStyle>
            <a:lvl1pPr>
              <a:defRPr/>
            </a:lvl1pPr>
          </a:lstStyle>
          <a:p>
            <a:pPr>
              <a:defRPr/>
            </a:pPr>
            <a:r>
              <a:rPr lang="en-US">
                <a:solidFill>
                  <a:prstClr val="white">
                    <a:alpha val="0"/>
                  </a:prstClr>
                </a:solidFill>
              </a:rPr>
              <a:t>Date</a:t>
            </a:r>
          </a:p>
        </p:txBody>
      </p:sp>
      <p:sp>
        <p:nvSpPr>
          <p:cNvPr id="6" name="Espace réservé du pied de page 4"/>
          <p:cNvSpPr>
            <a:spLocks noGrp="1"/>
          </p:cNvSpPr>
          <p:nvPr>
            <p:ph type="ftr" sz="quarter" idx="15"/>
          </p:nvPr>
        </p:nvSpPr>
        <p:spPr/>
        <p:txBody>
          <a:bodyPr/>
          <a:lstStyle>
            <a:lvl1pPr>
              <a:defRPr/>
            </a:lvl1pPr>
          </a:lstStyle>
          <a:p>
            <a:pPr>
              <a:defRPr/>
            </a:pPr>
            <a:r>
              <a:rPr lang="en-US">
                <a:solidFill>
                  <a:srgbClr val="005CB9"/>
                </a:solidFill>
              </a:rPr>
              <a:t>#</a:t>
            </a:r>
            <a:r>
              <a:rPr lang="en-US" err="1">
                <a:solidFill>
                  <a:srgbClr val="005CB9"/>
                </a:solidFill>
              </a:rPr>
              <a:t>vaccineswork</a:t>
            </a:r>
            <a:endParaRPr lang="en-US">
              <a:solidFill>
                <a:srgbClr val="005CB9"/>
              </a:solidFill>
            </a:endParaRPr>
          </a:p>
        </p:txBody>
      </p:sp>
      <p:sp>
        <p:nvSpPr>
          <p:cNvPr id="7" name="Espace réservé du numéro de diapositive 5"/>
          <p:cNvSpPr>
            <a:spLocks noGrp="1"/>
          </p:cNvSpPr>
          <p:nvPr>
            <p:ph type="sldNum" sz="quarter" idx="16"/>
          </p:nvPr>
        </p:nvSpPr>
        <p:spPr/>
        <p:txBody>
          <a:bodyPr/>
          <a:lstStyle>
            <a:lvl1pPr>
              <a:defRPr/>
            </a:lvl1pPr>
          </a:lstStyle>
          <a:p>
            <a:pPr>
              <a:defRPr/>
            </a:pPr>
            <a:fld id="{8779425B-3CAA-48C9-9B95-57BAD5A3D82E}" type="slidenum">
              <a:rPr lang="en-US">
                <a:solidFill>
                  <a:srgbClr val="343434"/>
                </a:solidFill>
              </a:rPr>
              <a:pPr>
                <a:defRPr/>
              </a:pPr>
              <a:t>‹#›</a:t>
            </a:fld>
            <a:endParaRPr lang="en-US">
              <a:solidFill>
                <a:srgbClr val="343434"/>
              </a:solidFill>
            </a:endParaRPr>
          </a:p>
        </p:txBody>
      </p:sp>
    </p:spTree>
    <p:extLst>
      <p:ext uri="{BB962C8B-B14F-4D97-AF65-F5344CB8AC3E}">
        <p14:creationId xmlns:p14="http://schemas.microsoft.com/office/powerpoint/2010/main" val="2567145315"/>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Thank_you_1">
    <p:spTree>
      <p:nvGrpSpPr>
        <p:cNvPr id="1" name=""/>
        <p:cNvGrpSpPr/>
        <p:nvPr/>
      </p:nvGrpSpPr>
      <p:grpSpPr>
        <a:xfrm>
          <a:off x="0" y="0"/>
          <a:ext cx="0" cy="0"/>
          <a:chOff x="0" y="0"/>
          <a:chExt cx="0" cy="0"/>
        </a:xfrm>
      </p:grpSpPr>
      <p:pic>
        <p:nvPicPr>
          <p:cNvPr id="5" name="Image 18" descr="FD_1_L254.png"/>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gray">
          <a:xfrm>
            <a:off x="0" y="0"/>
            <a:ext cx="9144000" cy="51577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6" name="Rectangle 5"/>
          <p:cNvSpPr/>
          <p:nvPr userDrawn="1"/>
        </p:nvSpPr>
        <p:spPr bwMode="gray">
          <a:xfrm>
            <a:off x="3635375" y="5265738"/>
            <a:ext cx="5508625" cy="15922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prstClr val="white"/>
              </a:solidFill>
            </a:endParaRPr>
          </a:p>
        </p:txBody>
      </p:sp>
      <p:pic>
        <p:nvPicPr>
          <p:cNvPr id="7" name="Image 19" descr="Bas_couv.png"/>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gray">
          <a:xfrm>
            <a:off x="0" y="5172075"/>
            <a:ext cx="3635375" cy="16859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8" name="Rectangle 7"/>
          <p:cNvSpPr/>
          <p:nvPr userDrawn="1"/>
        </p:nvSpPr>
        <p:spPr bwMode="gray">
          <a:xfrm>
            <a:off x="3635375" y="6354763"/>
            <a:ext cx="5113338" cy="2873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p>
            <a:pPr algn="r">
              <a:defRPr/>
            </a:pPr>
            <a:r>
              <a:rPr lang="en-US" sz="1000" err="1">
                <a:solidFill>
                  <a:srgbClr val="95D600"/>
                </a:solidFill>
              </a:rPr>
              <a:t>www.gavi.org</a:t>
            </a:r>
            <a:endParaRPr lang="en-US" sz="1000">
              <a:solidFill>
                <a:srgbClr val="95D600"/>
              </a:solidFill>
            </a:endParaRPr>
          </a:p>
        </p:txBody>
      </p:sp>
      <p:cxnSp>
        <p:nvCxnSpPr>
          <p:cNvPr id="10" name="Connecteur droit 13"/>
          <p:cNvCxnSpPr/>
          <p:nvPr userDrawn="1"/>
        </p:nvCxnSpPr>
        <p:spPr bwMode="gray">
          <a:xfrm flipH="1">
            <a:off x="468313" y="3400425"/>
            <a:ext cx="2447925" cy="0"/>
          </a:xfrm>
          <a:prstGeom prst="line">
            <a:avLst/>
          </a:prstGeom>
          <a:ln w="24130">
            <a:solidFill>
              <a:schemeClr val="accent1"/>
            </a:solidFill>
          </a:ln>
        </p:spPr>
        <p:style>
          <a:lnRef idx="1">
            <a:schemeClr val="accent1"/>
          </a:lnRef>
          <a:fillRef idx="0">
            <a:schemeClr val="accent1"/>
          </a:fillRef>
          <a:effectRef idx="0">
            <a:schemeClr val="accent1"/>
          </a:effectRef>
          <a:fontRef idx="minor">
            <a:schemeClr val="tx1"/>
          </a:fontRef>
        </p:style>
      </p:cxnSp>
      <p:sp>
        <p:nvSpPr>
          <p:cNvPr id="9" name="Espace réservé du texte 8"/>
          <p:cNvSpPr>
            <a:spLocks noGrp="1"/>
          </p:cNvSpPr>
          <p:nvPr>
            <p:ph type="body" sz="quarter" idx="13"/>
          </p:nvPr>
        </p:nvSpPr>
        <p:spPr bwMode="gray">
          <a:xfrm>
            <a:off x="468314" y="1036638"/>
            <a:ext cx="4824412" cy="2242966"/>
          </a:xfrm>
        </p:spPr>
        <p:txBody>
          <a:bodyPr anchor="b"/>
          <a:lstStyle>
            <a:lvl1pPr marL="0" indent="0" algn="l">
              <a:lnSpc>
                <a:spcPct val="90000"/>
              </a:lnSpc>
              <a:buNone/>
              <a:defRPr sz="2800" b="1" cap="none" baseline="0">
                <a:solidFill>
                  <a:schemeClr val="bg1"/>
                </a:solidFill>
              </a:defRPr>
            </a:lvl1pPr>
            <a:lvl2pPr marL="0" algn="ctr">
              <a:lnSpc>
                <a:spcPct val="100000"/>
              </a:lnSpc>
              <a:spcBef>
                <a:spcPts val="6900"/>
              </a:spcBef>
              <a:defRPr sz="2000" b="1">
                <a:solidFill>
                  <a:schemeClr val="bg1"/>
                </a:solidFill>
              </a:defRPr>
            </a:lvl2pPr>
          </a:lstStyle>
          <a:p>
            <a:pPr lvl="0"/>
            <a:r>
              <a:rPr lang="en-US" noProof="0"/>
              <a:t>Click to edit Master text styles</a:t>
            </a:r>
          </a:p>
        </p:txBody>
      </p:sp>
      <p:sp>
        <p:nvSpPr>
          <p:cNvPr id="15" name="Espace réservé du texte 14"/>
          <p:cNvSpPr>
            <a:spLocks noGrp="1"/>
          </p:cNvSpPr>
          <p:nvPr>
            <p:ph type="body" sz="quarter" idx="19"/>
          </p:nvPr>
        </p:nvSpPr>
        <p:spPr bwMode="gray">
          <a:xfrm>
            <a:off x="3635376" y="6021388"/>
            <a:ext cx="5113338" cy="324000"/>
          </a:xfrm>
        </p:spPr>
        <p:txBody>
          <a:bodyPr anchor="b"/>
          <a:lstStyle>
            <a:lvl1pPr algn="r">
              <a:lnSpc>
                <a:spcPct val="100000"/>
              </a:lnSpc>
              <a:defRPr sz="1000" b="1">
                <a:solidFill>
                  <a:schemeClr val="accent3"/>
                </a:solidFill>
              </a:defRPr>
            </a:lvl1pPr>
          </a:lstStyle>
          <a:p>
            <a:pPr lvl="0"/>
            <a:r>
              <a:rPr lang="en-US" noProof="0"/>
              <a:t>Click to edit Master text styles</a:t>
            </a:r>
          </a:p>
        </p:txBody>
      </p:sp>
      <p:sp>
        <p:nvSpPr>
          <p:cNvPr id="13" name="Espace réservé pour une image  17"/>
          <p:cNvSpPr>
            <a:spLocks noGrp="1"/>
          </p:cNvSpPr>
          <p:nvPr>
            <p:ph type="pic" sz="quarter" idx="18"/>
          </p:nvPr>
        </p:nvSpPr>
        <p:spPr bwMode="gray">
          <a:xfrm>
            <a:off x="4192588" y="0"/>
            <a:ext cx="4951412" cy="5162400"/>
          </a:xfrm>
          <a:custGeom>
            <a:avLst/>
            <a:gdLst>
              <a:gd name="connsiteX0" fmla="*/ 0 w 3851275"/>
              <a:gd name="connsiteY0" fmla="*/ 0 h 5157788"/>
              <a:gd name="connsiteX1" fmla="*/ 3851275 w 3851275"/>
              <a:gd name="connsiteY1" fmla="*/ 0 h 5157788"/>
              <a:gd name="connsiteX2" fmla="*/ 3851275 w 3851275"/>
              <a:gd name="connsiteY2" fmla="*/ 5157788 h 5157788"/>
              <a:gd name="connsiteX3" fmla="*/ 0 w 3851275"/>
              <a:gd name="connsiteY3" fmla="*/ 5157788 h 5157788"/>
              <a:gd name="connsiteX4" fmla="*/ 0 w 3851275"/>
              <a:gd name="connsiteY4"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0 w 3851275"/>
              <a:gd name="connsiteY3" fmla="*/ 5157788 h 5157788"/>
              <a:gd name="connsiteX4" fmla="*/ 1692275 w 3851275"/>
              <a:gd name="connsiteY4" fmla="*/ 0 h 5157788"/>
              <a:gd name="connsiteX0" fmla="*/ 0 w 2159000"/>
              <a:gd name="connsiteY0" fmla="*/ 0 h 5157788"/>
              <a:gd name="connsiteX1" fmla="*/ 2159000 w 2159000"/>
              <a:gd name="connsiteY1" fmla="*/ 0 h 5157788"/>
              <a:gd name="connsiteX2" fmla="*/ 2159000 w 2159000"/>
              <a:gd name="connsiteY2" fmla="*/ 5157788 h 5157788"/>
              <a:gd name="connsiteX3" fmla="*/ 0 w 2159000"/>
              <a:gd name="connsiteY3" fmla="*/ 5157788 h 5157788"/>
              <a:gd name="connsiteX4" fmla="*/ 0 w 2159000"/>
              <a:gd name="connsiteY4" fmla="*/ 0 h 5157788"/>
              <a:gd name="connsiteX0" fmla="*/ 2625271 w 4784271"/>
              <a:gd name="connsiteY0" fmla="*/ 0 h 5157788"/>
              <a:gd name="connsiteX1" fmla="*/ 4784271 w 4784271"/>
              <a:gd name="connsiteY1" fmla="*/ 0 h 5157788"/>
              <a:gd name="connsiteX2" fmla="*/ 4784271 w 4784271"/>
              <a:gd name="connsiteY2" fmla="*/ 5157788 h 5157788"/>
              <a:gd name="connsiteX3" fmla="*/ 2625271 w 4784271"/>
              <a:gd name="connsiteY3" fmla="*/ 5157788 h 5157788"/>
              <a:gd name="connsiteX4" fmla="*/ 2625271 w 4784271"/>
              <a:gd name="connsiteY4" fmla="*/ 0 h 5157788"/>
              <a:gd name="connsiteX0" fmla="*/ 2625271 w 4784271"/>
              <a:gd name="connsiteY0" fmla="*/ 0 h 5157788"/>
              <a:gd name="connsiteX1" fmla="*/ 4784271 w 4784271"/>
              <a:gd name="connsiteY1" fmla="*/ 0 h 5157788"/>
              <a:gd name="connsiteX2" fmla="*/ 4784271 w 4784271"/>
              <a:gd name="connsiteY2" fmla="*/ 5157788 h 5157788"/>
              <a:gd name="connsiteX3" fmla="*/ 2625271 w 4784271"/>
              <a:gd name="connsiteY3" fmla="*/ 5157788 h 5157788"/>
              <a:gd name="connsiteX4" fmla="*/ 2625271 w 4784271"/>
              <a:gd name="connsiteY4" fmla="*/ 0 h 5157788"/>
              <a:gd name="connsiteX0" fmla="*/ 3568576 w 5727576"/>
              <a:gd name="connsiteY0" fmla="*/ 0 h 5157788"/>
              <a:gd name="connsiteX1" fmla="*/ 5727576 w 5727576"/>
              <a:gd name="connsiteY1" fmla="*/ 0 h 5157788"/>
              <a:gd name="connsiteX2" fmla="*/ 5727576 w 5727576"/>
              <a:gd name="connsiteY2" fmla="*/ 5157788 h 5157788"/>
              <a:gd name="connsiteX3" fmla="*/ 3568576 w 5727576"/>
              <a:gd name="connsiteY3" fmla="*/ 5157788 h 5157788"/>
              <a:gd name="connsiteX4" fmla="*/ 3568576 w 5727576"/>
              <a:gd name="connsiteY4" fmla="*/ 0 h 5157788"/>
              <a:gd name="connsiteX0" fmla="*/ 3306355 w 5465355"/>
              <a:gd name="connsiteY0" fmla="*/ 0 h 5157788"/>
              <a:gd name="connsiteX1" fmla="*/ 5465355 w 5465355"/>
              <a:gd name="connsiteY1" fmla="*/ 0 h 5157788"/>
              <a:gd name="connsiteX2" fmla="*/ 5465355 w 5465355"/>
              <a:gd name="connsiteY2" fmla="*/ 5157788 h 5157788"/>
              <a:gd name="connsiteX3" fmla="*/ 3306355 w 5465355"/>
              <a:gd name="connsiteY3" fmla="*/ 5157788 h 5157788"/>
              <a:gd name="connsiteX4" fmla="*/ 3306355 w 5465355"/>
              <a:gd name="connsiteY4" fmla="*/ 0 h 5157788"/>
              <a:gd name="connsiteX0" fmla="*/ 1416957 w 3575957"/>
              <a:gd name="connsiteY0" fmla="*/ 0 h 5157788"/>
              <a:gd name="connsiteX1" fmla="*/ 3575957 w 3575957"/>
              <a:gd name="connsiteY1" fmla="*/ 0 h 5157788"/>
              <a:gd name="connsiteX2" fmla="*/ 3575957 w 3575957"/>
              <a:gd name="connsiteY2" fmla="*/ 5157788 h 5157788"/>
              <a:gd name="connsiteX3" fmla="*/ 1416957 w 3575957"/>
              <a:gd name="connsiteY3" fmla="*/ 5157788 h 5157788"/>
              <a:gd name="connsiteX4" fmla="*/ 0 w 3575957"/>
              <a:gd name="connsiteY4" fmla="*/ 3339193 h 5157788"/>
              <a:gd name="connsiteX5" fmla="*/ 1416957 w 3575957"/>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6017419"/>
              <a:gd name="connsiteX1" fmla="*/ 3851275 w 3851275"/>
              <a:gd name="connsiteY1" fmla="*/ 0 h 6017419"/>
              <a:gd name="connsiteX2" fmla="*/ 3851275 w 3851275"/>
              <a:gd name="connsiteY2" fmla="*/ 5157788 h 6017419"/>
              <a:gd name="connsiteX3" fmla="*/ 1692275 w 3851275"/>
              <a:gd name="connsiteY3" fmla="*/ 5157788 h 6017419"/>
              <a:gd name="connsiteX4" fmla="*/ 0 w 3851275"/>
              <a:gd name="connsiteY4" fmla="*/ 3284984 h 6017419"/>
              <a:gd name="connsiteX5" fmla="*/ 1692275 w 3851275"/>
              <a:gd name="connsiteY5" fmla="*/ 0 h 6017419"/>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429000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429000 h 5157788"/>
              <a:gd name="connsiteX5" fmla="*/ 1710871 w 3869871"/>
              <a:gd name="connsiteY5" fmla="*/ 0 h 5157788"/>
              <a:gd name="connsiteX0" fmla="*/ 1704975 w 3863975"/>
              <a:gd name="connsiteY0" fmla="*/ 0 h 5157788"/>
              <a:gd name="connsiteX1" fmla="*/ 3863975 w 3863975"/>
              <a:gd name="connsiteY1" fmla="*/ 0 h 5157788"/>
              <a:gd name="connsiteX2" fmla="*/ 3863975 w 3863975"/>
              <a:gd name="connsiteY2" fmla="*/ 5157788 h 5157788"/>
              <a:gd name="connsiteX3" fmla="*/ 1704975 w 3863975"/>
              <a:gd name="connsiteY3" fmla="*/ 5157788 h 5157788"/>
              <a:gd name="connsiteX4" fmla="*/ 12700 w 3863975"/>
              <a:gd name="connsiteY4" fmla="*/ 3429000 h 5157788"/>
              <a:gd name="connsiteX5" fmla="*/ 1704975 w 3863975"/>
              <a:gd name="connsiteY5" fmla="*/ 0 h 5157788"/>
              <a:gd name="connsiteX0" fmla="*/ 1707243 w 3866243"/>
              <a:gd name="connsiteY0" fmla="*/ 0 h 5157788"/>
              <a:gd name="connsiteX1" fmla="*/ 3866243 w 3866243"/>
              <a:gd name="connsiteY1" fmla="*/ 0 h 5157788"/>
              <a:gd name="connsiteX2" fmla="*/ 3866243 w 3866243"/>
              <a:gd name="connsiteY2" fmla="*/ 5157788 h 5157788"/>
              <a:gd name="connsiteX3" fmla="*/ 1707243 w 3866243"/>
              <a:gd name="connsiteY3" fmla="*/ 5157788 h 5157788"/>
              <a:gd name="connsiteX4" fmla="*/ 14968 w 3866243"/>
              <a:gd name="connsiteY4" fmla="*/ 3429000 h 5157788"/>
              <a:gd name="connsiteX5" fmla="*/ 1707243 w 3866243"/>
              <a:gd name="connsiteY5" fmla="*/ 0 h 5157788"/>
              <a:gd name="connsiteX0" fmla="*/ 1130447 w 3866243"/>
              <a:gd name="connsiteY0" fmla="*/ 0 h 5157788"/>
              <a:gd name="connsiteX1" fmla="*/ 3866243 w 3866243"/>
              <a:gd name="connsiteY1" fmla="*/ 0 h 5157788"/>
              <a:gd name="connsiteX2" fmla="*/ 3866243 w 3866243"/>
              <a:gd name="connsiteY2" fmla="*/ 5157788 h 5157788"/>
              <a:gd name="connsiteX3" fmla="*/ 1707243 w 3866243"/>
              <a:gd name="connsiteY3" fmla="*/ 5157788 h 5157788"/>
              <a:gd name="connsiteX4" fmla="*/ 14968 w 3866243"/>
              <a:gd name="connsiteY4" fmla="*/ 3429000 h 5157788"/>
              <a:gd name="connsiteX5" fmla="*/ 1130447 w 3866243"/>
              <a:gd name="connsiteY5" fmla="*/ 0 h 5157788"/>
              <a:gd name="connsiteX0" fmla="*/ 2746143 w 5481939"/>
              <a:gd name="connsiteY0" fmla="*/ 0 h 5157788"/>
              <a:gd name="connsiteX1" fmla="*/ 5481939 w 5481939"/>
              <a:gd name="connsiteY1" fmla="*/ 0 h 5157788"/>
              <a:gd name="connsiteX2" fmla="*/ 5481939 w 5481939"/>
              <a:gd name="connsiteY2" fmla="*/ 5157788 h 5157788"/>
              <a:gd name="connsiteX3" fmla="*/ 585903 w 5481939"/>
              <a:gd name="connsiteY3" fmla="*/ 5153180 h 5157788"/>
              <a:gd name="connsiteX4" fmla="*/ 1630664 w 5481939"/>
              <a:gd name="connsiteY4" fmla="*/ 3429000 h 5157788"/>
              <a:gd name="connsiteX5" fmla="*/ 2746143 w 5481939"/>
              <a:gd name="connsiteY5" fmla="*/ 0 h 5157788"/>
              <a:gd name="connsiteX0" fmla="*/ 2746143 w 5481939"/>
              <a:gd name="connsiteY0" fmla="*/ 0 h 5157788"/>
              <a:gd name="connsiteX1" fmla="*/ 5481939 w 5481939"/>
              <a:gd name="connsiteY1" fmla="*/ 0 h 5157788"/>
              <a:gd name="connsiteX2" fmla="*/ 5481939 w 5481939"/>
              <a:gd name="connsiteY2" fmla="*/ 5157788 h 5157788"/>
              <a:gd name="connsiteX3" fmla="*/ 585903 w 5481939"/>
              <a:gd name="connsiteY3" fmla="*/ 5153180 h 5157788"/>
              <a:gd name="connsiteX4" fmla="*/ 1630664 w 5481939"/>
              <a:gd name="connsiteY4" fmla="*/ 3429000 h 5157788"/>
              <a:gd name="connsiteX5" fmla="*/ 2746143 w 548193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3574235 w 6310031"/>
              <a:gd name="connsiteY0" fmla="*/ 0 h 5157788"/>
              <a:gd name="connsiteX1" fmla="*/ 6310031 w 6310031"/>
              <a:gd name="connsiteY1" fmla="*/ 0 h 5157788"/>
              <a:gd name="connsiteX2" fmla="*/ 6310031 w 6310031"/>
              <a:gd name="connsiteY2" fmla="*/ 5157788 h 5157788"/>
              <a:gd name="connsiteX3" fmla="*/ 585903 w 6310031"/>
              <a:gd name="connsiteY3" fmla="*/ 5153180 h 5157788"/>
              <a:gd name="connsiteX4" fmla="*/ 1738031 w 6310031"/>
              <a:gd name="connsiteY4" fmla="*/ 3389965 h 5157788"/>
              <a:gd name="connsiteX5" fmla="*/ 3574235 w 6310031"/>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296143 w 5724128"/>
              <a:gd name="connsiteY4" fmla="*/ 3461908 h 5157788"/>
              <a:gd name="connsiteX5" fmla="*/ 2988332 w 5724128"/>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1188132 w 5760132"/>
              <a:gd name="connsiteY4" fmla="*/ 3425937 h 5157788"/>
              <a:gd name="connsiteX5" fmla="*/ 3024336 w 5760132"/>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2736304 w 5760132"/>
              <a:gd name="connsiteY4" fmla="*/ 3461908 h 5157788"/>
              <a:gd name="connsiteX5" fmla="*/ 3024336 w 5760132"/>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2736304 w 5760132"/>
              <a:gd name="connsiteY4" fmla="*/ 3461908 h 5157788"/>
              <a:gd name="connsiteX5" fmla="*/ 3024336 w 5760132"/>
              <a:gd name="connsiteY5" fmla="*/ 0 h 5157788"/>
              <a:gd name="connsiteX0" fmla="*/ 2160240 w 4896036"/>
              <a:gd name="connsiteY0" fmla="*/ 0 h 5157788"/>
              <a:gd name="connsiteX1" fmla="*/ 4896036 w 4896036"/>
              <a:gd name="connsiteY1" fmla="*/ 0 h 5157788"/>
              <a:gd name="connsiteX2" fmla="*/ 4896036 w 4896036"/>
              <a:gd name="connsiteY2" fmla="*/ 5157788 h 5157788"/>
              <a:gd name="connsiteX3" fmla="*/ 0 w 4896036"/>
              <a:gd name="connsiteY3" fmla="*/ 5153180 h 5157788"/>
              <a:gd name="connsiteX4" fmla="*/ 1872208 w 4896036"/>
              <a:gd name="connsiteY4" fmla="*/ 3461908 h 5157788"/>
              <a:gd name="connsiteX5" fmla="*/ 2160240 w 4896036"/>
              <a:gd name="connsiteY5" fmla="*/ 0 h 5157788"/>
              <a:gd name="connsiteX0" fmla="*/ 2232248 w 4968044"/>
              <a:gd name="connsiteY0" fmla="*/ 0 h 5157788"/>
              <a:gd name="connsiteX1" fmla="*/ 4968044 w 4968044"/>
              <a:gd name="connsiteY1" fmla="*/ 0 h 5157788"/>
              <a:gd name="connsiteX2" fmla="*/ 4968044 w 4968044"/>
              <a:gd name="connsiteY2" fmla="*/ 5157788 h 5157788"/>
              <a:gd name="connsiteX3" fmla="*/ 0 w 4968044"/>
              <a:gd name="connsiteY3" fmla="*/ 5153180 h 5157788"/>
              <a:gd name="connsiteX4" fmla="*/ 1944216 w 4968044"/>
              <a:gd name="connsiteY4" fmla="*/ 3461908 h 5157788"/>
              <a:gd name="connsiteX5" fmla="*/ 2232248 w 4968044"/>
              <a:gd name="connsiteY5" fmla="*/ 0 h 5157788"/>
              <a:gd name="connsiteX0" fmla="*/ 2207679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207679 w 4943475"/>
              <a:gd name="connsiteY5" fmla="*/ 0 h 5157788"/>
              <a:gd name="connsiteX0" fmla="*/ 2963763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963763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092200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71575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343583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675731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675731 w 4943475"/>
              <a:gd name="connsiteY5" fmla="*/ 0 h 5157788"/>
              <a:gd name="connsiteX0" fmla="*/ 2675731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675731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9672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19672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51412" h="5157788">
                <a:moveTo>
                  <a:pt x="2706687" y="0"/>
                </a:moveTo>
                <a:lnTo>
                  <a:pt x="4951412" y="0"/>
                </a:lnTo>
                <a:lnTo>
                  <a:pt x="4951412" y="5157788"/>
                </a:lnTo>
                <a:lnTo>
                  <a:pt x="0" y="5153180"/>
                </a:lnTo>
                <a:cubicBezTo>
                  <a:pt x="84411" y="4542509"/>
                  <a:pt x="183041" y="4024723"/>
                  <a:pt x="1243508" y="2562613"/>
                </a:cubicBezTo>
                <a:cubicBezTo>
                  <a:pt x="1867447" y="1704780"/>
                  <a:pt x="2665955" y="709265"/>
                  <a:pt x="2706687" y="0"/>
                </a:cubicBezTo>
                <a:close/>
              </a:path>
            </a:pathLst>
          </a:custGeom>
          <a:solidFill>
            <a:schemeClr val="bg2"/>
          </a:solidFill>
          <a:ln w="3175">
            <a:noFill/>
          </a:ln>
        </p:spPr>
        <p:txBody>
          <a:bodyPr tIns="720000" rtlCol="0" anchor="ctr">
            <a:noAutofit/>
          </a:bodyPr>
          <a:lstStyle>
            <a:lvl1pPr algn="ctr">
              <a:defRPr sz="1500">
                <a:solidFill>
                  <a:schemeClr val="bg1"/>
                </a:solidFill>
              </a:defRPr>
            </a:lvl1pPr>
          </a:lstStyle>
          <a:p>
            <a:pPr lvl="0"/>
            <a:r>
              <a:rPr lang="en-US" noProof="0"/>
              <a:t>Click icon to add picture</a:t>
            </a:r>
          </a:p>
        </p:txBody>
      </p:sp>
      <p:sp>
        <p:nvSpPr>
          <p:cNvPr id="11" name="Espace réservé de la date 9"/>
          <p:cNvSpPr>
            <a:spLocks noGrp="1"/>
          </p:cNvSpPr>
          <p:nvPr>
            <p:ph type="dt" sz="half" idx="20"/>
          </p:nvPr>
        </p:nvSpPr>
        <p:spPr/>
        <p:txBody>
          <a:bodyPr/>
          <a:lstStyle>
            <a:lvl1pPr>
              <a:defRPr/>
            </a:lvl1pPr>
          </a:lstStyle>
          <a:p>
            <a:pPr>
              <a:defRPr/>
            </a:pPr>
            <a:r>
              <a:rPr lang="en-US">
                <a:solidFill>
                  <a:prstClr val="white">
                    <a:alpha val="0"/>
                  </a:prstClr>
                </a:solidFill>
              </a:rPr>
              <a:t>Date</a:t>
            </a:r>
          </a:p>
        </p:txBody>
      </p:sp>
      <p:sp>
        <p:nvSpPr>
          <p:cNvPr id="12" name="Espace réservé du numéro de diapositive 10"/>
          <p:cNvSpPr>
            <a:spLocks noGrp="1"/>
          </p:cNvSpPr>
          <p:nvPr>
            <p:ph type="sldNum" sz="quarter" idx="21"/>
          </p:nvPr>
        </p:nvSpPr>
        <p:spPr/>
        <p:txBody>
          <a:bodyPr/>
          <a:lstStyle>
            <a:lvl1pPr>
              <a:defRPr sz="100">
                <a:solidFill>
                  <a:schemeClr val="bg1">
                    <a:alpha val="0"/>
                  </a:schemeClr>
                </a:solidFill>
              </a:defRPr>
            </a:lvl1pPr>
          </a:lstStyle>
          <a:p>
            <a:pPr>
              <a:defRPr/>
            </a:pPr>
            <a:r>
              <a:rPr lang="en-US">
                <a:solidFill>
                  <a:prstClr val="white">
                    <a:alpha val="0"/>
                  </a:prstClr>
                </a:solidFill>
              </a:rPr>
              <a:t>Page: </a:t>
            </a:r>
            <a:fld id="{4AF4F797-1FBC-44F9-B7CF-6A5F893B852E}" type="slidenum">
              <a:rPr lang="en-US">
                <a:solidFill>
                  <a:prstClr val="white">
                    <a:alpha val="0"/>
                  </a:prstClr>
                </a:solidFill>
              </a:rPr>
              <a:pPr>
                <a:defRPr/>
              </a:pPr>
              <a:t>‹#›</a:t>
            </a:fld>
            <a:endParaRPr lang="en-US">
              <a:solidFill>
                <a:prstClr val="white">
                  <a:alpha val="0"/>
                </a:prstClr>
              </a:solidFill>
            </a:endParaRPr>
          </a:p>
        </p:txBody>
      </p:sp>
      <p:sp>
        <p:nvSpPr>
          <p:cNvPr id="14" name="Espace réservé du pied de page 11"/>
          <p:cNvSpPr>
            <a:spLocks noGrp="1"/>
          </p:cNvSpPr>
          <p:nvPr>
            <p:ph type="ftr" sz="quarter" idx="22"/>
          </p:nvPr>
        </p:nvSpPr>
        <p:spPr>
          <a:xfrm>
            <a:off x="468313" y="523875"/>
            <a:ext cx="4824412" cy="360363"/>
          </a:xfrm>
        </p:spPr>
        <p:txBody>
          <a:bodyPr/>
          <a:lstStyle>
            <a:lvl1pPr algn="l">
              <a:defRPr sz="1800" b="0">
                <a:solidFill>
                  <a:schemeClr val="bg1"/>
                </a:solidFill>
              </a:defRPr>
            </a:lvl1pPr>
          </a:lstStyle>
          <a:p>
            <a:pPr>
              <a:defRPr/>
            </a:pPr>
            <a:r>
              <a:rPr lang="en-US">
                <a:solidFill>
                  <a:prstClr val="white"/>
                </a:solidFill>
              </a:rPr>
              <a:t>#</a:t>
            </a:r>
            <a:r>
              <a:rPr lang="en-US" err="1">
                <a:solidFill>
                  <a:prstClr val="white"/>
                </a:solidFill>
              </a:rPr>
              <a:t>vaccineswork</a:t>
            </a:r>
            <a:endParaRPr lang="en-US">
              <a:solidFill>
                <a:prstClr val="white"/>
              </a:solidFill>
            </a:endParaRPr>
          </a:p>
        </p:txBody>
      </p:sp>
    </p:spTree>
    <p:extLst>
      <p:ext uri="{BB962C8B-B14F-4D97-AF65-F5344CB8AC3E}">
        <p14:creationId xmlns:p14="http://schemas.microsoft.com/office/powerpoint/2010/main" val="2322295901"/>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hank_you_2">
    <p:spTree>
      <p:nvGrpSpPr>
        <p:cNvPr id="1" name=""/>
        <p:cNvGrpSpPr/>
        <p:nvPr/>
      </p:nvGrpSpPr>
      <p:grpSpPr>
        <a:xfrm>
          <a:off x="0" y="0"/>
          <a:ext cx="0" cy="0"/>
          <a:chOff x="0" y="0"/>
          <a:chExt cx="0" cy="0"/>
        </a:xfrm>
      </p:grpSpPr>
      <p:sp>
        <p:nvSpPr>
          <p:cNvPr id="5" name="Rectangle 4"/>
          <p:cNvSpPr/>
          <p:nvPr userDrawn="1"/>
        </p:nvSpPr>
        <p:spPr bwMode="gray">
          <a:xfrm>
            <a:off x="3635375" y="5265738"/>
            <a:ext cx="5508625" cy="15922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prstClr val="white"/>
              </a:solidFill>
            </a:endParaRPr>
          </a:p>
        </p:txBody>
      </p:sp>
      <p:pic>
        <p:nvPicPr>
          <p:cNvPr id="6" name="Image 20" descr="FD_1_L254.png"/>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gray">
          <a:xfrm>
            <a:off x="0" y="0"/>
            <a:ext cx="9144000" cy="51577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7" name="Image 19" descr="Bas_couv.png"/>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gray">
          <a:xfrm>
            <a:off x="0" y="5172075"/>
            <a:ext cx="3635375" cy="16859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8" name="Rectangle 7"/>
          <p:cNvSpPr/>
          <p:nvPr userDrawn="1"/>
        </p:nvSpPr>
        <p:spPr bwMode="gray">
          <a:xfrm>
            <a:off x="3635375" y="6354763"/>
            <a:ext cx="5113338" cy="2873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p>
            <a:pPr algn="r">
              <a:defRPr/>
            </a:pPr>
            <a:r>
              <a:rPr lang="en-US" sz="1000" err="1">
                <a:solidFill>
                  <a:srgbClr val="95D600"/>
                </a:solidFill>
              </a:rPr>
              <a:t>www.gavi.org</a:t>
            </a:r>
            <a:endParaRPr lang="en-US" sz="1000">
              <a:solidFill>
                <a:srgbClr val="95D600"/>
              </a:solidFill>
            </a:endParaRPr>
          </a:p>
        </p:txBody>
      </p:sp>
      <p:cxnSp>
        <p:nvCxnSpPr>
          <p:cNvPr id="10" name="Connecteur droit 13"/>
          <p:cNvCxnSpPr/>
          <p:nvPr userDrawn="1"/>
        </p:nvCxnSpPr>
        <p:spPr bwMode="gray">
          <a:xfrm flipH="1">
            <a:off x="468313" y="3402013"/>
            <a:ext cx="2447925" cy="0"/>
          </a:xfrm>
          <a:prstGeom prst="line">
            <a:avLst/>
          </a:prstGeom>
          <a:ln w="24130">
            <a:solidFill>
              <a:schemeClr val="accent1"/>
            </a:solidFill>
          </a:ln>
        </p:spPr>
        <p:style>
          <a:lnRef idx="1">
            <a:schemeClr val="accent1"/>
          </a:lnRef>
          <a:fillRef idx="0">
            <a:schemeClr val="accent1"/>
          </a:fillRef>
          <a:effectRef idx="0">
            <a:schemeClr val="accent1"/>
          </a:effectRef>
          <a:fontRef idx="minor">
            <a:schemeClr val="tx1"/>
          </a:fontRef>
        </p:style>
      </p:cxnSp>
      <p:sp>
        <p:nvSpPr>
          <p:cNvPr id="9" name="Espace réservé du texte 8"/>
          <p:cNvSpPr>
            <a:spLocks noGrp="1"/>
          </p:cNvSpPr>
          <p:nvPr>
            <p:ph type="body" sz="quarter" idx="13"/>
          </p:nvPr>
        </p:nvSpPr>
        <p:spPr bwMode="gray">
          <a:xfrm>
            <a:off x="468314" y="1036800"/>
            <a:ext cx="4824000" cy="2242800"/>
          </a:xfrm>
        </p:spPr>
        <p:txBody>
          <a:bodyPr anchor="b"/>
          <a:lstStyle>
            <a:lvl1pPr marL="0" indent="0" algn="l">
              <a:lnSpc>
                <a:spcPct val="90000"/>
              </a:lnSpc>
              <a:buNone/>
              <a:defRPr sz="2800" b="1" cap="none" baseline="0">
                <a:solidFill>
                  <a:schemeClr val="bg1"/>
                </a:solidFill>
              </a:defRPr>
            </a:lvl1pPr>
            <a:lvl2pPr marL="0" algn="ctr">
              <a:lnSpc>
                <a:spcPct val="100000"/>
              </a:lnSpc>
              <a:spcBef>
                <a:spcPts val="6900"/>
              </a:spcBef>
              <a:defRPr sz="2000" b="1">
                <a:solidFill>
                  <a:schemeClr val="bg1"/>
                </a:solidFill>
              </a:defRPr>
            </a:lvl2pPr>
          </a:lstStyle>
          <a:p>
            <a:pPr lvl="0"/>
            <a:r>
              <a:rPr lang="en-US" noProof="0"/>
              <a:t>Click to edit Master text styles</a:t>
            </a:r>
          </a:p>
        </p:txBody>
      </p:sp>
      <p:sp>
        <p:nvSpPr>
          <p:cNvPr id="15" name="Espace réservé du texte 14"/>
          <p:cNvSpPr>
            <a:spLocks noGrp="1"/>
          </p:cNvSpPr>
          <p:nvPr>
            <p:ph type="body" sz="quarter" idx="19"/>
          </p:nvPr>
        </p:nvSpPr>
        <p:spPr bwMode="gray">
          <a:xfrm>
            <a:off x="3635376" y="6021388"/>
            <a:ext cx="5113338" cy="324000"/>
          </a:xfrm>
        </p:spPr>
        <p:txBody>
          <a:bodyPr anchor="b"/>
          <a:lstStyle>
            <a:lvl1pPr algn="r">
              <a:lnSpc>
                <a:spcPct val="100000"/>
              </a:lnSpc>
              <a:defRPr sz="1000" b="1">
                <a:solidFill>
                  <a:schemeClr val="accent3"/>
                </a:solidFill>
              </a:defRPr>
            </a:lvl1pPr>
          </a:lstStyle>
          <a:p>
            <a:pPr lvl="0"/>
            <a:r>
              <a:rPr lang="en-US" noProof="0"/>
              <a:t>Click to edit Master text styles</a:t>
            </a:r>
          </a:p>
        </p:txBody>
      </p:sp>
      <p:sp>
        <p:nvSpPr>
          <p:cNvPr id="13" name="Espace réservé pour une image  17"/>
          <p:cNvSpPr>
            <a:spLocks noGrp="1"/>
          </p:cNvSpPr>
          <p:nvPr>
            <p:ph type="pic" sz="quarter" idx="18"/>
          </p:nvPr>
        </p:nvSpPr>
        <p:spPr bwMode="gray">
          <a:xfrm>
            <a:off x="4192588" y="0"/>
            <a:ext cx="4951412" cy="5162400"/>
          </a:xfrm>
          <a:custGeom>
            <a:avLst/>
            <a:gdLst>
              <a:gd name="connsiteX0" fmla="*/ 0 w 3851275"/>
              <a:gd name="connsiteY0" fmla="*/ 0 h 5157788"/>
              <a:gd name="connsiteX1" fmla="*/ 3851275 w 3851275"/>
              <a:gd name="connsiteY1" fmla="*/ 0 h 5157788"/>
              <a:gd name="connsiteX2" fmla="*/ 3851275 w 3851275"/>
              <a:gd name="connsiteY2" fmla="*/ 5157788 h 5157788"/>
              <a:gd name="connsiteX3" fmla="*/ 0 w 3851275"/>
              <a:gd name="connsiteY3" fmla="*/ 5157788 h 5157788"/>
              <a:gd name="connsiteX4" fmla="*/ 0 w 3851275"/>
              <a:gd name="connsiteY4"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0 w 3851275"/>
              <a:gd name="connsiteY3" fmla="*/ 5157788 h 5157788"/>
              <a:gd name="connsiteX4" fmla="*/ 1692275 w 3851275"/>
              <a:gd name="connsiteY4" fmla="*/ 0 h 5157788"/>
              <a:gd name="connsiteX0" fmla="*/ 0 w 2159000"/>
              <a:gd name="connsiteY0" fmla="*/ 0 h 5157788"/>
              <a:gd name="connsiteX1" fmla="*/ 2159000 w 2159000"/>
              <a:gd name="connsiteY1" fmla="*/ 0 h 5157788"/>
              <a:gd name="connsiteX2" fmla="*/ 2159000 w 2159000"/>
              <a:gd name="connsiteY2" fmla="*/ 5157788 h 5157788"/>
              <a:gd name="connsiteX3" fmla="*/ 0 w 2159000"/>
              <a:gd name="connsiteY3" fmla="*/ 5157788 h 5157788"/>
              <a:gd name="connsiteX4" fmla="*/ 0 w 2159000"/>
              <a:gd name="connsiteY4" fmla="*/ 0 h 5157788"/>
              <a:gd name="connsiteX0" fmla="*/ 2625271 w 4784271"/>
              <a:gd name="connsiteY0" fmla="*/ 0 h 5157788"/>
              <a:gd name="connsiteX1" fmla="*/ 4784271 w 4784271"/>
              <a:gd name="connsiteY1" fmla="*/ 0 h 5157788"/>
              <a:gd name="connsiteX2" fmla="*/ 4784271 w 4784271"/>
              <a:gd name="connsiteY2" fmla="*/ 5157788 h 5157788"/>
              <a:gd name="connsiteX3" fmla="*/ 2625271 w 4784271"/>
              <a:gd name="connsiteY3" fmla="*/ 5157788 h 5157788"/>
              <a:gd name="connsiteX4" fmla="*/ 2625271 w 4784271"/>
              <a:gd name="connsiteY4" fmla="*/ 0 h 5157788"/>
              <a:gd name="connsiteX0" fmla="*/ 2625271 w 4784271"/>
              <a:gd name="connsiteY0" fmla="*/ 0 h 5157788"/>
              <a:gd name="connsiteX1" fmla="*/ 4784271 w 4784271"/>
              <a:gd name="connsiteY1" fmla="*/ 0 h 5157788"/>
              <a:gd name="connsiteX2" fmla="*/ 4784271 w 4784271"/>
              <a:gd name="connsiteY2" fmla="*/ 5157788 h 5157788"/>
              <a:gd name="connsiteX3" fmla="*/ 2625271 w 4784271"/>
              <a:gd name="connsiteY3" fmla="*/ 5157788 h 5157788"/>
              <a:gd name="connsiteX4" fmla="*/ 2625271 w 4784271"/>
              <a:gd name="connsiteY4" fmla="*/ 0 h 5157788"/>
              <a:gd name="connsiteX0" fmla="*/ 3568576 w 5727576"/>
              <a:gd name="connsiteY0" fmla="*/ 0 h 5157788"/>
              <a:gd name="connsiteX1" fmla="*/ 5727576 w 5727576"/>
              <a:gd name="connsiteY1" fmla="*/ 0 h 5157788"/>
              <a:gd name="connsiteX2" fmla="*/ 5727576 w 5727576"/>
              <a:gd name="connsiteY2" fmla="*/ 5157788 h 5157788"/>
              <a:gd name="connsiteX3" fmla="*/ 3568576 w 5727576"/>
              <a:gd name="connsiteY3" fmla="*/ 5157788 h 5157788"/>
              <a:gd name="connsiteX4" fmla="*/ 3568576 w 5727576"/>
              <a:gd name="connsiteY4" fmla="*/ 0 h 5157788"/>
              <a:gd name="connsiteX0" fmla="*/ 3306355 w 5465355"/>
              <a:gd name="connsiteY0" fmla="*/ 0 h 5157788"/>
              <a:gd name="connsiteX1" fmla="*/ 5465355 w 5465355"/>
              <a:gd name="connsiteY1" fmla="*/ 0 h 5157788"/>
              <a:gd name="connsiteX2" fmla="*/ 5465355 w 5465355"/>
              <a:gd name="connsiteY2" fmla="*/ 5157788 h 5157788"/>
              <a:gd name="connsiteX3" fmla="*/ 3306355 w 5465355"/>
              <a:gd name="connsiteY3" fmla="*/ 5157788 h 5157788"/>
              <a:gd name="connsiteX4" fmla="*/ 3306355 w 5465355"/>
              <a:gd name="connsiteY4" fmla="*/ 0 h 5157788"/>
              <a:gd name="connsiteX0" fmla="*/ 1416957 w 3575957"/>
              <a:gd name="connsiteY0" fmla="*/ 0 h 5157788"/>
              <a:gd name="connsiteX1" fmla="*/ 3575957 w 3575957"/>
              <a:gd name="connsiteY1" fmla="*/ 0 h 5157788"/>
              <a:gd name="connsiteX2" fmla="*/ 3575957 w 3575957"/>
              <a:gd name="connsiteY2" fmla="*/ 5157788 h 5157788"/>
              <a:gd name="connsiteX3" fmla="*/ 1416957 w 3575957"/>
              <a:gd name="connsiteY3" fmla="*/ 5157788 h 5157788"/>
              <a:gd name="connsiteX4" fmla="*/ 0 w 3575957"/>
              <a:gd name="connsiteY4" fmla="*/ 3339193 h 5157788"/>
              <a:gd name="connsiteX5" fmla="*/ 1416957 w 3575957"/>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6017419"/>
              <a:gd name="connsiteX1" fmla="*/ 3851275 w 3851275"/>
              <a:gd name="connsiteY1" fmla="*/ 0 h 6017419"/>
              <a:gd name="connsiteX2" fmla="*/ 3851275 w 3851275"/>
              <a:gd name="connsiteY2" fmla="*/ 5157788 h 6017419"/>
              <a:gd name="connsiteX3" fmla="*/ 1692275 w 3851275"/>
              <a:gd name="connsiteY3" fmla="*/ 5157788 h 6017419"/>
              <a:gd name="connsiteX4" fmla="*/ 0 w 3851275"/>
              <a:gd name="connsiteY4" fmla="*/ 3284984 h 6017419"/>
              <a:gd name="connsiteX5" fmla="*/ 1692275 w 3851275"/>
              <a:gd name="connsiteY5" fmla="*/ 0 h 6017419"/>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429000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429000 h 5157788"/>
              <a:gd name="connsiteX5" fmla="*/ 1710871 w 3869871"/>
              <a:gd name="connsiteY5" fmla="*/ 0 h 5157788"/>
              <a:gd name="connsiteX0" fmla="*/ 1704975 w 3863975"/>
              <a:gd name="connsiteY0" fmla="*/ 0 h 5157788"/>
              <a:gd name="connsiteX1" fmla="*/ 3863975 w 3863975"/>
              <a:gd name="connsiteY1" fmla="*/ 0 h 5157788"/>
              <a:gd name="connsiteX2" fmla="*/ 3863975 w 3863975"/>
              <a:gd name="connsiteY2" fmla="*/ 5157788 h 5157788"/>
              <a:gd name="connsiteX3" fmla="*/ 1704975 w 3863975"/>
              <a:gd name="connsiteY3" fmla="*/ 5157788 h 5157788"/>
              <a:gd name="connsiteX4" fmla="*/ 12700 w 3863975"/>
              <a:gd name="connsiteY4" fmla="*/ 3429000 h 5157788"/>
              <a:gd name="connsiteX5" fmla="*/ 1704975 w 3863975"/>
              <a:gd name="connsiteY5" fmla="*/ 0 h 5157788"/>
              <a:gd name="connsiteX0" fmla="*/ 1707243 w 3866243"/>
              <a:gd name="connsiteY0" fmla="*/ 0 h 5157788"/>
              <a:gd name="connsiteX1" fmla="*/ 3866243 w 3866243"/>
              <a:gd name="connsiteY1" fmla="*/ 0 h 5157788"/>
              <a:gd name="connsiteX2" fmla="*/ 3866243 w 3866243"/>
              <a:gd name="connsiteY2" fmla="*/ 5157788 h 5157788"/>
              <a:gd name="connsiteX3" fmla="*/ 1707243 w 3866243"/>
              <a:gd name="connsiteY3" fmla="*/ 5157788 h 5157788"/>
              <a:gd name="connsiteX4" fmla="*/ 14968 w 3866243"/>
              <a:gd name="connsiteY4" fmla="*/ 3429000 h 5157788"/>
              <a:gd name="connsiteX5" fmla="*/ 1707243 w 3866243"/>
              <a:gd name="connsiteY5" fmla="*/ 0 h 5157788"/>
              <a:gd name="connsiteX0" fmla="*/ 1130447 w 3866243"/>
              <a:gd name="connsiteY0" fmla="*/ 0 h 5157788"/>
              <a:gd name="connsiteX1" fmla="*/ 3866243 w 3866243"/>
              <a:gd name="connsiteY1" fmla="*/ 0 h 5157788"/>
              <a:gd name="connsiteX2" fmla="*/ 3866243 w 3866243"/>
              <a:gd name="connsiteY2" fmla="*/ 5157788 h 5157788"/>
              <a:gd name="connsiteX3" fmla="*/ 1707243 w 3866243"/>
              <a:gd name="connsiteY3" fmla="*/ 5157788 h 5157788"/>
              <a:gd name="connsiteX4" fmla="*/ 14968 w 3866243"/>
              <a:gd name="connsiteY4" fmla="*/ 3429000 h 5157788"/>
              <a:gd name="connsiteX5" fmla="*/ 1130447 w 3866243"/>
              <a:gd name="connsiteY5" fmla="*/ 0 h 5157788"/>
              <a:gd name="connsiteX0" fmla="*/ 2746143 w 5481939"/>
              <a:gd name="connsiteY0" fmla="*/ 0 h 5157788"/>
              <a:gd name="connsiteX1" fmla="*/ 5481939 w 5481939"/>
              <a:gd name="connsiteY1" fmla="*/ 0 h 5157788"/>
              <a:gd name="connsiteX2" fmla="*/ 5481939 w 5481939"/>
              <a:gd name="connsiteY2" fmla="*/ 5157788 h 5157788"/>
              <a:gd name="connsiteX3" fmla="*/ 585903 w 5481939"/>
              <a:gd name="connsiteY3" fmla="*/ 5153180 h 5157788"/>
              <a:gd name="connsiteX4" fmla="*/ 1630664 w 5481939"/>
              <a:gd name="connsiteY4" fmla="*/ 3429000 h 5157788"/>
              <a:gd name="connsiteX5" fmla="*/ 2746143 w 5481939"/>
              <a:gd name="connsiteY5" fmla="*/ 0 h 5157788"/>
              <a:gd name="connsiteX0" fmla="*/ 2746143 w 5481939"/>
              <a:gd name="connsiteY0" fmla="*/ 0 h 5157788"/>
              <a:gd name="connsiteX1" fmla="*/ 5481939 w 5481939"/>
              <a:gd name="connsiteY1" fmla="*/ 0 h 5157788"/>
              <a:gd name="connsiteX2" fmla="*/ 5481939 w 5481939"/>
              <a:gd name="connsiteY2" fmla="*/ 5157788 h 5157788"/>
              <a:gd name="connsiteX3" fmla="*/ 585903 w 5481939"/>
              <a:gd name="connsiteY3" fmla="*/ 5153180 h 5157788"/>
              <a:gd name="connsiteX4" fmla="*/ 1630664 w 5481939"/>
              <a:gd name="connsiteY4" fmla="*/ 3429000 h 5157788"/>
              <a:gd name="connsiteX5" fmla="*/ 2746143 w 548193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3574235 w 6310031"/>
              <a:gd name="connsiteY0" fmla="*/ 0 h 5157788"/>
              <a:gd name="connsiteX1" fmla="*/ 6310031 w 6310031"/>
              <a:gd name="connsiteY1" fmla="*/ 0 h 5157788"/>
              <a:gd name="connsiteX2" fmla="*/ 6310031 w 6310031"/>
              <a:gd name="connsiteY2" fmla="*/ 5157788 h 5157788"/>
              <a:gd name="connsiteX3" fmla="*/ 585903 w 6310031"/>
              <a:gd name="connsiteY3" fmla="*/ 5153180 h 5157788"/>
              <a:gd name="connsiteX4" fmla="*/ 1738031 w 6310031"/>
              <a:gd name="connsiteY4" fmla="*/ 3389965 h 5157788"/>
              <a:gd name="connsiteX5" fmla="*/ 3574235 w 6310031"/>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296143 w 5724128"/>
              <a:gd name="connsiteY4" fmla="*/ 3461908 h 5157788"/>
              <a:gd name="connsiteX5" fmla="*/ 2988332 w 5724128"/>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1188132 w 5760132"/>
              <a:gd name="connsiteY4" fmla="*/ 3425937 h 5157788"/>
              <a:gd name="connsiteX5" fmla="*/ 3024336 w 5760132"/>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2736304 w 5760132"/>
              <a:gd name="connsiteY4" fmla="*/ 3461908 h 5157788"/>
              <a:gd name="connsiteX5" fmla="*/ 3024336 w 5760132"/>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2736304 w 5760132"/>
              <a:gd name="connsiteY4" fmla="*/ 3461908 h 5157788"/>
              <a:gd name="connsiteX5" fmla="*/ 3024336 w 5760132"/>
              <a:gd name="connsiteY5" fmla="*/ 0 h 5157788"/>
              <a:gd name="connsiteX0" fmla="*/ 2160240 w 4896036"/>
              <a:gd name="connsiteY0" fmla="*/ 0 h 5157788"/>
              <a:gd name="connsiteX1" fmla="*/ 4896036 w 4896036"/>
              <a:gd name="connsiteY1" fmla="*/ 0 h 5157788"/>
              <a:gd name="connsiteX2" fmla="*/ 4896036 w 4896036"/>
              <a:gd name="connsiteY2" fmla="*/ 5157788 h 5157788"/>
              <a:gd name="connsiteX3" fmla="*/ 0 w 4896036"/>
              <a:gd name="connsiteY3" fmla="*/ 5153180 h 5157788"/>
              <a:gd name="connsiteX4" fmla="*/ 1872208 w 4896036"/>
              <a:gd name="connsiteY4" fmla="*/ 3461908 h 5157788"/>
              <a:gd name="connsiteX5" fmla="*/ 2160240 w 4896036"/>
              <a:gd name="connsiteY5" fmla="*/ 0 h 5157788"/>
              <a:gd name="connsiteX0" fmla="*/ 2232248 w 4968044"/>
              <a:gd name="connsiteY0" fmla="*/ 0 h 5157788"/>
              <a:gd name="connsiteX1" fmla="*/ 4968044 w 4968044"/>
              <a:gd name="connsiteY1" fmla="*/ 0 h 5157788"/>
              <a:gd name="connsiteX2" fmla="*/ 4968044 w 4968044"/>
              <a:gd name="connsiteY2" fmla="*/ 5157788 h 5157788"/>
              <a:gd name="connsiteX3" fmla="*/ 0 w 4968044"/>
              <a:gd name="connsiteY3" fmla="*/ 5153180 h 5157788"/>
              <a:gd name="connsiteX4" fmla="*/ 1944216 w 4968044"/>
              <a:gd name="connsiteY4" fmla="*/ 3461908 h 5157788"/>
              <a:gd name="connsiteX5" fmla="*/ 2232248 w 4968044"/>
              <a:gd name="connsiteY5" fmla="*/ 0 h 5157788"/>
              <a:gd name="connsiteX0" fmla="*/ 2207679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207679 w 4943475"/>
              <a:gd name="connsiteY5" fmla="*/ 0 h 5157788"/>
              <a:gd name="connsiteX0" fmla="*/ 2963763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963763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092200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71575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343583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675731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675731 w 4943475"/>
              <a:gd name="connsiteY5" fmla="*/ 0 h 5157788"/>
              <a:gd name="connsiteX0" fmla="*/ 2675731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675731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9672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19672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51412" h="5157788">
                <a:moveTo>
                  <a:pt x="2706687" y="0"/>
                </a:moveTo>
                <a:lnTo>
                  <a:pt x="4951412" y="0"/>
                </a:lnTo>
                <a:lnTo>
                  <a:pt x="4951412" y="5157788"/>
                </a:lnTo>
                <a:lnTo>
                  <a:pt x="0" y="5153180"/>
                </a:lnTo>
                <a:cubicBezTo>
                  <a:pt x="84411" y="4542509"/>
                  <a:pt x="183041" y="4024723"/>
                  <a:pt x="1243508" y="2562613"/>
                </a:cubicBezTo>
                <a:cubicBezTo>
                  <a:pt x="1867447" y="1704780"/>
                  <a:pt x="2665955" y="709265"/>
                  <a:pt x="2706687" y="0"/>
                </a:cubicBezTo>
                <a:close/>
              </a:path>
            </a:pathLst>
          </a:custGeom>
          <a:solidFill>
            <a:schemeClr val="bg2"/>
          </a:solidFill>
          <a:ln w="3175">
            <a:noFill/>
          </a:ln>
        </p:spPr>
        <p:txBody>
          <a:bodyPr tIns="720000" rtlCol="0" anchor="ctr">
            <a:noAutofit/>
          </a:bodyPr>
          <a:lstStyle>
            <a:lvl1pPr algn="ctr">
              <a:defRPr sz="1500">
                <a:solidFill>
                  <a:schemeClr val="bg1"/>
                </a:solidFill>
              </a:defRPr>
            </a:lvl1pPr>
          </a:lstStyle>
          <a:p>
            <a:pPr lvl="0"/>
            <a:r>
              <a:rPr lang="en-US" noProof="0"/>
              <a:t>Click icon to add picture</a:t>
            </a:r>
          </a:p>
        </p:txBody>
      </p:sp>
      <p:sp>
        <p:nvSpPr>
          <p:cNvPr id="11" name="Espace réservé de la date 9"/>
          <p:cNvSpPr>
            <a:spLocks noGrp="1"/>
          </p:cNvSpPr>
          <p:nvPr>
            <p:ph type="dt" sz="half" idx="20"/>
          </p:nvPr>
        </p:nvSpPr>
        <p:spPr/>
        <p:txBody>
          <a:bodyPr/>
          <a:lstStyle>
            <a:lvl1pPr>
              <a:defRPr/>
            </a:lvl1pPr>
          </a:lstStyle>
          <a:p>
            <a:pPr>
              <a:defRPr/>
            </a:pPr>
            <a:r>
              <a:rPr lang="en-US">
                <a:solidFill>
                  <a:prstClr val="white">
                    <a:alpha val="0"/>
                  </a:prstClr>
                </a:solidFill>
              </a:rPr>
              <a:t>Date</a:t>
            </a:r>
          </a:p>
        </p:txBody>
      </p:sp>
      <p:sp>
        <p:nvSpPr>
          <p:cNvPr id="12" name="Espace réservé du numéro de diapositive 10"/>
          <p:cNvSpPr>
            <a:spLocks noGrp="1"/>
          </p:cNvSpPr>
          <p:nvPr>
            <p:ph type="sldNum" sz="quarter" idx="21"/>
          </p:nvPr>
        </p:nvSpPr>
        <p:spPr/>
        <p:txBody>
          <a:bodyPr/>
          <a:lstStyle>
            <a:lvl1pPr>
              <a:defRPr sz="100">
                <a:solidFill>
                  <a:schemeClr val="bg1">
                    <a:alpha val="0"/>
                  </a:schemeClr>
                </a:solidFill>
              </a:defRPr>
            </a:lvl1pPr>
          </a:lstStyle>
          <a:p>
            <a:pPr>
              <a:defRPr/>
            </a:pPr>
            <a:r>
              <a:rPr lang="en-US">
                <a:solidFill>
                  <a:prstClr val="white">
                    <a:alpha val="0"/>
                  </a:prstClr>
                </a:solidFill>
              </a:rPr>
              <a:t>Page: </a:t>
            </a:r>
            <a:fld id="{168EB3F5-198F-4211-80D0-E690EB6CEA77}" type="slidenum">
              <a:rPr lang="en-US">
                <a:solidFill>
                  <a:prstClr val="white">
                    <a:alpha val="0"/>
                  </a:prstClr>
                </a:solidFill>
              </a:rPr>
              <a:pPr>
                <a:defRPr/>
              </a:pPr>
              <a:t>‹#›</a:t>
            </a:fld>
            <a:endParaRPr lang="en-US">
              <a:solidFill>
                <a:prstClr val="white">
                  <a:alpha val="0"/>
                </a:prstClr>
              </a:solidFill>
            </a:endParaRPr>
          </a:p>
        </p:txBody>
      </p:sp>
      <p:sp>
        <p:nvSpPr>
          <p:cNvPr id="14" name="Espace réservé du pied de page 11"/>
          <p:cNvSpPr>
            <a:spLocks noGrp="1"/>
          </p:cNvSpPr>
          <p:nvPr>
            <p:ph type="ftr" sz="quarter" idx="22"/>
          </p:nvPr>
        </p:nvSpPr>
        <p:spPr>
          <a:xfrm>
            <a:off x="468313" y="523875"/>
            <a:ext cx="4824412" cy="360363"/>
          </a:xfrm>
        </p:spPr>
        <p:txBody>
          <a:bodyPr/>
          <a:lstStyle>
            <a:lvl1pPr algn="l">
              <a:defRPr sz="1800" b="0">
                <a:solidFill>
                  <a:schemeClr val="bg1"/>
                </a:solidFill>
              </a:defRPr>
            </a:lvl1pPr>
          </a:lstStyle>
          <a:p>
            <a:pPr>
              <a:defRPr/>
            </a:pPr>
            <a:r>
              <a:rPr lang="en-US">
                <a:solidFill>
                  <a:prstClr val="white"/>
                </a:solidFill>
              </a:rPr>
              <a:t>#</a:t>
            </a:r>
            <a:r>
              <a:rPr lang="en-US" err="1">
                <a:solidFill>
                  <a:prstClr val="white"/>
                </a:solidFill>
              </a:rPr>
              <a:t>vaccineswork</a:t>
            </a:r>
            <a:endParaRPr lang="en-US">
              <a:solidFill>
                <a:prstClr val="white"/>
              </a:solidFill>
            </a:endParaRPr>
          </a:p>
        </p:txBody>
      </p:sp>
    </p:spTree>
    <p:extLst>
      <p:ext uri="{BB962C8B-B14F-4D97-AF65-F5344CB8AC3E}">
        <p14:creationId xmlns:p14="http://schemas.microsoft.com/office/powerpoint/2010/main" val="4264635128"/>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userDrawn="1">
  <p:cSld name="Text and Visual">
    <p:spTree>
      <p:nvGrpSpPr>
        <p:cNvPr id="1" name=""/>
        <p:cNvGrpSpPr/>
        <p:nvPr/>
      </p:nvGrpSpPr>
      <p:grpSpPr>
        <a:xfrm>
          <a:off x="0" y="0"/>
          <a:ext cx="0" cy="0"/>
          <a:chOff x="0" y="0"/>
          <a:chExt cx="0" cy="0"/>
        </a:xfrm>
      </p:grpSpPr>
      <p:sp>
        <p:nvSpPr>
          <p:cNvPr id="2" name="Title 1"/>
          <p:cNvSpPr>
            <a:spLocks noGrp="1"/>
          </p:cNvSpPr>
          <p:nvPr>
            <p:ph type="title"/>
          </p:nvPr>
        </p:nvSpPr>
        <p:spPr>
          <a:xfrm>
            <a:off x="973138" y="225211"/>
            <a:ext cx="7207249" cy="697999"/>
          </a:xfrm>
        </p:spPr>
        <p:txBody>
          <a:bodyPr/>
          <a:lstStyle/>
          <a:p>
            <a:r>
              <a:rPr lang="en-US"/>
              <a:t>Click to edit Master title style</a:t>
            </a:r>
          </a:p>
        </p:txBody>
      </p:sp>
      <p:sp>
        <p:nvSpPr>
          <p:cNvPr id="4" name="Content Placeholder 3"/>
          <p:cNvSpPr>
            <a:spLocks noGrp="1"/>
          </p:cNvSpPr>
          <p:nvPr>
            <p:ph sz="half" idx="2"/>
          </p:nvPr>
        </p:nvSpPr>
        <p:spPr>
          <a:xfrm>
            <a:off x="3425825" y="2302159"/>
            <a:ext cx="4754564" cy="2541673"/>
          </a:xfrm>
        </p:spPr>
        <p:txBody>
          <a:bodyPr/>
          <a:lstStyle>
            <a:lvl1pPr>
              <a:defRPr sz="1600"/>
            </a:lvl1pPr>
            <a:lvl2pPr marL="457200" indent="0">
              <a:buNone/>
              <a:defRPr sz="1600"/>
            </a:lvl2pPr>
            <a:lvl3pPr marL="914400" indent="0">
              <a:buNone/>
              <a:defRPr sz="1600"/>
            </a:lvl3pPr>
            <a:lvl4pPr marL="1371600" indent="0">
              <a:buNone/>
              <a:defRPr sz="1600"/>
            </a:lvl4pPr>
            <a:lvl5pPr marL="1828800" indent="0">
              <a:buNone/>
              <a:defRPr sz="16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p:cNvSpPr>
            <a:spLocks noGrp="1"/>
          </p:cNvSpPr>
          <p:nvPr>
            <p:ph type="pic" sz="quarter" idx="13"/>
          </p:nvPr>
        </p:nvSpPr>
        <p:spPr>
          <a:xfrm>
            <a:off x="973138" y="1247776"/>
            <a:ext cx="2300287" cy="3450384"/>
          </a:xfrm>
        </p:spPr>
        <p:txBody>
          <a:bodyPr rtlCol="0">
            <a:noAutofit/>
          </a:bodyPr>
          <a:lstStyle/>
          <a:p>
            <a:pPr lvl="0"/>
            <a:endParaRPr lang="en-US" noProof="0"/>
          </a:p>
        </p:txBody>
      </p:sp>
      <p:sp>
        <p:nvSpPr>
          <p:cNvPr id="10" name="Content Placeholder 3"/>
          <p:cNvSpPr>
            <a:spLocks noGrp="1"/>
          </p:cNvSpPr>
          <p:nvPr>
            <p:ph sz="half" idx="14"/>
          </p:nvPr>
        </p:nvSpPr>
        <p:spPr>
          <a:xfrm>
            <a:off x="3425825" y="1241426"/>
            <a:ext cx="4754564" cy="879316"/>
          </a:xfrm>
        </p:spPr>
        <p:txBody>
          <a:bodyPr/>
          <a:lstStyle>
            <a:lvl1pPr marL="0" indent="0">
              <a:buNone/>
              <a:defRPr sz="1600">
                <a:solidFill>
                  <a:srgbClr val="005CB9"/>
                </a:solidFill>
              </a:defRPr>
            </a:lvl1pPr>
            <a:lvl2pPr marL="457200" indent="0">
              <a:buNone/>
              <a:defRPr sz="1400">
                <a:solidFill>
                  <a:srgbClr val="005CB9"/>
                </a:solidFill>
              </a:defRPr>
            </a:lvl2pPr>
            <a:lvl3pPr marL="914400" indent="0">
              <a:buNone/>
              <a:defRPr sz="1400">
                <a:solidFill>
                  <a:srgbClr val="005CB9"/>
                </a:solidFill>
              </a:defRPr>
            </a:lvl3pPr>
            <a:lvl4pPr marL="1371600" indent="0">
              <a:buNone/>
              <a:defRPr sz="1400">
                <a:solidFill>
                  <a:srgbClr val="005CB9"/>
                </a:solidFill>
              </a:defRPr>
            </a:lvl4pPr>
            <a:lvl5pPr marL="1828800" indent="0">
              <a:buNone/>
              <a:defRPr sz="1400">
                <a:solidFill>
                  <a:srgbClr val="005CB9"/>
                </a:solidFill>
              </a:defRPr>
            </a:lvl5pPr>
            <a:lvl6pPr>
              <a:defRPr sz="1800"/>
            </a:lvl6pPr>
            <a:lvl7pPr>
              <a:defRPr sz="1800"/>
            </a:lvl7pPr>
            <a:lvl8pPr>
              <a:defRPr sz="1800"/>
            </a:lvl8pPr>
            <a:lvl9pPr>
              <a:defRPr sz="1800"/>
            </a:lvl9pPr>
          </a:lstStyle>
          <a:p>
            <a:pPr lvl="0"/>
            <a:r>
              <a:rPr lang="en-US"/>
              <a:t>Click to edit Master text styles</a:t>
            </a:r>
          </a:p>
        </p:txBody>
      </p:sp>
      <p:sp>
        <p:nvSpPr>
          <p:cNvPr id="6" name="Footer Placeholder 5"/>
          <p:cNvSpPr>
            <a:spLocks noGrp="1"/>
          </p:cNvSpPr>
          <p:nvPr>
            <p:ph type="ftr" sz="quarter" idx="15"/>
          </p:nvPr>
        </p:nvSpPr>
        <p:spPr/>
        <p:txBody>
          <a:bodyPr/>
          <a:lstStyle>
            <a:lvl1pPr>
              <a:defRPr/>
            </a:lvl1pPr>
          </a:lstStyle>
          <a:p>
            <a:pPr>
              <a:defRPr/>
            </a:pPr>
            <a:r>
              <a:rPr lang="en-US">
                <a:solidFill>
                  <a:srgbClr val="005CB9"/>
                </a:solidFill>
              </a:rPr>
              <a:t>Basic facts about </a:t>
            </a:r>
            <a:r>
              <a:rPr lang="en-US" err="1">
                <a:solidFill>
                  <a:srgbClr val="005CB9"/>
                </a:solidFill>
              </a:rPr>
              <a:t>Gavi</a:t>
            </a:r>
            <a:r>
              <a:rPr lang="en-US">
                <a:solidFill>
                  <a:srgbClr val="005CB9"/>
                </a:solidFill>
              </a:rPr>
              <a:t> the Vaccine Alliance</a:t>
            </a:r>
          </a:p>
        </p:txBody>
      </p:sp>
      <p:sp>
        <p:nvSpPr>
          <p:cNvPr id="7" name="Slide Number Placeholder 6"/>
          <p:cNvSpPr>
            <a:spLocks noGrp="1"/>
          </p:cNvSpPr>
          <p:nvPr>
            <p:ph type="sldNum" sz="quarter" idx="16"/>
          </p:nvPr>
        </p:nvSpPr>
        <p:spPr/>
        <p:txBody>
          <a:bodyPr/>
          <a:lstStyle>
            <a:lvl1pPr algn="ctr">
              <a:defRPr/>
            </a:lvl1pPr>
          </a:lstStyle>
          <a:p>
            <a:pPr>
              <a:defRPr/>
            </a:pPr>
            <a:fld id="{FFE8DD00-E6C1-42A5-A44D-4115350A5429}" type="slidenum">
              <a:rPr lang="en-US">
                <a:solidFill>
                  <a:srgbClr val="343434"/>
                </a:solidFill>
              </a:rPr>
              <a:pPr>
                <a:defRPr/>
              </a:pPr>
              <a:t>‹#›</a:t>
            </a:fld>
            <a:endParaRPr lang="en-US">
              <a:solidFill>
                <a:srgbClr val="343434"/>
              </a:solidFill>
            </a:endParaRPr>
          </a:p>
        </p:txBody>
      </p:sp>
    </p:spTree>
    <p:extLst>
      <p:ext uri="{BB962C8B-B14F-4D97-AF65-F5344CB8AC3E}">
        <p14:creationId xmlns:p14="http://schemas.microsoft.com/office/powerpoint/2010/main" val="52841638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_Blocks_Layout">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p:txBody>
          <a:bodyPr/>
          <a:lstStyle/>
          <a:p>
            <a:r>
              <a:rPr lang="en-US" noProof="0"/>
              <a:t>TITLE</a:t>
            </a:r>
          </a:p>
        </p:txBody>
      </p:sp>
      <p:sp>
        <p:nvSpPr>
          <p:cNvPr id="8" name="Espace réservé de la date 7"/>
          <p:cNvSpPr>
            <a:spLocks noGrp="1"/>
          </p:cNvSpPr>
          <p:nvPr>
            <p:ph type="dt" sz="half" idx="14"/>
          </p:nvPr>
        </p:nvSpPr>
        <p:spPr bwMode="gray"/>
        <p:txBody>
          <a:bodyPr/>
          <a:lstStyle/>
          <a:p>
            <a:r>
              <a:rPr lang="en-US" noProof="0"/>
              <a:t>Date</a:t>
            </a:r>
          </a:p>
        </p:txBody>
      </p:sp>
      <p:sp>
        <p:nvSpPr>
          <p:cNvPr id="9" name="Espace réservé du numéro de diapositive 8"/>
          <p:cNvSpPr>
            <a:spLocks noGrp="1"/>
          </p:cNvSpPr>
          <p:nvPr>
            <p:ph type="sldNum" sz="quarter" idx="15"/>
          </p:nvPr>
        </p:nvSpPr>
        <p:spPr bwMode="gray"/>
        <p:txBody>
          <a:bodyPr/>
          <a:lstStyle/>
          <a:p>
            <a:pPr algn="l"/>
            <a:fld id="{733122C9-A0B9-462F-8757-0847AD287B63}" type="slidenum">
              <a:rPr lang="en-US" noProof="0" smtClean="0"/>
              <a:pPr algn="l"/>
              <a:t>‹#›</a:t>
            </a:fld>
            <a:endParaRPr lang="en-US" noProof="0"/>
          </a:p>
        </p:txBody>
      </p:sp>
      <p:sp>
        <p:nvSpPr>
          <p:cNvPr id="11" name="Espace réservé du pied de page 10"/>
          <p:cNvSpPr>
            <a:spLocks noGrp="1"/>
          </p:cNvSpPr>
          <p:nvPr>
            <p:ph type="ftr" sz="quarter" idx="16"/>
          </p:nvPr>
        </p:nvSpPr>
        <p:spPr bwMode="gray"/>
        <p:txBody>
          <a:bodyPr/>
          <a:lstStyle/>
          <a:p>
            <a:r>
              <a:rPr lang="en-US" noProof="0"/>
              <a:t>#add your hashtag</a:t>
            </a:r>
          </a:p>
        </p:txBody>
      </p:sp>
      <p:sp>
        <p:nvSpPr>
          <p:cNvPr id="21" name="Espace réservé du texte 9"/>
          <p:cNvSpPr>
            <a:spLocks noGrp="1"/>
          </p:cNvSpPr>
          <p:nvPr>
            <p:ph type="body" sz="quarter" idx="19" hasCustomPrompt="1"/>
          </p:nvPr>
        </p:nvSpPr>
        <p:spPr bwMode="gray">
          <a:xfrm>
            <a:off x="935038" y="1341438"/>
            <a:ext cx="3564000" cy="335714"/>
          </a:xfrm>
          <a:solidFill>
            <a:schemeClr val="accent2"/>
          </a:solidFill>
          <a:ln w="9525">
            <a:solidFill>
              <a:schemeClr val="bg2"/>
            </a:solidFill>
          </a:ln>
        </p:spPr>
        <p:txBody>
          <a:bodyPr anchor="ctr" anchorCtr="0"/>
          <a:lstStyle>
            <a:lvl1pPr algn="ctr">
              <a:lnSpc>
                <a:spcPct val="100000"/>
              </a:lnSpc>
              <a:defRPr>
                <a:solidFill>
                  <a:schemeClr val="bg1"/>
                </a:solidFill>
              </a:defRPr>
            </a:lvl1pPr>
          </a:lstStyle>
          <a:p>
            <a:pPr lvl="0"/>
            <a:r>
              <a:rPr lang="en-US" noProof="0"/>
              <a:t>Text level 1</a:t>
            </a:r>
          </a:p>
        </p:txBody>
      </p:sp>
      <p:sp>
        <p:nvSpPr>
          <p:cNvPr id="22" name="Espace réservé du texte 9"/>
          <p:cNvSpPr>
            <a:spLocks noGrp="1"/>
          </p:cNvSpPr>
          <p:nvPr>
            <p:ph type="body" sz="quarter" idx="20" hasCustomPrompt="1"/>
          </p:nvPr>
        </p:nvSpPr>
        <p:spPr bwMode="gray">
          <a:xfrm>
            <a:off x="935038" y="1665438"/>
            <a:ext cx="3564000" cy="4140050"/>
          </a:xfrm>
          <a:ln w="9525">
            <a:solidFill>
              <a:schemeClr val="bg2"/>
            </a:solidFill>
          </a:ln>
        </p:spPr>
        <p:txBody>
          <a:bodyPr tIns="72000"/>
          <a:lstStyle>
            <a:lvl1pPr marL="324000" indent="-180000">
              <a:lnSpc>
                <a:spcPct val="100000"/>
              </a:lnSpc>
              <a:spcBef>
                <a:spcPts val="300"/>
              </a:spcBef>
              <a:buClr>
                <a:schemeClr val="accent3"/>
              </a:buClr>
              <a:buFont typeface="Arial" pitchFamily="34" charset="0"/>
              <a:buChar char="•"/>
              <a:defRPr sz="1800">
                <a:solidFill>
                  <a:schemeClr val="tx1"/>
                </a:solidFill>
              </a:defRPr>
            </a:lvl1pPr>
            <a:lvl2pPr marL="504000">
              <a:buClr>
                <a:schemeClr val="tx1"/>
              </a:buClr>
              <a:defRPr sz="1600" b="0"/>
            </a:lvl2pPr>
            <a:lvl3pPr indent="0">
              <a:buNone/>
              <a:defRPr/>
            </a:lvl3pPr>
            <a:lvl4pPr marL="684000" indent="-180000">
              <a:buClr>
                <a:schemeClr val="tx1"/>
              </a:buClr>
              <a:buFont typeface="Arial" pitchFamily="34" charset="0"/>
              <a:buChar char="•"/>
              <a:defRPr sz="1400"/>
            </a:lvl4pPr>
          </a:lstStyle>
          <a:p>
            <a:pPr lvl="0"/>
            <a:r>
              <a:rPr lang="en-US" noProof="0"/>
              <a:t>Text level 2</a:t>
            </a:r>
          </a:p>
          <a:p>
            <a:pPr lvl="1"/>
            <a:r>
              <a:rPr lang="en-US" noProof="0"/>
              <a:t>Text level 3</a:t>
            </a:r>
          </a:p>
          <a:p>
            <a:pPr lvl="2"/>
            <a:r>
              <a:rPr lang="en-US" noProof="0"/>
              <a:t>Text level 4</a:t>
            </a:r>
          </a:p>
          <a:p>
            <a:pPr lvl="3"/>
            <a:r>
              <a:rPr lang="en-US" noProof="0"/>
              <a:t>Text level 5</a:t>
            </a:r>
          </a:p>
        </p:txBody>
      </p:sp>
      <p:sp>
        <p:nvSpPr>
          <p:cNvPr id="23" name="Espace réservé du texte 9"/>
          <p:cNvSpPr>
            <a:spLocks noGrp="1"/>
          </p:cNvSpPr>
          <p:nvPr>
            <p:ph type="body" sz="quarter" idx="21" hasCustomPrompt="1"/>
          </p:nvPr>
        </p:nvSpPr>
        <p:spPr bwMode="gray">
          <a:xfrm>
            <a:off x="4716400" y="1341438"/>
            <a:ext cx="3564000" cy="335714"/>
          </a:xfrm>
          <a:solidFill>
            <a:schemeClr val="accent2"/>
          </a:solidFill>
          <a:ln w="9525">
            <a:solidFill>
              <a:schemeClr val="bg2"/>
            </a:solidFill>
          </a:ln>
        </p:spPr>
        <p:txBody>
          <a:bodyPr anchor="ctr" anchorCtr="0"/>
          <a:lstStyle>
            <a:lvl1pPr algn="ctr">
              <a:lnSpc>
                <a:spcPct val="100000"/>
              </a:lnSpc>
              <a:defRPr>
                <a:solidFill>
                  <a:schemeClr val="bg1"/>
                </a:solidFill>
              </a:defRPr>
            </a:lvl1pPr>
          </a:lstStyle>
          <a:p>
            <a:pPr lvl="0"/>
            <a:r>
              <a:rPr lang="en-US" noProof="0"/>
              <a:t>Text level 1</a:t>
            </a:r>
          </a:p>
        </p:txBody>
      </p:sp>
      <p:sp>
        <p:nvSpPr>
          <p:cNvPr id="24" name="Espace réservé du texte 9"/>
          <p:cNvSpPr>
            <a:spLocks noGrp="1"/>
          </p:cNvSpPr>
          <p:nvPr>
            <p:ph type="body" sz="quarter" idx="22" hasCustomPrompt="1"/>
          </p:nvPr>
        </p:nvSpPr>
        <p:spPr bwMode="gray">
          <a:xfrm>
            <a:off x="4716400" y="1665438"/>
            <a:ext cx="3564000" cy="4140050"/>
          </a:xfrm>
          <a:ln w="9525">
            <a:solidFill>
              <a:schemeClr val="bg2"/>
            </a:solidFill>
          </a:ln>
        </p:spPr>
        <p:txBody>
          <a:bodyPr tIns="72000"/>
          <a:lstStyle>
            <a:lvl1pPr marL="324000" indent="-180000">
              <a:lnSpc>
                <a:spcPct val="100000"/>
              </a:lnSpc>
              <a:spcBef>
                <a:spcPts val="300"/>
              </a:spcBef>
              <a:buClr>
                <a:schemeClr val="accent3"/>
              </a:buClr>
              <a:buFont typeface="Arial" pitchFamily="34" charset="0"/>
              <a:buChar char="•"/>
              <a:defRPr sz="1800">
                <a:solidFill>
                  <a:schemeClr val="tx1"/>
                </a:solidFill>
              </a:defRPr>
            </a:lvl1pPr>
            <a:lvl2pPr marL="504000">
              <a:buClr>
                <a:schemeClr val="tx1"/>
              </a:buClr>
              <a:defRPr sz="1600" b="0"/>
            </a:lvl2pPr>
            <a:lvl3pPr indent="0">
              <a:buNone/>
              <a:defRPr/>
            </a:lvl3pPr>
            <a:lvl4pPr marL="684000" indent="-180000">
              <a:buClr>
                <a:schemeClr val="tx1"/>
              </a:buClr>
              <a:buFont typeface="Arial" pitchFamily="34" charset="0"/>
              <a:buChar char="•"/>
              <a:defRPr sz="1400"/>
            </a:lvl4pPr>
          </a:lstStyle>
          <a:p>
            <a:pPr lvl="0"/>
            <a:r>
              <a:rPr lang="en-US" noProof="0"/>
              <a:t>Text level 2</a:t>
            </a:r>
          </a:p>
          <a:p>
            <a:pPr lvl="1"/>
            <a:r>
              <a:rPr lang="en-US" noProof="0"/>
              <a:t>Text level 3</a:t>
            </a:r>
          </a:p>
          <a:p>
            <a:pPr lvl="2"/>
            <a:r>
              <a:rPr lang="en-US" noProof="0"/>
              <a:t>Text level 4</a:t>
            </a:r>
          </a:p>
          <a:p>
            <a:pPr lvl="3"/>
            <a:r>
              <a:rPr lang="en-US" noProof="0"/>
              <a:t>Text level 5</a:t>
            </a:r>
          </a:p>
        </p:txBody>
      </p:sp>
    </p:spTree>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userDrawn="1">
  <p:cSld name="Text&amp;4_Blocks_Layout">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p:txBody>
          <a:bodyPr/>
          <a:lstStyle/>
          <a:p>
            <a:r>
              <a:rPr lang="en-GB" noProof="0"/>
              <a:t>TITLE</a:t>
            </a:r>
          </a:p>
        </p:txBody>
      </p:sp>
      <p:sp>
        <p:nvSpPr>
          <p:cNvPr id="10" name="Espace réservé du texte 9"/>
          <p:cNvSpPr>
            <a:spLocks noGrp="1"/>
          </p:cNvSpPr>
          <p:nvPr>
            <p:ph type="body" sz="quarter" idx="13" hasCustomPrompt="1"/>
          </p:nvPr>
        </p:nvSpPr>
        <p:spPr bwMode="gray">
          <a:xfrm>
            <a:off x="935038" y="1304924"/>
            <a:ext cx="7345362" cy="936626"/>
          </a:xfrm>
        </p:spPr>
        <p:txBody>
          <a:body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8" name="Espace réservé de la date 7"/>
          <p:cNvSpPr>
            <a:spLocks noGrp="1"/>
          </p:cNvSpPr>
          <p:nvPr>
            <p:ph type="dt" sz="half" idx="14"/>
          </p:nvPr>
        </p:nvSpPr>
        <p:spPr bwMode="gray"/>
        <p:txBody>
          <a:bodyPr/>
          <a:lstStyle/>
          <a:p>
            <a:r>
              <a:rPr lang="en-US">
                <a:solidFill>
                  <a:prstClr val="white">
                    <a:alpha val="0"/>
                  </a:prstClr>
                </a:solidFill>
              </a:rPr>
              <a:t>Date</a:t>
            </a:r>
            <a:endParaRPr lang="en-GB">
              <a:solidFill>
                <a:prstClr val="white">
                  <a:alpha val="0"/>
                </a:prstClr>
              </a:solidFill>
            </a:endParaRPr>
          </a:p>
        </p:txBody>
      </p:sp>
      <p:sp>
        <p:nvSpPr>
          <p:cNvPr id="9" name="Espace réservé du numéro de diapositive 8"/>
          <p:cNvSpPr>
            <a:spLocks noGrp="1"/>
          </p:cNvSpPr>
          <p:nvPr>
            <p:ph type="sldNum" sz="quarter" idx="15"/>
          </p:nvPr>
        </p:nvSpPr>
        <p:spPr bwMode="gray"/>
        <p:txBody>
          <a:bodyPr/>
          <a:lstStyle/>
          <a:p>
            <a:fld id="{733122C9-A0B9-462F-8757-0847AD287B63}" type="slidenum">
              <a:rPr lang="en-GB" smtClean="0">
                <a:solidFill>
                  <a:srgbClr val="343434"/>
                </a:solidFill>
              </a:rPr>
              <a:pPr/>
              <a:t>‹#›</a:t>
            </a:fld>
            <a:endParaRPr lang="en-GB">
              <a:solidFill>
                <a:srgbClr val="343434"/>
              </a:solidFill>
            </a:endParaRPr>
          </a:p>
        </p:txBody>
      </p:sp>
      <p:sp>
        <p:nvSpPr>
          <p:cNvPr id="11" name="Espace réservé du pied de page 10"/>
          <p:cNvSpPr>
            <a:spLocks noGrp="1"/>
          </p:cNvSpPr>
          <p:nvPr>
            <p:ph type="ftr" sz="quarter" idx="16"/>
          </p:nvPr>
        </p:nvSpPr>
        <p:spPr bwMode="gray"/>
        <p:txBody>
          <a:bodyPr/>
          <a:lstStyle/>
          <a:p>
            <a:r>
              <a:rPr lang="en-GB">
                <a:solidFill>
                  <a:srgbClr val="005CB9"/>
                </a:solidFill>
              </a:rPr>
              <a:t>#vaccineswork</a:t>
            </a:r>
          </a:p>
        </p:txBody>
      </p:sp>
      <p:sp>
        <p:nvSpPr>
          <p:cNvPr id="21" name="Espace réservé du texte 9"/>
          <p:cNvSpPr>
            <a:spLocks noGrp="1"/>
          </p:cNvSpPr>
          <p:nvPr>
            <p:ph type="body" sz="quarter" idx="19" hasCustomPrompt="1"/>
          </p:nvPr>
        </p:nvSpPr>
        <p:spPr bwMode="gray">
          <a:xfrm>
            <a:off x="935038" y="2241550"/>
            <a:ext cx="3564000" cy="324000"/>
          </a:xfrm>
          <a:solidFill>
            <a:schemeClr val="accent1"/>
          </a:solidFill>
          <a:ln w="9525">
            <a:solidFill>
              <a:schemeClr val="accent1"/>
            </a:solidFill>
          </a:ln>
        </p:spPr>
        <p:txBody>
          <a:bodyPr anchor="ctr" anchorCtr="0"/>
          <a:lstStyle>
            <a:lvl1pPr algn="ctr">
              <a:lnSpc>
                <a:spcPct val="100000"/>
              </a:lnSpc>
              <a:defRPr>
                <a:solidFill>
                  <a:schemeClr val="bg1"/>
                </a:solidFill>
              </a:defRPr>
            </a:lvl1pPr>
          </a:lstStyle>
          <a:p>
            <a:pPr lvl="0"/>
            <a:r>
              <a:rPr lang="en-GB" noProof="0"/>
              <a:t>Text level 1</a:t>
            </a:r>
          </a:p>
        </p:txBody>
      </p:sp>
      <p:sp>
        <p:nvSpPr>
          <p:cNvPr id="22" name="Espace réservé du texte 9"/>
          <p:cNvSpPr>
            <a:spLocks noGrp="1"/>
          </p:cNvSpPr>
          <p:nvPr>
            <p:ph type="body" sz="quarter" idx="20" hasCustomPrompt="1"/>
          </p:nvPr>
        </p:nvSpPr>
        <p:spPr bwMode="gray">
          <a:xfrm>
            <a:off x="935038" y="2565550"/>
            <a:ext cx="3564000" cy="1350000"/>
          </a:xfrm>
          <a:ln w="9525">
            <a:solidFill>
              <a:schemeClr val="accent1"/>
            </a:solidFill>
          </a:ln>
        </p:spPr>
        <p:txBody>
          <a:bodyPr tIns="72000"/>
          <a:lstStyle>
            <a:lvl1pPr marL="324000" indent="-180000">
              <a:lnSpc>
                <a:spcPct val="100000"/>
              </a:lnSpc>
              <a:spcBef>
                <a:spcPts val="300"/>
              </a:spcBef>
              <a:buClr>
                <a:schemeClr val="accent3"/>
              </a:buClr>
              <a:buFont typeface="Arial" pitchFamily="34" charset="0"/>
              <a:buChar char="•"/>
              <a:defRPr sz="1800">
                <a:solidFill>
                  <a:schemeClr val="tx1"/>
                </a:solidFill>
              </a:defRPr>
            </a:lvl1pPr>
            <a:lvl2pPr marL="504000">
              <a:buClr>
                <a:schemeClr val="tx1"/>
              </a:buClr>
              <a:defRPr sz="1600" b="0"/>
            </a:lvl2pPr>
            <a:lvl3pPr indent="0">
              <a:buNone/>
              <a:defRPr/>
            </a:lvl3pPr>
            <a:lvl4pPr marL="684000" indent="-180000">
              <a:buClr>
                <a:schemeClr val="tx1"/>
              </a:buClr>
              <a:buFont typeface="Arial" pitchFamily="34" charset="0"/>
              <a:buChar char="•"/>
              <a:defRPr sz="1400"/>
            </a:lvl4pPr>
          </a:lstStyle>
          <a:p>
            <a:pPr lvl="0"/>
            <a:r>
              <a:rPr lang="en-GB" noProof="0"/>
              <a:t>Text level 2</a:t>
            </a:r>
          </a:p>
          <a:p>
            <a:pPr lvl="1"/>
            <a:r>
              <a:rPr lang="en-GB" noProof="0"/>
              <a:t>Text level 3</a:t>
            </a:r>
          </a:p>
          <a:p>
            <a:pPr lvl="2"/>
            <a:r>
              <a:rPr lang="en-GB" noProof="0"/>
              <a:t>Text level 4</a:t>
            </a:r>
          </a:p>
          <a:p>
            <a:pPr lvl="3"/>
            <a:r>
              <a:rPr lang="en-GB" noProof="0"/>
              <a:t>Text level 5</a:t>
            </a:r>
          </a:p>
        </p:txBody>
      </p:sp>
      <p:sp>
        <p:nvSpPr>
          <p:cNvPr id="23" name="Espace réservé du texte 9"/>
          <p:cNvSpPr>
            <a:spLocks noGrp="1"/>
          </p:cNvSpPr>
          <p:nvPr>
            <p:ph type="body" sz="quarter" idx="21" hasCustomPrompt="1"/>
          </p:nvPr>
        </p:nvSpPr>
        <p:spPr bwMode="gray">
          <a:xfrm>
            <a:off x="4716400" y="2241550"/>
            <a:ext cx="3564000" cy="324000"/>
          </a:xfrm>
          <a:solidFill>
            <a:schemeClr val="accent2"/>
          </a:solidFill>
          <a:ln w="9525">
            <a:solidFill>
              <a:schemeClr val="accent2"/>
            </a:solidFill>
          </a:ln>
        </p:spPr>
        <p:txBody>
          <a:bodyPr anchor="ctr" anchorCtr="0"/>
          <a:lstStyle>
            <a:lvl1pPr algn="ctr">
              <a:lnSpc>
                <a:spcPct val="100000"/>
              </a:lnSpc>
              <a:defRPr>
                <a:solidFill>
                  <a:schemeClr val="bg1"/>
                </a:solidFill>
              </a:defRPr>
            </a:lvl1pPr>
          </a:lstStyle>
          <a:p>
            <a:pPr lvl="0"/>
            <a:r>
              <a:rPr lang="en-GB" noProof="0"/>
              <a:t>Text level 1</a:t>
            </a:r>
          </a:p>
        </p:txBody>
      </p:sp>
      <p:sp>
        <p:nvSpPr>
          <p:cNvPr id="24" name="Espace réservé du texte 9"/>
          <p:cNvSpPr>
            <a:spLocks noGrp="1"/>
          </p:cNvSpPr>
          <p:nvPr>
            <p:ph type="body" sz="quarter" idx="22" hasCustomPrompt="1"/>
          </p:nvPr>
        </p:nvSpPr>
        <p:spPr bwMode="gray">
          <a:xfrm>
            <a:off x="4716400" y="2565550"/>
            <a:ext cx="3564000" cy="1350000"/>
          </a:xfrm>
          <a:ln w="9525">
            <a:solidFill>
              <a:schemeClr val="accent2"/>
            </a:solidFill>
          </a:ln>
        </p:spPr>
        <p:txBody>
          <a:bodyPr tIns="72000"/>
          <a:lstStyle>
            <a:lvl1pPr marL="324000" indent="-180000">
              <a:lnSpc>
                <a:spcPct val="100000"/>
              </a:lnSpc>
              <a:spcBef>
                <a:spcPts val="300"/>
              </a:spcBef>
              <a:buClr>
                <a:schemeClr val="accent3"/>
              </a:buClr>
              <a:buFont typeface="Arial" pitchFamily="34" charset="0"/>
              <a:buChar char="•"/>
              <a:defRPr sz="1800">
                <a:solidFill>
                  <a:schemeClr val="tx1"/>
                </a:solidFill>
              </a:defRPr>
            </a:lvl1pPr>
            <a:lvl2pPr marL="504000">
              <a:buClr>
                <a:schemeClr val="tx1"/>
              </a:buClr>
              <a:defRPr sz="1600" b="0"/>
            </a:lvl2pPr>
            <a:lvl3pPr indent="0">
              <a:buNone/>
              <a:defRPr/>
            </a:lvl3pPr>
            <a:lvl4pPr marL="684000" indent="-180000">
              <a:buClr>
                <a:schemeClr val="tx1"/>
              </a:buClr>
              <a:buFont typeface="Arial" pitchFamily="34" charset="0"/>
              <a:buChar char="•"/>
              <a:defRPr sz="1400"/>
            </a:lvl4pPr>
          </a:lstStyle>
          <a:p>
            <a:pPr lvl="0"/>
            <a:r>
              <a:rPr lang="en-GB" noProof="0"/>
              <a:t>Text level 2</a:t>
            </a:r>
          </a:p>
          <a:p>
            <a:pPr lvl="1"/>
            <a:r>
              <a:rPr lang="en-GB" noProof="0"/>
              <a:t>Text level 3</a:t>
            </a:r>
          </a:p>
          <a:p>
            <a:pPr lvl="2"/>
            <a:r>
              <a:rPr lang="en-GB" noProof="0"/>
              <a:t>Text level 4</a:t>
            </a:r>
          </a:p>
          <a:p>
            <a:pPr lvl="3"/>
            <a:r>
              <a:rPr lang="en-GB" noProof="0"/>
              <a:t>Text level 5</a:t>
            </a:r>
          </a:p>
        </p:txBody>
      </p:sp>
      <p:sp>
        <p:nvSpPr>
          <p:cNvPr id="25" name="Espace réservé du texte 9"/>
          <p:cNvSpPr>
            <a:spLocks noGrp="1"/>
          </p:cNvSpPr>
          <p:nvPr>
            <p:ph type="body" sz="quarter" idx="23" hasCustomPrompt="1"/>
          </p:nvPr>
        </p:nvSpPr>
        <p:spPr bwMode="gray">
          <a:xfrm>
            <a:off x="935038" y="4131488"/>
            <a:ext cx="3564000" cy="324000"/>
          </a:xfrm>
          <a:solidFill>
            <a:schemeClr val="accent3"/>
          </a:solidFill>
          <a:ln w="9525">
            <a:solidFill>
              <a:schemeClr val="accent3"/>
            </a:solidFill>
          </a:ln>
        </p:spPr>
        <p:txBody>
          <a:bodyPr anchor="ctr" anchorCtr="0"/>
          <a:lstStyle>
            <a:lvl1pPr algn="ctr">
              <a:lnSpc>
                <a:spcPct val="100000"/>
              </a:lnSpc>
              <a:defRPr>
                <a:solidFill>
                  <a:schemeClr val="bg1"/>
                </a:solidFill>
              </a:defRPr>
            </a:lvl1pPr>
          </a:lstStyle>
          <a:p>
            <a:pPr lvl="0"/>
            <a:r>
              <a:rPr lang="en-GB" noProof="0"/>
              <a:t>Text level 1</a:t>
            </a:r>
          </a:p>
        </p:txBody>
      </p:sp>
      <p:sp>
        <p:nvSpPr>
          <p:cNvPr id="26" name="Espace réservé du texte 9"/>
          <p:cNvSpPr>
            <a:spLocks noGrp="1"/>
          </p:cNvSpPr>
          <p:nvPr>
            <p:ph type="body" sz="quarter" idx="24" hasCustomPrompt="1"/>
          </p:nvPr>
        </p:nvSpPr>
        <p:spPr bwMode="gray">
          <a:xfrm>
            <a:off x="935038" y="4455488"/>
            <a:ext cx="3564000" cy="1350000"/>
          </a:xfrm>
          <a:ln w="9525">
            <a:solidFill>
              <a:schemeClr val="accent3"/>
            </a:solidFill>
          </a:ln>
        </p:spPr>
        <p:txBody>
          <a:bodyPr tIns="72000"/>
          <a:lstStyle>
            <a:lvl1pPr marL="324000" indent="-180000">
              <a:lnSpc>
                <a:spcPct val="100000"/>
              </a:lnSpc>
              <a:spcBef>
                <a:spcPts val="300"/>
              </a:spcBef>
              <a:buClr>
                <a:schemeClr val="accent3"/>
              </a:buClr>
              <a:buFont typeface="Arial" pitchFamily="34" charset="0"/>
              <a:buChar char="•"/>
              <a:defRPr sz="1800">
                <a:solidFill>
                  <a:schemeClr val="tx1"/>
                </a:solidFill>
              </a:defRPr>
            </a:lvl1pPr>
            <a:lvl2pPr marL="504000">
              <a:buClr>
                <a:schemeClr val="tx1"/>
              </a:buClr>
              <a:defRPr sz="1600" b="0"/>
            </a:lvl2pPr>
            <a:lvl3pPr indent="0">
              <a:buNone/>
              <a:defRPr/>
            </a:lvl3pPr>
            <a:lvl4pPr marL="684000" indent="-180000">
              <a:buClr>
                <a:schemeClr val="tx1"/>
              </a:buClr>
              <a:buFont typeface="Arial" pitchFamily="34" charset="0"/>
              <a:buChar char="•"/>
              <a:defRPr sz="1400"/>
            </a:lvl4pPr>
          </a:lstStyle>
          <a:p>
            <a:pPr lvl="0"/>
            <a:r>
              <a:rPr lang="en-GB" noProof="0"/>
              <a:t>Text level 2</a:t>
            </a:r>
          </a:p>
          <a:p>
            <a:pPr lvl="1"/>
            <a:r>
              <a:rPr lang="en-GB" noProof="0"/>
              <a:t>Text level 3</a:t>
            </a:r>
          </a:p>
          <a:p>
            <a:pPr lvl="2"/>
            <a:r>
              <a:rPr lang="en-GB" noProof="0"/>
              <a:t>Text level 4</a:t>
            </a:r>
          </a:p>
          <a:p>
            <a:pPr lvl="3"/>
            <a:r>
              <a:rPr lang="en-GB" noProof="0"/>
              <a:t>Text level 5</a:t>
            </a:r>
          </a:p>
        </p:txBody>
      </p:sp>
      <p:sp>
        <p:nvSpPr>
          <p:cNvPr id="27" name="Espace réservé du texte 9"/>
          <p:cNvSpPr>
            <a:spLocks noGrp="1"/>
          </p:cNvSpPr>
          <p:nvPr>
            <p:ph type="body" sz="quarter" idx="25" hasCustomPrompt="1"/>
          </p:nvPr>
        </p:nvSpPr>
        <p:spPr bwMode="gray">
          <a:xfrm>
            <a:off x="4716400" y="4131488"/>
            <a:ext cx="3564000" cy="324000"/>
          </a:xfrm>
          <a:solidFill>
            <a:schemeClr val="bg2"/>
          </a:solidFill>
          <a:ln w="9525">
            <a:solidFill>
              <a:schemeClr val="bg2"/>
            </a:solidFill>
          </a:ln>
        </p:spPr>
        <p:txBody>
          <a:bodyPr anchor="ctr" anchorCtr="0"/>
          <a:lstStyle>
            <a:lvl1pPr algn="ctr">
              <a:lnSpc>
                <a:spcPct val="100000"/>
              </a:lnSpc>
              <a:defRPr>
                <a:solidFill>
                  <a:schemeClr val="bg1"/>
                </a:solidFill>
              </a:defRPr>
            </a:lvl1pPr>
          </a:lstStyle>
          <a:p>
            <a:pPr lvl="0"/>
            <a:r>
              <a:rPr lang="en-GB" noProof="0"/>
              <a:t>Text level 1</a:t>
            </a:r>
          </a:p>
        </p:txBody>
      </p:sp>
      <p:sp>
        <p:nvSpPr>
          <p:cNvPr id="28" name="Espace réservé du texte 9"/>
          <p:cNvSpPr>
            <a:spLocks noGrp="1"/>
          </p:cNvSpPr>
          <p:nvPr>
            <p:ph type="body" sz="quarter" idx="26" hasCustomPrompt="1"/>
          </p:nvPr>
        </p:nvSpPr>
        <p:spPr bwMode="gray">
          <a:xfrm>
            <a:off x="4716400" y="4455488"/>
            <a:ext cx="3564000" cy="1350000"/>
          </a:xfrm>
          <a:ln w="9525">
            <a:solidFill>
              <a:schemeClr val="bg2"/>
            </a:solidFill>
          </a:ln>
        </p:spPr>
        <p:txBody>
          <a:bodyPr tIns="72000"/>
          <a:lstStyle>
            <a:lvl1pPr marL="324000" indent="-180000">
              <a:lnSpc>
                <a:spcPct val="100000"/>
              </a:lnSpc>
              <a:spcBef>
                <a:spcPts val="300"/>
              </a:spcBef>
              <a:buClr>
                <a:schemeClr val="accent3"/>
              </a:buClr>
              <a:buFont typeface="Arial" pitchFamily="34" charset="0"/>
              <a:buChar char="•"/>
              <a:defRPr sz="1800">
                <a:solidFill>
                  <a:schemeClr val="tx1"/>
                </a:solidFill>
              </a:defRPr>
            </a:lvl1pPr>
            <a:lvl2pPr marL="504000">
              <a:buClr>
                <a:schemeClr val="tx1"/>
              </a:buClr>
              <a:defRPr sz="1600" b="0"/>
            </a:lvl2pPr>
            <a:lvl3pPr indent="0">
              <a:buNone/>
              <a:defRPr/>
            </a:lvl3pPr>
            <a:lvl4pPr marL="684000" indent="-180000">
              <a:buClr>
                <a:schemeClr val="tx1"/>
              </a:buClr>
              <a:buFont typeface="Arial" pitchFamily="34" charset="0"/>
              <a:buChar char="•"/>
              <a:defRPr sz="1400"/>
            </a:lvl4pPr>
          </a:lstStyle>
          <a:p>
            <a:pPr lvl="0"/>
            <a:r>
              <a:rPr lang="en-GB" noProof="0"/>
              <a:t>Text level 2</a:t>
            </a:r>
          </a:p>
          <a:p>
            <a:pPr lvl="1"/>
            <a:r>
              <a:rPr lang="en-GB" noProof="0"/>
              <a:t>Text level 3</a:t>
            </a:r>
          </a:p>
          <a:p>
            <a:pPr lvl="2"/>
            <a:r>
              <a:rPr lang="en-GB" noProof="0"/>
              <a:t>Text level 4</a:t>
            </a:r>
          </a:p>
          <a:p>
            <a:pPr lvl="3"/>
            <a:r>
              <a:rPr lang="en-GB" noProof="0"/>
              <a:t>Text level 5</a:t>
            </a:r>
          </a:p>
        </p:txBody>
      </p:sp>
    </p:spTree>
    <p:extLst>
      <p:ext uri="{BB962C8B-B14F-4D97-AF65-F5344CB8AC3E}">
        <p14:creationId xmlns:p14="http://schemas.microsoft.com/office/powerpoint/2010/main" val="308986705"/>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pic>
        <p:nvPicPr>
          <p:cNvPr id="6" name="Image 18" descr="FD_02.pn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gray">
          <a:xfrm>
            <a:off x="0" y="0"/>
            <a:ext cx="9144000" cy="51577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7" name="Rectangle 6"/>
          <p:cNvSpPr/>
          <p:nvPr userDrawn="1"/>
        </p:nvSpPr>
        <p:spPr bwMode="gray">
          <a:xfrm>
            <a:off x="3635375" y="5265738"/>
            <a:ext cx="5508625" cy="15922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prstClr val="white"/>
              </a:solidFill>
            </a:endParaRPr>
          </a:p>
        </p:txBody>
      </p:sp>
      <p:pic>
        <p:nvPicPr>
          <p:cNvPr id="10" name="Image 19" descr="Bas_couv.png"/>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gray">
          <a:xfrm>
            <a:off x="0" y="5172075"/>
            <a:ext cx="3635375" cy="16859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1" name="Rectangle 10"/>
          <p:cNvSpPr/>
          <p:nvPr userDrawn="1"/>
        </p:nvSpPr>
        <p:spPr bwMode="gray">
          <a:xfrm>
            <a:off x="3635375" y="6354763"/>
            <a:ext cx="5113338" cy="2873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p>
            <a:pPr algn="r">
              <a:defRPr/>
            </a:pPr>
            <a:r>
              <a:rPr lang="en-US" sz="1000" err="1">
                <a:solidFill>
                  <a:srgbClr val="95D600"/>
                </a:solidFill>
              </a:rPr>
              <a:t>www.gavi.org</a:t>
            </a:r>
            <a:endParaRPr lang="en-US" sz="1000">
              <a:solidFill>
                <a:srgbClr val="95D600"/>
              </a:solidFill>
            </a:endParaRPr>
          </a:p>
        </p:txBody>
      </p:sp>
      <p:cxnSp>
        <p:nvCxnSpPr>
          <p:cNvPr id="12" name="Connecteur droit 22"/>
          <p:cNvCxnSpPr/>
          <p:nvPr userDrawn="1"/>
        </p:nvCxnSpPr>
        <p:spPr bwMode="gray">
          <a:xfrm flipH="1">
            <a:off x="468313" y="3402013"/>
            <a:ext cx="2447925" cy="0"/>
          </a:xfrm>
          <a:prstGeom prst="line">
            <a:avLst/>
          </a:prstGeom>
          <a:ln w="24130">
            <a:solidFill>
              <a:schemeClr val="accent1"/>
            </a:solidFill>
          </a:ln>
        </p:spPr>
        <p:style>
          <a:lnRef idx="1">
            <a:schemeClr val="accent1"/>
          </a:lnRef>
          <a:fillRef idx="0">
            <a:schemeClr val="accent1"/>
          </a:fillRef>
          <a:effectRef idx="0">
            <a:schemeClr val="accent1"/>
          </a:effectRef>
          <a:fontRef idx="minor">
            <a:schemeClr val="tx1"/>
          </a:fontRef>
        </p:style>
      </p:cxnSp>
      <p:sp>
        <p:nvSpPr>
          <p:cNvPr id="9" name="Espace réservé du texte 8"/>
          <p:cNvSpPr>
            <a:spLocks noGrp="1"/>
          </p:cNvSpPr>
          <p:nvPr>
            <p:ph type="body" sz="quarter" idx="13"/>
          </p:nvPr>
        </p:nvSpPr>
        <p:spPr bwMode="gray">
          <a:xfrm>
            <a:off x="468314" y="1036800"/>
            <a:ext cx="4824412" cy="2232000"/>
          </a:xfrm>
        </p:spPr>
        <p:txBody>
          <a:bodyPr anchor="b"/>
          <a:lstStyle>
            <a:lvl1pPr marL="0" indent="0" algn="l">
              <a:lnSpc>
                <a:spcPct val="90000"/>
              </a:lnSpc>
              <a:buNone/>
              <a:defRPr sz="2800" b="1" cap="none" baseline="0">
                <a:solidFill>
                  <a:schemeClr val="bg1"/>
                </a:solidFill>
              </a:defRPr>
            </a:lvl1pPr>
            <a:lvl2pPr marL="0" algn="ctr">
              <a:lnSpc>
                <a:spcPct val="100000"/>
              </a:lnSpc>
              <a:spcBef>
                <a:spcPts val="6900"/>
              </a:spcBef>
              <a:defRPr sz="2000" b="1">
                <a:solidFill>
                  <a:schemeClr val="bg1"/>
                </a:solidFill>
              </a:defRPr>
            </a:lvl2pPr>
          </a:lstStyle>
          <a:p>
            <a:pPr lvl="0"/>
            <a:r>
              <a:rPr lang="en-US" noProof="0"/>
              <a:t>Click to edit Master text styles</a:t>
            </a:r>
          </a:p>
        </p:txBody>
      </p:sp>
      <p:sp>
        <p:nvSpPr>
          <p:cNvPr id="8" name="Espace réservé du texte 8"/>
          <p:cNvSpPr>
            <a:spLocks noGrp="1"/>
          </p:cNvSpPr>
          <p:nvPr>
            <p:ph type="body" sz="quarter" idx="14"/>
          </p:nvPr>
        </p:nvSpPr>
        <p:spPr bwMode="gray">
          <a:xfrm>
            <a:off x="468314" y="3585600"/>
            <a:ext cx="4824411" cy="1479600"/>
          </a:xfrm>
        </p:spPr>
        <p:txBody>
          <a:bodyPr/>
          <a:lstStyle>
            <a:lvl1pPr marL="0" indent="0" algn="l">
              <a:lnSpc>
                <a:spcPct val="90000"/>
              </a:lnSpc>
              <a:buNone/>
              <a:defRPr sz="2000" b="0" baseline="0">
                <a:solidFill>
                  <a:schemeClr val="bg1"/>
                </a:solidFill>
              </a:defRPr>
            </a:lvl1pPr>
            <a:lvl2pPr marL="0" algn="ctr">
              <a:lnSpc>
                <a:spcPct val="100000"/>
              </a:lnSpc>
              <a:spcBef>
                <a:spcPts val="6900"/>
              </a:spcBef>
              <a:defRPr sz="2000" b="1">
                <a:solidFill>
                  <a:schemeClr val="bg1"/>
                </a:solidFill>
              </a:defRPr>
            </a:lvl2pPr>
          </a:lstStyle>
          <a:p>
            <a:pPr lvl="0"/>
            <a:r>
              <a:rPr lang="en-US" noProof="0"/>
              <a:t>Click to edit Master text styles</a:t>
            </a:r>
          </a:p>
        </p:txBody>
      </p:sp>
      <p:sp>
        <p:nvSpPr>
          <p:cNvPr id="15" name="Espace réservé du texte 14"/>
          <p:cNvSpPr>
            <a:spLocks noGrp="1"/>
          </p:cNvSpPr>
          <p:nvPr>
            <p:ph type="body" sz="quarter" idx="19"/>
          </p:nvPr>
        </p:nvSpPr>
        <p:spPr bwMode="gray">
          <a:xfrm>
            <a:off x="3635376" y="6021388"/>
            <a:ext cx="5113338" cy="324000"/>
          </a:xfrm>
        </p:spPr>
        <p:txBody>
          <a:bodyPr anchor="b"/>
          <a:lstStyle>
            <a:lvl1pPr algn="r">
              <a:lnSpc>
                <a:spcPct val="100000"/>
              </a:lnSpc>
              <a:defRPr sz="1000" b="1">
                <a:solidFill>
                  <a:schemeClr val="accent3"/>
                </a:solidFill>
              </a:defRPr>
            </a:lvl1pPr>
          </a:lstStyle>
          <a:p>
            <a:pPr lvl="0"/>
            <a:r>
              <a:rPr lang="en-US" noProof="0"/>
              <a:t>Click to edit Master text styles</a:t>
            </a:r>
          </a:p>
        </p:txBody>
      </p:sp>
      <p:sp>
        <p:nvSpPr>
          <p:cNvPr id="17" name="Espace réservé du texte 16"/>
          <p:cNvSpPr>
            <a:spLocks noGrp="1"/>
          </p:cNvSpPr>
          <p:nvPr>
            <p:ph type="body" sz="quarter" idx="20"/>
          </p:nvPr>
        </p:nvSpPr>
        <p:spPr bwMode="gray">
          <a:xfrm>
            <a:off x="0" y="5157788"/>
            <a:ext cx="9144000" cy="287337"/>
          </a:xfrm>
          <a:solidFill>
            <a:schemeClr val="bg1"/>
          </a:solidFill>
        </p:spPr>
        <p:txBody>
          <a:bodyPr/>
          <a:lstStyle>
            <a:lvl1pPr>
              <a:defRPr sz="100" b="0">
                <a:solidFill>
                  <a:schemeClr val="bg1">
                    <a:alpha val="0"/>
                  </a:schemeClr>
                </a:solidFill>
              </a:defRPr>
            </a:lvl1pPr>
          </a:lstStyle>
          <a:p>
            <a:pPr lvl="0"/>
            <a:r>
              <a:rPr lang="en-US" noProof="0"/>
              <a:t>Click to edit Master text styles</a:t>
            </a:r>
          </a:p>
        </p:txBody>
      </p:sp>
      <p:sp>
        <p:nvSpPr>
          <p:cNvPr id="13" name="Espace réservé de la date 9"/>
          <p:cNvSpPr>
            <a:spLocks noGrp="1"/>
          </p:cNvSpPr>
          <p:nvPr>
            <p:ph type="dt" sz="half" idx="21"/>
          </p:nvPr>
        </p:nvSpPr>
        <p:spPr/>
        <p:txBody>
          <a:bodyPr/>
          <a:lstStyle>
            <a:lvl1pPr>
              <a:defRPr/>
            </a:lvl1pPr>
          </a:lstStyle>
          <a:p>
            <a:pPr>
              <a:defRPr/>
            </a:pPr>
            <a:r>
              <a:rPr lang="en-US">
                <a:solidFill>
                  <a:prstClr val="white">
                    <a:alpha val="0"/>
                  </a:prstClr>
                </a:solidFill>
              </a:rPr>
              <a:t>Date</a:t>
            </a:r>
          </a:p>
        </p:txBody>
      </p:sp>
      <p:sp>
        <p:nvSpPr>
          <p:cNvPr id="14" name="Espace réservé du numéro de diapositive 10"/>
          <p:cNvSpPr>
            <a:spLocks noGrp="1"/>
          </p:cNvSpPr>
          <p:nvPr>
            <p:ph type="sldNum" sz="quarter" idx="22"/>
          </p:nvPr>
        </p:nvSpPr>
        <p:spPr/>
        <p:txBody>
          <a:bodyPr/>
          <a:lstStyle>
            <a:lvl1pPr>
              <a:defRPr sz="100">
                <a:solidFill>
                  <a:schemeClr val="bg1">
                    <a:alpha val="0"/>
                  </a:schemeClr>
                </a:solidFill>
              </a:defRPr>
            </a:lvl1pPr>
          </a:lstStyle>
          <a:p>
            <a:pPr>
              <a:defRPr/>
            </a:pPr>
            <a:r>
              <a:rPr lang="en-US">
                <a:solidFill>
                  <a:prstClr val="white">
                    <a:alpha val="0"/>
                  </a:prstClr>
                </a:solidFill>
              </a:rPr>
              <a:t>Page: </a:t>
            </a:r>
            <a:fld id="{541ADD26-9626-44B7-849C-716E619042DF}" type="slidenum">
              <a:rPr lang="en-US">
                <a:solidFill>
                  <a:prstClr val="white">
                    <a:alpha val="0"/>
                  </a:prstClr>
                </a:solidFill>
              </a:rPr>
              <a:pPr>
                <a:defRPr/>
              </a:pPr>
              <a:t>‹#›</a:t>
            </a:fld>
            <a:endParaRPr lang="en-US">
              <a:solidFill>
                <a:prstClr val="white">
                  <a:alpha val="0"/>
                </a:prstClr>
              </a:solidFill>
            </a:endParaRPr>
          </a:p>
        </p:txBody>
      </p:sp>
      <p:sp>
        <p:nvSpPr>
          <p:cNvPr id="16" name="Espace réservé du pied de page 11"/>
          <p:cNvSpPr>
            <a:spLocks noGrp="1"/>
          </p:cNvSpPr>
          <p:nvPr>
            <p:ph type="ftr" sz="quarter" idx="23"/>
          </p:nvPr>
        </p:nvSpPr>
        <p:spPr>
          <a:xfrm>
            <a:off x="468313" y="523875"/>
            <a:ext cx="4824412" cy="360363"/>
          </a:xfrm>
        </p:spPr>
        <p:txBody>
          <a:bodyPr/>
          <a:lstStyle>
            <a:lvl1pPr algn="l">
              <a:defRPr sz="1800" b="0">
                <a:solidFill>
                  <a:schemeClr val="bg1"/>
                </a:solidFill>
              </a:defRPr>
            </a:lvl1pPr>
          </a:lstStyle>
          <a:p>
            <a:pPr>
              <a:defRPr/>
            </a:pPr>
            <a:r>
              <a:rPr lang="en-US">
                <a:solidFill>
                  <a:prstClr val="white"/>
                </a:solidFill>
              </a:rPr>
              <a:t>#vaccelerate</a:t>
            </a:r>
          </a:p>
        </p:txBody>
      </p:sp>
    </p:spTree>
    <p:extLst>
      <p:ext uri="{BB962C8B-B14F-4D97-AF65-F5344CB8AC3E}">
        <p14:creationId xmlns:p14="http://schemas.microsoft.com/office/powerpoint/2010/main" val="4116000428"/>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Cover_Picture_1">
    <p:spTree>
      <p:nvGrpSpPr>
        <p:cNvPr id="1" name=""/>
        <p:cNvGrpSpPr/>
        <p:nvPr/>
      </p:nvGrpSpPr>
      <p:grpSpPr>
        <a:xfrm>
          <a:off x="0" y="0"/>
          <a:ext cx="0" cy="0"/>
          <a:chOff x="0" y="0"/>
          <a:chExt cx="0" cy="0"/>
        </a:xfrm>
      </p:grpSpPr>
      <p:pic>
        <p:nvPicPr>
          <p:cNvPr id="7" name="Image 20" descr="FD_1_L254.png"/>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gray">
          <a:xfrm>
            <a:off x="0" y="0"/>
            <a:ext cx="9144000" cy="51577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0" name="Rectangle 9"/>
          <p:cNvSpPr/>
          <p:nvPr userDrawn="1"/>
        </p:nvSpPr>
        <p:spPr bwMode="gray">
          <a:xfrm>
            <a:off x="3635375" y="5265738"/>
            <a:ext cx="5508625" cy="15922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prstClr val="white"/>
              </a:solidFill>
            </a:endParaRPr>
          </a:p>
        </p:txBody>
      </p:sp>
      <p:pic>
        <p:nvPicPr>
          <p:cNvPr id="11" name="Image 19" descr="Bas_couv.png"/>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gray">
          <a:xfrm>
            <a:off x="0" y="5172075"/>
            <a:ext cx="3635375" cy="16859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2" name="Rectangle 11"/>
          <p:cNvSpPr/>
          <p:nvPr userDrawn="1"/>
        </p:nvSpPr>
        <p:spPr bwMode="gray">
          <a:xfrm>
            <a:off x="3635375" y="6354763"/>
            <a:ext cx="5113338" cy="2873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p>
            <a:pPr algn="r">
              <a:defRPr/>
            </a:pPr>
            <a:r>
              <a:rPr lang="en-US" sz="1000" err="1">
                <a:solidFill>
                  <a:srgbClr val="95D600"/>
                </a:solidFill>
              </a:rPr>
              <a:t>www.gavi.org</a:t>
            </a:r>
            <a:endParaRPr lang="en-US" sz="1000">
              <a:solidFill>
                <a:srgbClr val="95D600"/>
              </a:solidFill>
            </a:endParaRPr>
          </a:p>
        </p:txBody>
      </p:sp>
      <p:cxnSp>
        <p:nvCxnSpPr>
          <p:cNvPr id="13" name="Connecteur droit 22"/>
          <p:cNvCxnSpPr/>
          <p:nvPr userDrawn="1"/>
        </p:nvCxnSpPr>
        <p:spPr bwMode="gray">
          <a:xfrm flipH="1">
            <a:off x="468313" y="3402013"/>
            <a:ext cx="2447925" cy="0"/>
          </a:xfrm>
          <a:prstGeom prst="line">
            <a:avLst/>
          </a:prstGeom>
          <a:ln w="24130">
            <a:solidFill>
              <a:schemeClr val="accent1"/>
            </a:solidFill>
          </a:ln>
        </p:spPr>
        <p:style>
          <a:lnRef idx="1">
            <a:schemeClr val="accent1"/>
          </a:lnRef>
          <a:fillRef idx="0">
            <a:schemeClr val="accent1"/>
          </a:fillRef>
          <a:effectRef idx="0">
            <a:schemeClr val="accent1"/>
          </a:effectRef>
          <a:fontRef idx="minor">
            <a:schemeClr val="tx1"/>
          </a:fontRef>
        </p:style>
      </p:cxnSp>
      <p:sp>
        <p:nvSpPr>
          <p:cNvPr id="9" name="Espace réservé du texte 8"/>
          <p:cNvSpPr>
            <a:spLocks noGrp="1"/>
          </p:cNvSpPr>
          <p:nvPr>
            <p:ph type="body" sz="quarter" idx="13"/>
          </p:nvPr>
        </p:nvSpPr>
        <p:spPr bwMode="gray">
          <a:xfrm>
            <a:off x="468314" y="1036638"/>
            <a:ext cx="4824412" cy="2231392"/>
          </a:xfrm>
        </p:spPr>
        <p:txBody>
          <a:bodyPr anchor="b"/>
          <a:lstStyle>
            <a:lvl1pPr marL="0" indent="0" algn="l">
              <a:lnSpc>
                <a:spcPct val="90000"/>
              </a:lnSpc>
              <a:buNone/>
              <a:defRPr sz="2800" b="1" cap="none" baseline="0">
                <a:solidFill>
                  <a:schemeClr val="bg1"/>
                </a:solidFill>
              </a:defRPr>
            </a:lvl1pPr>
            <a:lvl2pPr marL="0" algn="ctr">
              <a:lnSpc>
                <a:spcPct val="100000"/>
              </a:lnSpc>
              <a:spcBef>
                <a:spcPts val="6900"/>
              </a:spcBef>
              <a:defRPr sz="2000" b="1">
                <a:solidFill>
                  <a:schemeClr val="bg1"/>
                </a:solidFill>
              </a:defRPr>
            </a:lvl2pPr>
          </a:lstStyle>
          <a:p>
            <a:pPr lvl="0"/>
            <a:r>
              <a:rPr lang="en-US" noProof="0"/>
              <a:t>Click to edit Master text styles</a:t>
            </a:r>
          </a:p>
        </p:txBody>
      </p:sp>
      <p:sp>
        <p:nvSpPr>
          <p:cNvPr id="8" name="Espace réservé du texte 8"/>
          <p:cNvSpPr>
            <a:spLocks noGrp="1"/>
          </p:cNvSpPr>
          <p:nvPr>
            <p:ph type="body" sz="quarter" idx="14"/>
          </p:nvPr>
        </p:nvSpPr>
        <p:spPr bwMode="gray">
          <a:xfrm>
            <a:off x="468314" y="3584637"/>
            <a:ext cx="3592800" cy="1477788"/>
          </a:xfrm>
        </p:spPr>
        <p:txBody>
          <a:bodyPr/>
          <a:lstStyle>
            <a:lvl1pPr marL="0" indent="0" algn="l">
              <a:lnSpc>
                <a:spcPct val="90000"/>
              </a:lnSpc>
              <a:buNone/>
              <a:defRPr sz="2000" b="0" baseline="0">
                <a:solidFill>
                  <a:schemeClr val="bg1"/>
                </a:solidFill>
              </a:defRPr>
            </a:lvl1pPr>
            <a:lvl2pPr marL="0" algn="ctr">
              <a:lnSpc>
                <a:spcPct val="100000"/>
              </a:lnSpc>
              <a:spcBef>
                <a:spcPts val="6900"/>
              </a:spcBef>
              <a:defRPr sz="2000" b="1">
                <a:solidFill>
                  <a:schemeClr val="bg1"/>
                </a:solidFill>
              </a:defRPr>
            </a:lvl2pPr>
          </a:lstStyle>
          <a:p>
            <a:pPr lvl="0"/>
            <a:r>
              <a:rPr lang="en-US" noProof="0"/>
              <a:t>Click to edit Master text styles</a:t>
            </a:r>
          </a:p>
        </p:txBody>
      </p:sp>
      <p:sp>
        <p:nvSpPr>
          <p:cNvPr id="15" name="Espace réservé du texte 14"/>
          <p:cNvSpPr>
            <a:spLocks noGrp="1"/>
          </p:cNvSpPr>
          <p:nvPr>
            <p:ph type="body" sz="quarter" idx="19"/>
          </p:nvPr>
        </p:nvSpPr>
        <p:spPr bwMode="gray">
          <a:xfrm>
            <a:off x="3635376" y="6021388"/>
            <a:ext cx="5113338" cy="324000"/>
          </a:xfrm>
        </p:spPr>
        <p:txBody>
          <a:bodyPr anchor="b"/>
          <a:lstStyle>
            <a:lvl1pPr algn="r">
              <a:lnSpc>
                <a:spcPct val="100000"/>
              </a:lnSpc>
              <a:defRPr sz="1000" b="1">
                <a:solidFill>
                  <a:schemeClr val="accent3"/>
                </a:solidFill>
              </a:defRPr>
            </a:lvl1pPr>
          </a:lstStyle>
          <a:p>
            <a:pPr lvl="0"/>
            <a:r>
              <a:rPr lang="en-US" noProof="0"/>
              <a:t>Click to edit Master text styles</a:t>
            </a:r>
          </a:p>
        </p:txBody>
      </p:sp>
      <p:sp>
        <p:nvSpPr>
          <p:cNvPr id="17" name="Espace réservé du texte 16"/>
          <p:cNvSpPr>
            <a:spLocks noGrp="1"/>
          </p:cNvSpPr>
          <p:nvPr>
            <p:ph type="body" sz="quarter" idx="20"/>
          </p:nvPr>
        </p:nvSpPr>
        <p:spPr bwMode="gray">
          <a:xfrm>
            <a:off x="0" y="5157788"/>
            <a:ext cx="9144000" cy="287337"/>
          </a:xfrm>
          <a:solidFill>
            <a:schemeClr val="bg1"/>
          </a:solidFill>
        </p:spPr>
        <p:txBody>
          <a:bodyPr/>
          <a:lstStyle>
            <a:lvl1pPr>
              <a:defRPr sz="100" b="0">
                <a:solidFill>
                  <a:schemeClr val="bg1">
                    <a:alpha val="0"/>
                  </a:schemeClr>
                </a:solidFill>
              </a:defRPr>
            </a:lvl1pPr>
          </a:lstStyle>
          <a:p>
            <a:pPr lvl="0"/>
            <a:r>
              <a:rPr lang="en-US" noProof="0"/>
              <a:t>Click to edit Master text styles</a:t>
            </a:r>
          </a:p>
        </p:txBody>
      </p:sp>
      <p:sp>
        <p:nvSpPr>
          <p:cNvPr id="24" name="Espace réservé pour une image  17"/>
          <p:cNvSpPr>
            <a:spLocks noGrp="1"/>
          </p:cNvSpPr>
          <p:nvPr>
            <p:ph type="pic" sz="quarter" idx="18"/>
          </p:nvPr>
        </p:nvSpPr>
        <p:spPr bwMode="gray">
          <a:xfrm>
            <a:off x="4192588" y="0"/>
            <a:ext cx="4951412" cy="5162400"/>
          </a:xfrm>
          <a:custGeom>
            <a:avLst/>
            <a:gdLst>
              <a:gd name="connsiteX0" fmla="*/ 0 w 3851275"/>
              <a:gd name="connsiteY0" fmla="*/ 0 h 5157788"/>
              <a:gd name="connsiteX1" fmla="*/ 3851275 w 3851275"/>
              <a:gd name="connsiteY1" fmla="*/ 0 h 5157788"/>
              <a:gd name="connsiteX2" fmla="*/ 3851275 w 3851275"/>
              <a:gd name="connsiteY2" fmla="*/ 5157788 h 5157788"/>
              <a:gd name="connsiteX3" fmla="*/ 0 w 3851275"/>
              <a:gd name="connsiteY3" fmla="*/ 5157788 h 5157788"/>
              <a:gd name="connsiteX4" fmla="*/ 0 w 3851275"/>
              <a:gd name="connsiteY4"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0 w 3851275"/>
              <a:gd name="connsiteY3" fmla="*/ 5157788 h 5157788"/>
              <a:gd name="connsiteX4" fmla="*/ 1692275 w 3851275"/>
              <a:gd name="connsiteY4" fmla="*/ 0 h 5157788"/>
              <a:gd name="connsiteX0" fmla="*/ 0 w 2159000"/>
              <a:gd name="connsiteY0" fmla="*/ 0 h 5157788"/>
              <a:gd name="connsiteX1" fmla="*/ 2159000 w 2159000"/>
              <a:gd name="connsiteY1" fmla="*/ 0 h 5157788"/>
              <a:gd name="connsiteX2" fmla="*/ 2159000 w 2159000"/>
              <a:gd name="connsiteY2" fmla="*/ 5157788 h 5157788"/>
              <a:gd name="connsiteX3" fmla="*/ 0 w 2159000"/>
              <a:gd name="connsiteY3" fmla="*/ 5157788 h 5157788"/>
              <a:gd name="connsiteX4" fmla="*/ 0 w 2159000"/>
              <a:gd name="connsiteY4" fmla="*/ 0 h 5157788"/>
              <a:gd name="connsiteX0" fmla="*/ 2625271 w 4784271"/>
              <a:gd name="connsiteY0" fmla="*/ 0 h 5157788"/>
              <a:gd name="connsiteX1" fmla="*/ 4784271 w 4784271"/>
              <a:gd name="connsiteY1" fmla="*/ 0 h 5157788"/>
              <a:gd name="connsiteX2" fmla="*/ 4784271 w 4784271"/>
              <a:gd name="connsiteY2" fmla="*/ 5157788 h 5157788"/>
              <a:gd name="connsiteX3" fmla="*/ 2625271 w 4784271"/>
              <a:gd name="connsiteY3" fmla="*/ 5157788 h 5157788"/>
              <a:gd name="connsiteX4" fmla="*/ 2625271 w 4784271"/>
              <a:gd name="connsiteY4" fmla="*/ 0 h 5157788"/>
              <a:gd name="connsiteX0" fmla="*/ 2625271 w 4784271"/>
              <a:gd name="connsiteY0" fmla="*/ 0 h 5157788"/>
              <a:gd name="connsiteX1" fmla="*/ 4784271 w 4784271"/>
              <a:gd name="connsiteY1" fmla="*/ 0 h 5157788"/>
              <a:gd name="connsiteX2" fmla="*/ 4784271 w 4784271"/>
              <a:gd name="connsiteY2" fmla="*/ 5157788 h 5157788"/>
              <a:gd name="connsiteX3" fmla="*/ 2625271 w 4784271"/>
              <a:gd name="connsiteY3" fmla="*/ 5157788 h 5157788"/>
              <a:gd name="connsiteX4" fmla="*/ 2625271 w 4784271"/>
              <a:gd name="connsiteY4" fmla="*/ 0 h 5157788"/>
              <a:gd name="connsiteX0" fmla="*/ 3568576 w 5727576"/>
              <a:gd name="connsiteY0" fmla="*/ 0 h 5157788"/>
              <a:gd name="connsiteX1" fmla="*/ 5727576 w 5727576"/>
              <a:gd name="connsiteY1" fmla="*/ 0 h 5157788"/>
              <a:gd name="connsiteX2" fmla="*/ 5727576 w 5727576"/>
              <a:gd name="connsiteY2" fmla="*/ 5157788 h 5157788"/>
              <a:gd name="connsiteX3" fmla="*/ 3568576 w 5727576"/>
              <a:gd name="connsiteY3" fmla="*/ 5157788 h 5157788"/>
              <a:gd name="connsiteX4" fmla="*/ 3568576 w 5727576"/>
              <a:gd name="connsiteY4" fmla="*/ 0 h 5157788"/>
              <a:gd name="connsiteX0" fmla="*/ 3306355 w 5465355"/>
              <a:gd name="connsiteY0" fmla="*/ 0 h 5157788"/>
              <a:gd name="connsiteX1" fmla="*/ 5465355 w 5465355"/>
              <a:gd name="connsiteY1" fmla="*/ 0 h 5157788"/>
              <a:gd name="connsiteX2" fmla="*/ 5465355 w 5465355"/>
              <a:gd name="connsiteY2" fmla="*/ 5157788 h 5157788"/>
              <a:gd name="connsiteX3" fmla="*/ 3306355 w 5465355"/>
              <a:gd name="connsiteY3" fmla="*/ 5157788 h 5157788"/>
              <a:gd name="connsiteX4" fmla="*/ 3306355 w 5465355"/>
              <a:gd name="connsiteY4" fmla="*/ 0 h 5157788"/>
              <a:gd name="connsiteX0" fmla="*/ 1416957 w 3575957"/>
              <a:gd name="connsiteY0" fmla="*/ 0 h 5157788"/>
              <a:gd name="connsiteX1" fmla="*/ 3575957 w 3575957"/>
              <a:gd name="connsiteY1" fmla="*/ 0 h 5157788"/>
              <a:gd name="connsiteX2" fmla="*/ 3575957 w 3575957"/>
              <a:gd name="connsiteY2" fmla="*/ 5157788 h 5157788"/>
              <a:gd name="connsiteX3" fmla="*/ 1416957 w 3575957"/>
              <a:gd name="connsiteY3" fmla="*/ 5157788 h 5157788"/>
              <a:gd name="connsiteX4" fmla="*/ 0 w 3575957"/>
              <a:gd name="connsiteY4" fmla="*/ 3339193 h 5157788"/>
              <a:gd name="connsiteX5" fmla="*/ 1416957 w 3575957"/>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6017419"/>
              <a:gd name="connsiteX1" fmla="*/ 3851275 w 3851275"/>
              <a:gd name="connsiteY1" fmla="*/ 0 h 6017419"/>
              <a:gd name="connsiteX2" fmla="*/ 3851275 w 3851275"/>
              <a:gd name="connsiteY2" fmla="*/ 5157788 h 6017419"/>
              <a:gd name="connsiteX3" fmla="*/ 1692275 w 3851275"/>
              <a:gd name="connsiteY3" fmla="*/ 5157788 h 6017419"/>
              <a:gd name="connsiteX4" fmla="*/ 0 w 3851275"/>
              <a:gd name="connsiteY4" fmla="*/ 3284984 h 6017419"/>
              <a:gd name="connsiteX5" fmla="*/ 1692275 w 3851275"/>
              <a:gd name="connsiteY5" fmla="*/ 0 h 6017419"/>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429000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429000 h 5157788"/>
              <a:gd name="connsiteX5" fmla="*/ 1710871 w 3869871"/>
              <a:gd name="connsiteY5" fmla="*/ 0 h 5157788"/>
              <a:gd name="connsiteX0" fmla="*/ 1704975 w 3863975"/>
              <a:gd name="connsiteY0" fmla="*/ 0 h 5157788"/>
              <a:gd name="connsiteX1" fmla="*/ 3863975 w 3863975"/>
              <a:gd name="connsiteY1" fmla="*/ 0 h 5157788"/>
              <a:gd name="connsiteX2" fmla="*/ 3863975 w 3863975"/>
              <a:gd name="connsiteY2" fmla="*/ 5157788 h 5157788"/>
              <a:gd name="connsiteX3" fmla="*/ 1704975 w 3863975"/>
              <a:gd name="connsiteY3" fmla="*/ 5157788 h 5157788"/>
              <a:gd name="connsiteX4" fmla="*/ 12700 w 3863975"/>
              <a:gd name="connsiteY4" fmla="*/ 3429000 h 5157788"/>
              <a:gd name="connsiteX5" fmla="*/ 1704975 w 3863975"/>
              <a:gd name="connsiteY5" fmla="*/ 0 h 5157788"/>
              <a:gd name="connsiteX0" fmla="*/ 1707243 w 3866243"/>
              <a:gd name="connsiteY0" fmla="*/ 0 h 5157788"/>
              <a:gd name="connsiteX1" fmla="*/ 3866243 w 3866243"/>
              <a:gd name="connsiteY1" fmla="*/ 0 h 5157788"/>
              <a:gd name="connsiteX2" fmla="*/ 3866243 w 3866243"/>
              <a:gd name="connsiteY2" fmla="*/ 5157788 h 5157788"/>
              <a:gd name="connsiteX3" fmla="*/ 1707243 w 3866243"/>
              <a:gd name="connsiteY3" fmla="*/ 5157788 h 5157788"/>
              <a:gd name="connsiteX4" fmla="*/ 14968 w 3866243"/>
              <a:gd name="connsiteY4" fmla="*/ 3429000 h 5157788"/>
              <a:gd name="connsiteX5" fmla="*/ 1707243 w 3866243"/>
              <a:gd name="connsiteY5" fmla="*/ 0 h 5157788"/>
              <a:gd name="connsiteX0" fmla="*/ 1130447 w 3866243"/>
              <a:gd name="connsiteY0" fmla="*/ 0 h 5157788"/>
              <a:gd name="connsiteX1" fmla="*/ 3866243 w 3866243"/>
              <a:gd name="connsiteY1" fmla="*/ 0 h 5157788"/>
              <a:gd name="connsiteX2" fmla="*/ 3866243 w 3866243"/>
              <a:gd name="connsiteY2" fmla="*/ 5157788 h 5157788"/>
              <a:gd name="connsiteX3" fmla="*/ 1707243 w 3866243"/>
              <a:gd name="connsiteY3" fmla="*/ 5157788 h 5157788"/>
              <a:gd name="connsiteX4" fmla="*/ 14968 w 3866243"/>
              <a:gd name="connsiteY4" fmla="*/ 3429000 h 5157788"/>
              <a:gd name="connsiteX5" fmla="*/ 1130447 w 3866243"/>
              <a:gd name="connsiteY5" fmla="*/ 0 h 5157788"/>
              <a:gd name="connsiteX0" fmla="*/ 2746143 w 5481939"/>
              <a:gd name="connsiteY0" fmla="*/ 0 h 5157788"/>
              <a:gd name="connsiteX1" fmla="*/ 5481939 w 5481939"/>
              <a:gd name="connsiteY1" fmla="*/ 0 h 5157788"/>
              <a:gd name="connsiteX2" fmla="*/ 5481939 w 5481939"/>
              <a:gd name="connsiteY2" fmla="*/ 5157788 h 5157788"/>
              <a:gd name="connsiteX3" fmla="*/ 585903 w 5481939"/>
              <a:gd name="connsiteY3" fmla="*/ 5153180 h 5157788"/>
              <a:gd name="connsiteX4" fmla="*/ 1630664 w 5481939"/>
              <a:gd name="connsiteY4" fmla="*/ 3429000 h 5157788"/>
              <a:gd name="connsiteX5" fmla="*/ 2746143 w 5481939"/>
              <a:gd name="connsiteY5" fmla="*/ 0 h 5157788"/>
              <a:gd name="connsiteX0" fmla="*/ 2746143 w 5481939"/>
              <a:gd name="connsiteY0" fmla="*/ 0 h 5157788"/>
              <a:gd name="connsiteX1" fmla="*/ 5481939 w 5481939"/>
              <a:gd name="connsiteY1" fmla="*/ 0 h 5157788"/>
              <a:gd name="connsiteX2" fmla="*/ 5481939 w 5481939"/>
              <a:gd name="connsiteY2" fmla="*/ 5157788 h 5157788"/>
              <a:gd name="connsiteX3" fmla="*/ 585903 w 5481939"/>
              <a:gd name="connsiteY3" fmla="*/ 5153180 h 5157788"/>
              <a:gd name="connsiteX4" fmla="*/ 1630664 w 5481939"/>
              <a:gd name="connsiteY4" fmla="*/ 3429000 h 5157788"/>
              <a:gd name="connsiteX5" fmla="*/ 2746143 w 548193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3574235 w 6310031"/>
              <a:gd name="connsiteY0" fmla="*/ 0 h 5157788"/>
              <a:gd name="connsiteX1" fmla="*/ 6310031 w 6310031"/>
              <a:gd name="connsiteY1" fmla="*/ 0 h 5157788"/>
              <a:gd name="connsiteX2" fmla="*/ 6310031 w 6310031"/>
              <a:gd name="connsiteY2" fmla="*/ 5157788 h 5157788"/>
              <a:gd name="connsiteX3" fmla="*/ 585903 w 6310031"/>
              <a:gd name="connsiteY3" fmla="*/ 5153180 h 5157788"/>
              <a:gd name="connsiteX4" fmla="*/ 1738031 w 6310031"/>
              <a:gd name="connsiteY4" fmla="*/ 3389965 h 5157788"/>
              <a:gd name="connsiteX5" fmla="*/ 3574235 w 6310031"/>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296143 w 5724128"/>
              <a:gd name="connsiteY4" fmla="*/ 3461908 h 5157788"/>
              <a:gd name="connsiteX5" fmla="*/ 2988332 w 5724128"/>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1188132 w 5760132"/>
              <a:gd name="connsiteY4" fmla="*/ 3425937 h 5157788"/>
              <a:gd name="connsiteX5" fmla="*/ 3024336 w 5760132"/>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2736304 w 5760132"/>
              <a:gd name="connsiteY4" fmla="*/ 3461908 h 5157788"/>
              <a:gd name="connsiteX5" fmla="*/ 3024336 w 5760132"/>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2736304 w 5760132"/>
              <a:gd name="connsiteY4" fmla="*/ 3461908 h 5157788"/>
              <a:gd name="connsiteX5" fmla="*/ 3024336 w 5760132"/>
              <a:gd name="connsiteY5" fmla="*/ 0 h 5157788"/>
              <a:gd name="connsiteX0" fmla="*/ 2160240 w 4896036"/>
              <a:gd name="connsiteY0" fmla="*/ 0 h 5157788"/>
              <a:gd name="connsiteX1" fmla="*/ 4896036 w 4896036"/>
              <a:gd name="connsiteY1" fmla="*/ 0 h 5157788"/>
              <a:gd name="connsiteX2" fmla="*/ 4896036 w 4896036"/>
              <a:gd name="connsiteY2" fmla="*/ 5157788 h 5157788"/>
              <a:gd name="connsiteX3" fmla="*/ 0 w 4896036"/>
              <a:gd name="connsiteY3" fmla="*/ 5153180 h 5157788"/>
              <a:gd name="connsiteX4" fmla="*/ 1872208 w 4896036"/>
              <a:gd name="connsiteY4" fmla="*/ 3461908 h 5157788"/>
              <a:gd name="connsiteX5" fmla="*/ 2160240 w 4896036"/>
              <a:gd name="connsiteY5" fmla="*/ 0 h 5157788"/>
              <a:gd name="connsiteX0" fmla="*/ 2232248 w 4968044"/>
              <a:gd name="connsiteY0" fmla="*/ 0 h 5157788"/>
              <a:gd name="connsiteX1" fmla="*/ 4968044 w 4968044"/>
              <a:gd name="connsiteY1" fmla="*/ 0 h 5157788"/>
              <a:gd name="connsiteX2" fmla="*/ 4968044 w 4968044"/>
              <a:gd name="connsiteY2" fmla="*/ 5157788 h 5157788"/>
              <a:gd name="connsiteX3" fmla="*/ 0 w 4968044"/>
              <a:gd name="connsiteY3" fmla="*/ 5153180 h 5157788"/>
              <a:gd name="connsiteX4" fmla="*/ 1944216 w 4968044"/>
              <a:gd name="connsiteY4" fmla="*/ 3461908 h 5157788"/>
              <a:gd name="connsiteX5" fmla="*/ 2232248 w 4968044"/>
              <a:gd name="connsiteY5" fmla="*/ 0 h 5157788"/>
              <a:gd name="connsiteX0" fmla="*/ 2207679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207679 w 4943475"/>
              <a:gd name="connsiteY5" fmla="*/ 0 h 5157788"/>
              <a:gd name="connsiteX0" fmla="*/ 2963763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963763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092200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71575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343583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675731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675731 w 4943475"/>
              <a:gd name="connsiteY5" fmla="*/ 0 h 5157788"/>
              <a:gd name="connsiteX0" fmla="*/ 2675731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675731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9672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19672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51412" h="5157788">
                <a:moveTo>
                  <a:pt x="2706687" y="0"/>
                </a:moveTo>
                <a:lnTo>
                  <a:pt x="4951412" y="0"/>
                </a:lnTo>
                <a:lnTo>
                  <a:pt x="4951412" y="5157788"/>
                </a:lnTo>
                <a:lnTo>
                  <a:pt x="0" y="5153180"/>
                </a:lnTo>
                <a:cubicBezTo>
                  <a:pt x="84411" y="4542509"/>
                  <a:pt x="183041" y="4024723"/>
                  <a:pt x="1243508" y="2562613"/>
                </a:cubicBezTo>
                <a:cubicBezTo>
                  <a:pt x="1867447" y="1704780"/>
                  <a:pt x="2665955" y="709265"/>
                  <a:pt x="2706687" y="0"/>
                </a:cubicBezTo>
                <a:close/>
              </a:path>
            </a:pathLst>
          </a:custGeom>
          <a:solidFill>
            <a:schemeClr val="bg2"/>
          </a:solidFill>
          <a:ln w="3175">
            <a:noFill/>
          </a:ln>
        </p:spPr>
        <p:txBody>
          <a:bodyPr tIns="720000" rtlCol="0" anchor="ctr">
            <a:noAutofit/>
          </a:bodyPr>
          <a:lstStyle>
            <a:lvl1pPr algn="ctr">
              <a:defRPr sz="1500">
                <a:solidFill>
                  <a:schemeClr val="bg1"/>
                </a:solidFill>
              </a:defRPr>
            </a:lvl1pPr>
          </a:lstStyle>
          <a:p>
            <a:pPr lvl="0"/>
            <a:r>
              <a:rPr lang="en-US" noProof="0"/>
              <a:t>Click icon to add picture</a:t>
            </a:r>
          </a:p>
        </p:txBody>
      </p:sp>
      <p:sp>
        <p:nvSpPr>
          <p:cNvPr id="14" name="Espace réservé de la date 9"/>
          <p:cNvSpPr>
            <a:spLocks noGrp="1"/>
          </p:cNvSpPr>
          <p:nvPr>
            <p:ph type="dt" sz="half" idx="21"/>
          </p:nvPr>
        </p:nvSpPr>
        <p:spPr/>
        <p:txBody>
          <a:bodyPr/>
          <a:lstStyle>
            <a:lvl1pPr>
              <a:defRPr/>
            </a:lvl1pPr>
          </a:lstStyle>
          <a:p>
            <a:pPr>
              <a:defRPr/>
            </a:pPr>
            <a:r>
              <a:rPr lang="en-US">
                <a:solidFill>
                  <a:prstClr val="white">
                    <a:alpha val="0"/>
                  </a:prstClr>
                </a:solidFill>
              </a:rPr>
              <a:t>Date</a:t>
            </a:r>
          </a:p>
        </p:txBody>
      </p:sp>
      <p:sp>
        <p:nvSpPr>
          <p:cNvPr id="16" name="Espace réservé du numéro de diapositive 10"/>
          <p:cNvSpPr>
            <a:spLocks noGrp="1"/>
          </p:cNvSpPr>
          <p:nvPr>
            <p:ph type="sldNum" sz="quarter" idx="22"/>
          </p:nvPr>
        </p:nvSpPr>
        <p:spPr/>
        <p:txBody>
          <a:bodyPr/>
          <a:lstStyle>
            <a:lvl1pPr>
              <a:defRPr sz="100">
                <a:solidFill>
                  <a:schemeClr val="bg1">
                    <a:alpha val="0"/>
                  </a:schemeClr>
                </a:solidFill>
              </a:defRPr>
            </a:lvl1pPr>
          </a:lstStyle>
          <a:p>
            <a:pPr>
              <a:defRPr/>
            </a:pPr>
            <a:r>
              <a:rPr lang="en-US">
                <a:solidFill>
                  <a:prstClr val="white">
                    <a:alpha val="0"/>
                  </a:prstClr>
                </a:solidFill>
              </a:rPr>
              <a:t>Page: </a:t>
            </a:r>
            <a:fld id="{FBC781E1-DB0D-44EA-942B-52789A2EA6EC}" type="slidenum">
              <a:rPr lang="en-US">
                <a:solidFill>
                  <a:prstClr val="white">
                    <a:alpha val="0"/>
                  </a:prstClr>
                </a:solidFill>
              </a:rPr>
              <a:pPr>
                <a:defRPr/>
              </a:pPr>
              <a:t>‹#›</a:t>
            </a:fld>
            <a:endParaRPr lang="en-US">
              <a:solidFill>
                <a:prstClr val="white">
                  <a:alpha val="0"/>
                </a:prstClr>
              </a:solidFill>
            </a:endParaRPr>
          </a:p>
        </p:txBody>
      </p:sp>
      <p:sp>
        <p:nvSpPr>
          <p:cNvPr id="18" name="Espace réservé du pied de page 11"/>
          <p:cNvSpPr>
            <a:spLocks noGrp="1"/>
          </p:cNvSpPr>
          <p:nvPr>
            <p:ph type="ftr" sz="quarter" idx="23"/>
          </p:nvPr>
        </p:nvSpPr>
        <p:spPr>
          <a:xfrm>
            <a:off x="468313" y="523875"/>
            <a:ext cx="4824412" cy="360363"/>
          </a:xfrm>
        </p:spPr>
        <p:txBody>
          <a:bodyPr/>
          <a:lstStyle>
            <a:lvl1pPr algn="l">
              <a:defRPr sz="1800" b="0">
                <a:solidFill>
                  <a:schemeClr val="bg1"/>
                </a:solidFill>
              </a:defRPr>
            </a:lvl1pPr>
          </a:lstStyle>
          <a:p>
            <a:pPr>
              <a:defRPr/>
            </a:pPr>
            <a:r>
              <a:rPr lang="en-US">
                <a:solidFill>
                  <a:prstClr val="white"/>
                </a:solidFill>
              </a:rPr>
              <a:t>#</a:t>
            </a:r>
            <a:r>
              <a:rPr lang="en-US" err="1">
                <a:solidFill>
                  <a:prstClr val="white"/>
                </a:solidFill>
              </a:rPr>
              <a:t>vaccineswork</a:t>
            </a:r>
            <a:endParaRPr lang="en-US">
              <a:solidFill>
                <a:prstClr val="white"/>
              </a:solidFill>
            </a:endParaRPr>
          </a:p>
          <a:p>
            <a:pPr>
              <a:defRPr/>
            </a:pPr>
            <a:endParaRPr lang="en-US">
              <a:solidFill>
                <a:prstClr val="white"/>
              </a:solidFill>
            </a:endParaRPr>
          </a:p>
        </p:txBody>
      </p:sp>
    </p:spTree>
    <p:extLst>
      <p:ext uri="{BB962C8B-B14F-4D97-AF65-F5344CB8AC3E}">
        <p14:creationId xmlns:p14="http://schemas.microsoft.com/office/powerpoint/2010/main" val="411438890"/>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Cover_Picture_2">
    <p:spTree>
      <p:nvGrpSpPr>
        <p:cNvPr id="1" name=""/>
        <p:cNvGrpSpPr/>
        <p:nvPr/>
      </p:nvGrpSpPr>
      <p:grpSpPr>
        <a:xfrm>
          <a:off x="0" y="0"/>
          <a:ext cx="0" cy="0"/>
          <a:chOff x="0" y="0"/>
          <a:chExt cx="0" cy="0"/>
        </a:xfrm>
      </p:grpSpPr>
      <p:pic>
        <p:nvPicPr>
          <p:cNvPr id="7" name="Image 20" descr="FD_1_L254.png"/>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gray">
          <a:xfrm>
            <a:off x="0" y="0"/>
            <a:ext cx="9144000" cy="51577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0" name="Rectangle 9"/>
          <p:cNvSpPr/>
          <p:nvPr userDrawn="1"/>
        </p:nvSpPr>
        <p:spPr bwMode="gray">
          <a:xfrm>
            <a:off x="3635375" y="5265738"/>
            <a:ext cx="5508625" cy="15922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prstClr val="white"/>
              </a:solidFill>
            </a:endParaRPr>
          </a:p>
        </p:txBody>
      </p:sp>
      <p:pic>
        <p:nvPicPr>
          <p:cNvPr id="11" name="Image 19" descr="Bas_couv.png"/>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gray">
          <a:xfrm>
            <a:off x="0" y="5172075"/>
            <a:ext cx="3635375" cy="16859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2" name="Rectangle 11"/>
          <p:cNvSpPr/>
          <p:nvPr userDrawn="1"/>
        </p:nvSpPr>
        <p:spPr bwMode="gray">
          <a:xfrm>
            <a:off x="3635375" y="6354763"/>
            <a:ext cx="5113338" cy="2873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p>
            <a:pPr algn="r">
              <a:defRPr/>
            </a:pPr>
            <a:r>
              <a:rPr lang="en-US" sz="1000" err="1">
                <a:solidFill>
                  <a:srgbClr val="95D600"/>
                </a:solidFill>
              </a:rPr>
              <a:t>www.gavi.org</a:t>
            </a:r>
            <a:endParaRPr lang="en-US" sz="1000">
              <a:solidFill>
                <a:srgbClr val="95D600"/>
              </a:solidFill>
            </a:endParaRPr>
          </a:p>
        </p:txBody>
      </p:sp>
      <p:cxnSp>
        <p:nvCxnSpPr>
          <p:cNvPr id="13" name="Connecteur droit 13"/>
          <p:cNvCxnSpPr/>
          <p:nvPr userDrawn="1"/>
        </p:nvCxnSpPr>
        <p:spPr bwMode="gray">
          <a:xfrm flipH="1">
            <a:off x="468313" y="3402013"/>
            <a:ext cx="2447925" cy="0"/>
          </a:xfrm>
          <a:prstGeom prst="line">
            <a:avLst/>
          </a:prstGeom>
          <a:ln w="24130">
            <a:solidFill>
              <a:schemeClr val="accent1"/>
            </a:solidFill>
          </a:ln>
        </p:spPr>
        <p:style>
          <a:lnRef idx="1">
            <a:schemeClr val="accent1"/>
          </a:lnRef>
          <a:fillRef idx="0">
            <a:schemeClr val="accent1"/>
          </a:fillRef>
          <a:effectRef idx="0">
            <a:schemeClr val="accent1"/>
          </a:effectRef>
          <a:fontRef idx="minor">
            <a:schemeClr val="tx1"/>
          </a:fontRef>
        </p:style>
      </p:cxnSp>
      <p:sp>
        <p:nvSpPr>
          <p:cNvPr id="9" name="Espace réservé du texte 8"/>
          <p:cNvSpPr>
            <a:spLocks noGrp="1"/>
          </p:cNvSpPr>
          <p:nvPr>
            <p:ph type="body" sz="quarter" idx="13"/>
          </p:nvPr>
        </p:nvSpPr>
        <p:spPr bwMode="gray">
          <a:xfrm>
            <a:off x="468000" y="1036800"/>
            <a:ext cx="4824412" cy="2232000"/>
          </a:xfrm>
        </p:spPr>
        <p:txBody>
          <a:bodyPr anchor="b"/>
          <a:lstStyle>
            <a:lvl1pPr marL="0" indent="0" algn="l">
              <a:lnSpc>
                <a:spcPct val="90000"/>
              </a:lnSpc>
              <a:buNone/>
              <a:defRPr sz="2800" b="1" cap="none" baseline="0">
                <a:solidFill>
                  <a:schemeClr val="bg1"/>
                </a:solidFill>
              </a:defRPr>
            </a:lvl1pPr>
            <a:lvl2pPr marL="0" algn="ctr">
              <a:lnSpc>
                <a:spcPct val="100000"/>
              </a:lnSpc>
              <a:spcBef>
                <a:spcPts val="6900"/>
              </a:spcBef>
              <a:defRPr sz="2000" b="1">
                <a:solidFill>
                  <a:schemeClr val="bg1"/>
                </a:solidFill>
              </a:defRPr>
            </a:lvl2pPr>
          </a:lstStyle>
          <a:p>
            <a:pPr lvl="0"/>
            <a:r>
              <a:rPr lang="en-US" noProof="0"/>
              <a:t>Click to edit Master text styles</a:t>
            </a:r>
          </a:p>
        </p:txBody>
      </p:sp>
      <p:sp>
        <p:nvSpPr>
          <p:cNvPr id="8" name="Espace réservé du texte 8"/>
          <p:cNvSpPr>
            <a:spLocks noGrp="1"/>
          </p:cNvSpPr>
          <p:nvPr>
            <p:ph type="body" sz="quarter" idx="14"/>
          </p:nvPr>
        </p:nvSpPr>
        <p:spPr bwMode="gray">
          <a:xfrm>
            <a:off x="468314" y="3585600"/>
            <a:ext cx="3592800" cy="1479600"/>
          </a:xfrm>
        </p:spPr>
        <p:txBody>
          <a:bodyPr/>
          <a:lstStyle>
            <a:lvl1pPr marL="0" indent="0" algn="l">
              <a:lnSpc>
                <a:spcPct val="90000"/>
              </a:lnSpc>
              <a:buNone/>
              <a:defRPr sz="2000" b="0" baseline="0">
                <a:solidFill>
                  <a:schemeClr val="bg1"/>
                </a:solidFill>
              </a:defRPr>
            </a:lvl1pPr>
            <a:lvl2pPr marL="0" algn="ctr">
              <a:lnSpc>
                <a:spcPct val="100000"/>
              </a:lnSpc>
              <a:spcBef>
                <a:spcPts val="6900"/>
              </a:spcBef>
              <a:defRPr sz="2000" b="1">
                <a:solidFill>
                  <a:schemeClr val="bg1"/>
                </a:solidFill>
              </a:defRPr>
            </a:lvl2pPr>
          </a:lstStyle>
          <a:p>
            <a:pPr lvl="0"/>
            <a:r>
              <a:rPr lang="en-US" noProof="0"/>
              <a:t>Click to edit Master text styles</a:t>
            </a:r>
          </a:p>
        </p:txBody>
      </p:sp>
      <p:sp>
        <p:nvSpPr>
          <p:cNvPr id="15" name="Espace réservé du texte 14"/>
          <p:cNvSpPr>
            <a:spLocks noGrp="1"/>
          </p:cNvSpPr>
          <p:nvPr>
            <p:ph type="body" sz="quarter" idx="19"/>
          </p:nvPr>
        </p:nvSpPr>
        <p:spPr bwMode="gray">
          <a:xfrm>
            <a:off x="3635376" y="6021388"/>
            <a:ext cx="5113338" cy="324000"/>
          </a:xfrm>
        </p:spPr>
        <p:txBody>
          <a:bodyPr anchor="b"/>
          <a:lstStyle>
            <a:lvl1pPr algn="r">
              <a:lnSpc>
                <a:spcPct val="100000"/>
              </a:lnSpc>
              <a:defRPr sz="1000" b="1">
                <a:solidFill>
                  <a:schemeClr val="accent3"/>
                </a:solidFill>
              </a:defRPr>
            </a:lvl1pPr>
          </a:lstStyle>
          <a:p>
            <a:pPr lvl="0"/>
            <a:r>
              <a:rPr lang="en-US" noProof="0"/>
              <a:t>Click to edit Master text styles</a:t>
            </a:r>
          </a:p>
        </p:txBody>
      </p:sp>
      <p:sp>
        <p:nvSpPr>
          <p:cNvPr id="17" name="Espace réservé du texte 16"/>
          <p:cNvSpPr>
            <a:spLocks noGrp="1"/>
          </p:cNvSpPr>
          <p:nvPr>
            <p:ph type="body" sz="quarter" idx="20"/>
          </p:nvPr>
        </p:nvSpPr>
        <p:spPr bwMode="gray">
          <a:xfrm>
            <a:off x="0" y="5157788"/>
            <a:ext cx="9144000" cy="287337"/>
          </a:xfrm>
          <a:solidFill>
            <a:schemeClr val="bg1"/>
          </a:solidFill>
        </p:spPr>
        <p:txBody>
          <a:bodyPr/>
          <a:lstStyle>
            <a:lvl1pPr>
              <a:defRPr sz="100" b="0">
                <a:solidFill>
                  <a:schemeClr val="bg1">
                    <a:alpha val="0"/>
                  </a:schemeClr>
                </a:solidFill>
              </a:defRPr>
            </a:lvl1pPr>
          </a:lstStyle>
          <a:p>
            <a:pPr lvl="0"/>
            <a:r>
              <a:rPr lang="en-US" noProof="0"/>
              <a:t>Click to edit Master text styles</a:t>
            </a:r>
          </a:p>
        </p:txBody>
      </p:sp>
      <p:sp>
        <p:nvSpPr>
          <p:cNvPr id="18" name="Espace réservé pour une image  17"/>
          <p:cNvSpPr>
            <a:spLocks noGrp="1"/>
          </p:cNvSpPr>
          <p:nvPr>
            <p:ph type="pic" sz="quarter" idx="18"/>
          </p:nvPr>
        </p:nvSpPr>
        <p:spPr bwMode="gray">
          <a:xfrm>
            <a:off x="4192588" y="0"/>
            <a:ext cx="4951412" cy="5162400"/>
          </a:xfrm>
          <a:custGeom>
            <a:avLst/>
            <a:gdLst>
              <a:gd name="connsiteX0" fmla="*/ 0 w 3851275"/>
              <a:gd name="connsiteY0" fmla="*/ 0 h 5157788"/>
              <a:gd name="connsiteX1" fmla="*/ 3851275 w 3851275"/>
              <a:gd name="connsiteY1" fmla="*/ 0 h 5157788"/>
              <a:gd name="connsiteX2" fmla="*/ 3851275 w 3851275"/>
              <a:gd name="connsiteY2" fmla="*/ 5157788 h 5157788"/>
              <a:gd name="connsiteX3" fmla="*/ 0 w 3851275"/>
              <a:gd name="connsiteY3" fmla="*/ 5157788 h 5157788"/>
              <a:gd name="connsiteX4" fmla="*/ 0 w 3851275"/>
              <a:gd name="connsiteY4"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0 w 3851275"/>
              <a:gd name="connsiteY3" fmla="*/ 5157788 h 5157788"/>
              <a:gd name="connsiteX4" fmla="*/ 1692275 w 3851275"/>
              <a:gd name="connsiteY4" fmla="*/ 0 h 5157788"/>
              <a:gd name="connsiteX0" fmla="*/ 0 w 2159000"/>
              <a:gd name="connsiteY0" fmla="*/ 0 h 5157788"/>
              <a:gd name="connsiteX1" fmla="*/ 2159000 w 2159000"/>
              <a:gd name="connsiteY1" fmla="*/ 0 h 5157788"/>
              <a:gd name="connsiteX2" fmla="*/ 2159000 w 2159000"/>
              <a:gd name="connsiteY2" fmla="*/ 5157788 h 5157788"/>
              <a:gd name="connsiteX3" fmla="*/ 0 w 2159000"/>
              <a:gd name="connsiteY3" fmla="*/ 5157788 h 5157788"/>
              <a:gd name="connsiteX4" fmla="*/ 0 w 2159000"/>
              <a:gd name="connsiteY4" fmla="*/ 0 h 5157788"/>
              <a:gd name="connsiteX0" fmla="*/ 2625271 w 4784271"/>
              <a:gd name="connsiteY0" fmla="*/ 0 h 5157788"/>
              <a:gd name="connsiteX1" fmla="*/ 4784271 w 4784271"/>
              <a:gd name="connsiteY1" fmla="*/ 0 h 5157788"/>
              <a:gd name="connsiteX2" fmla="*/ 4784271 w 4784271"/>
              <a:gd name="connsiteY2" fmla="*/ 5157788 h 5157788"/>
              <a:gd name="connsiteX3" fmla="*/ 2625271 w 4784271"/>
              <a:gd name="connsiteY3" fmla="*/ 5157788 h 5157788"/>
              <a:gd name="connsiteX4" fmla="*/ 2625271 w 4784271"/>
              <a:gd name="connsiteY4" fmla="*/ 0 h 5157788"/>
              <a:gd name="connsiteX0" fmla="*/ 2625271 w 4784271"/>
              <a:gd name="connsiteY0" fmla="*/ 0 h 5157788"/>
              <a:gd name="connsiteX1" fmla="*/ 4784271 w 4784271"/>
              <a:gd name="connsiteY1" fmla="*/ 0 h 5157788"/>
              <a:gd name="connsiteX2" fmla="*/ 4784271 w 4784271"/>
              <a:gd name="connsiteY2" fmla="*/ 5157788 h 5157788"/>
              <a:gd name="connsiteX3" fmla="*/ 2625271 w 4784271"/>
              <a:gd name="connsiteY3" fmla="*/ 5157788 h 5157788"/>
              <a:gd name="connsiteX4" fmla="*/ 2625271 w 4784271"/>
              <a:gd name="connsiteY4" fmla="*/ 0 h 5157788"/>
              <a:gd name="connsiteX0" fmla="*/ 3568576 w 5727576"/>
              <a:gd name="connsiteY0" fmla="*/ 0 h 5157788"/>
              <a:gd name="connsiteX1" fmla="*/ 5727576 w 5727576"/>
              <a:gd name="connsiteY1" fmla="*/ 0 h 5157788"/>
              <a:gd name="connsiteX2" fmla="*/ 5727576 w 5727576"/>
              <a:gd name="connsiteY2" fmla="*/ 5157788 h 5157788"/>
              <a:gd name="connsiteX3" fmla="*/ 3568576 w 5727576"/>
              <a:gd name="connsiteY3" fmla="*/ 5157788 h 5157788"/>
              <a:gd name="connsiteX4" fmla="*/ 3568576 w 5727576"/>
              <a:gd name="connsiteY4" fmla="*/ 0 h 5157788"/>
              <a:gd name="connsiteX0" fmla="*/ 3306355 w 5465355"/>
              <a:gd name="connsiteY0" fmla="*/ 0 h 5157788"/>
              <a:gd name="connsiteX1" fmla="*/ 5465355 w 5465355"/>
              <a:gd name="connsiteY1" fmla="*/ 0 h 5157788"/>
              <a:gd name="connsiteX2" fmla="*/ 5465355 w 5465355"/>
              <a:gd name="connsiteY2" fmla="*/ 5157788 h 5157788"/>
              <a:gd name="connsiteX3" fmla="*/ 3306355 w 5465355"/>
              <a:gd name="connsiteY3" fmla="*/ 5157788 h 5157788"/>
              <a:gd name="connsiteX4" fmla="*/ 3306355 w 5465355"/>
              <a:gd name="connsiteY4" fmla="*/ 0 h 5157788"/>
              <a:gd name="connsiteX0" fmla="*/ 1416957 w 3575957"/>
              <a:gd name="connsiteY0" fmla="*/ 0 h 5157788"/>
              <a:gd name="connsiteX1" fmla="*/ 3575957 w 3575957"/>
              <a:gd name="connsiteY1" fmla="*/ 0 h 5157788"/>
              <a:gd name="connsiteX2" fmla="*/ 3575957 w 3575957"/>
              <a:gd name="connsiteY2" fmla="*/ 5157788 h 5157788"/>
              <a:gd name="connsiteX3" fmla="*/ 1416957 w 3575957"/>
              <a:gd name="connsiteY3" fmla="*/ 5157788 h 5157788"/>
              <a:gd name="connsiteX4" fmla="*/ 0 w 3575957"/>
              <a:gd name="connsiteY4" fmla="*/ 3339193 h 5157788"/>
              <a:gd name="connsiteX5" fmla="*/ 1416957 w 3575957"/>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6017419"/>
              <a:gd name="connsiteX1" fmla="*/ 3851275 w 3851275"/>
              <a:gd name="connsiteY1" fmla="*/ 0 h 6017419"/>
              <a:gd name="connsiteX2" fmla="*/ 3851275 w 3851275"/>
              <a:gd name="connsiteY2" fmla="*/ 5157788 h 6017419"/>
              <a:gd name="connsiteX3" fmla="*/ 1692275 w 3851275"/>
              <a:gd name="connsiteY3" fmla="*/ 5157788 h 6017419"/>
              <a:gd name="connsiteX4" fmla="*/ 0 w 3851275"/>
              <a:gd name="connsiteY4" fmla="*/ 3284984 h 6017419"/>
              <a:gd name="connsiteX5" fmla="*/ 1692275 w 3851275"/>
              <a:gd name="connsiteY5" fmla="*/ 0 h 6017419"/>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429000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429000 h 5157788"/>
              <a:gd name="connsiteX5" fmla="*/ 1710871 w 3869871"/>
              <a:gd name="connsiteY5" fmla="*/ 0 h 5157788"/>
              <a:gd name="connsiteX0" fmla="*/ 1704975 w 3863975"/>
              <a:gd name="connsiteY0" fmla="*/ 0 h 5157788"/>
              <a:gd name="connsiteX1" fmla="*/ 3863975 w 3863975"/>
              <a:gd name="connsiteY1" fmla="*/ 0 h 5157788"/>
              <a:gd name="connsiteX2" fmla="*/ 3863975 w 3863975"/>
              <a:gd name="connsiteY2" fmla="*/ 5157788 h 5157788"/>
              <a:gd name="connsiteX3" fmla="*/ 1704975 w 3863975"/>
              <a:gd name="connsiteY3" fmla="*/ 5157788 h 5157788"/>
              <a:gd name="connsiteX4" fmla="*/ 12700 w 3863975"/>
              <a:gd name="connsiteY4" fmla="*/ 3429000 h 5157788"/>
              <a:gd name="connsiteX5" fmla="*/ 1704975 w 3863975"/>
              <a:gd name="connsiteY5" fmla="*/ 0 h 5157788"/>
              <a:gd name="connsiteX0" fmla="*/ 1707243 w 3866243"/>
              <a:gd name="connsiteY0" fmla="*/ 0 h 5157788"/>
              <a:gd name="connsiteX1" fmla="*/ 3866243 w 3866243"/>
              <a:gd name="connsiteY1" fmla="*/ 0 h 5157788"/>
              <a:gd name="connsiteX2" fmla="*/ 3866243 w 3866243"/>
              <a:gd name="connsiteY2" fmla="*/ 5157788 h 5157788"/>
              <a:gd name="connsiteX3" fmla="*/ 1707243 w 3866243"/>
              <a:gd name="connsiteY3" fmla="*/ 5157788 h 5157788"/>
              <a:gd name="connsiteX4" fmla="*/ 14968 w 3866243"/>
              <a:gd name="connsiteY4" fmla="*/ 3429000 h 5157788"/>
              <a:gd name="connsiteX5" fmla="*/ 1707243 w 3866243"/>
              <a:gd name="connsiteY5" fmla="*/ 0 h 5157788"/>
              <a:gd name="connsiteX0" fmla="*/ 1130447 w 3866243"/>
              <a:gd name="connsiteY0" fmla="*/ 0 h 5157788"/>
              <a:gd name="connsiteX1" fmla="*/ 3866243 w 3866243"/>
              <a:gd name="connsiteY1" fmla="*/ 0 h 5157788"/>
              <a:gd name="connsiteX2" fmla="*/ 3866243 w 3866243"/>
              <a:gd name="connsiteY2" fmla="*/ 5157788 h 5157788"/>
              <a:gd name="connsiteX3" fmla="*/ 1707243 w 3866243"/>
              <a:gd name="connsiteY3" fmla="*/ 5157788 h 5157788"/>
              <a:gd name="connsiteX4" fmla="*/ 14968 w 3866243"/>
              <a:gd name="connsiteY4" fmla="*/ 3429000 h 5157788"/>
              <a:gd name="connsiteX5" fmla="*/ 1130447 w 3866243"/>
              <a:gd name="connsiteY5" fmla="*/ 0 h 5157788"/>
              <a:gd name="connsiteX0" fmla="*/ 2746143 w 5481939"/>
              <a:gd name="connsiteY0" fmla="*/ 0 h 5157788"/>
              <a:gd name="connsiteX1" fmla="*/ 5481939 w 5481939"/>
              <a:gd name="connsiteY1" fmla="*/ 0 h 5157788"/>
              <a:gd name="connsiteX2" fmla="*/ 5481939 w 5481939"/>
              <a:gd name="connsiteY2" fmla="*/ 5157788 h 5157788"/>
              <a:gd name="connsiteX3" fmla="*/ 585903 w 5481939"/>
              <a:gd name="connsiteY3" fmla="*/ 5153180 h 5157788"/>
              <a:gd name="connsiteX4" fmla="*/ 1630664 w 5481939"/>
              <a:gd name="connsiteY4" fmla="*/ 3429000 h 5157788"/>
              <a:gd name="connsiteX5" fmla="*/ 2746143 w 5481939"/>
              <a:gd name="connsiteY5" fmla="*/ 0 h 5157788"/>
              <a:gd name="connsiteX0" fmla="*/ 2746143 w 5481939"/>
              <a:gd name="connsiteY0" fmla="*/ 0 h 5157788"/>
              <a:gd name="connsiteX1" fmla="*/ 5481939 w 5481939"/>
              <a:gd name="connsiteY1" fmla="*/ 0 h 5157788"/>
              <a:gd name="connsiteX2" fmla="*/ 5481939 w 5481939"/>
              <a:gd name="connsiteY2" fmla="*/ 5157788 h 5157788"/>
              <a:gd name="connsiteX3" fmla="*/ 585903 w 5481939"/>
              <a:gd name="connsiteY3" fmla="*/ 5153180 h 5157788"/>
              <a:gd name="connsiteX4" fmla="*/ 1630664 w 5481939"/>
              <a:gd name="connsiteY4" fmla="*/ 3429000 h 5157788"/>
              <a:gd name="connsiteX5" fmla="*/ 2746143 w 548193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3574235 w 6310031"/>
              <a:gd name="connsiteY0" fmla="*/ 0 h 5157788"/>
              <a:gd name="connsiteX1" fmla="*/ 6310031 w 6310031"/>
              <a:gd name="connsiteY1" fmla="*/ 0 h 5157788"/>
              <a:gd name="connsiteX2" fmla="*/ 6310031 w 6310031"/>
              <a:gd name="connsiteY2" fmla="*/ 5157788 h 5157788"/>
              <a:gd name="connsiteX3" fmla="*/ 585903 w 6310031"/>
              <a:gd name="connsiteY3" fmla="*/ 5153180 h 5157788"/>
              <a:gd name="connsiteX4" fmla="*/ 1738031 w 6310031"/>
              <a:gd name="connsiteY4" fmla="*/ 3389965 h 5157788"/>
              <a:gd name="connsiteX5" fmla="*/ 3574235 w 6310031"/>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296143 w 5724128"/>
              <a:gd name="connsiteY4" fmla="*/ 3461908 h 5157788"/>
              <a:gd name="connsiteX5" fmla="*/ 2988332 w 5724128"/>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1188132 w 5760132"/>
              <a:gd name="connsiteY4" fmla="*/ 3425937 h 5157788"/>
              <a:gd name="connsiteX5" fmla="*/ 3024336 w 5760132"/>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2736304 w 5760132"/>
              <a:gd name="connsiteY4" fmla="*/ 3461908 h 5157788"/>
              <a:gd name="connsiteX5" fmla="*/ 3024336 w 5760132"/>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2736304 w 5760132"/>
              <a:gd name="connsiteY4" fmla="*/ 3461908 h 5157788"/>
              <a:gd name="connsiteX5" fmla="*/ 3024336 w 5760132"/>
              <a:gd name="connsiteY5" fmla="*/ 0 h 5157788"/>
              <a:gd name="connsiteX0" fmla="*/ 2160240 w 4896036"/>
              <a:gd name="connsiteY0" fmla="*/ 0 h 5157788"/>
              <a:gd name="connsiteX1" fmla="*/ 4896036 w 4896036"/>
              <a:gd name="connsiteY1" fmla="*/ 0 h 5157788"/>
              <a:gd name="connsiteX2" fmla="*/ 4896036 w 4896036"/>
              <a:gd name="connsiteY2" fmla="*/ 5157788 h 5157788"/>
              <a:gd name="connsiteX3" fmla="*/ 0 w 4896036"/>
              <a:gd name="connsiteY3" fmla="*/ 5153180 h 5157788"/>
              <a:gd name="connsiteX4" fmla="*/ 1872208 w 4896036"/>
              <a:gd name="connsiteY4" fmla="*/ 3461908 h 5157788"/>
              <a:gd name="connsiteX5" fmla="*/ 2160240 w 4896036"/>
              <a:gd name="connsiteY5" fmla="*/ 0 h 5157788"/>
              <a:gd name="connsiteX0" fmla="*/ 2232248 w 4968044"/>
              <a:gd name="connsiteY0" fmla="*/ 0 h 5157788"/>
              <a:gd name="connsiteX1" fmla="*/ 4968044 w 4968044"/>
              <a:gd name="connsiteY1" fmla="*/ 0 h 5157788"/>
              <a:gd name="connsiteX2" fmla="*/ 4968044 w 4968044"/>
              <a:gd name="connsiteY2" fmla="*/ 5157788 h 5157788"/>
              <a:gd name="connsiteX3" fmla="*/ 0 w 4968044"/>
              <a:gd name="connsiteY3" fmla="*/ 5153180 h 5157788"/>
              <a:gd name="connsiteX4" fmla="*/ 1944216 w 4968044"/>
              <a:gd name="connsiteY4" fmla="*/ 3461908 h 5157788"/>
              <a:gd name="connsiteX5" fmla="*/ 2232248 w 4968044"/>
              <a:gd name="connsiteY5" fmla="*/ 0 h 5157788"/>
              <a:gd name="connsiteX0" fmla="*/ 2207679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207679 w 4943475"/>
              <a:gd name="connsiteY5" fmla="*/ 0 h 5157788"/>
              <a:gd name="connsiteX0" fmla="*/ 2963763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963763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092200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71575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343583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675731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675731 w 4943475"/>
              <a:gd name="connsiteY5" fmla="*/ 0 h 5157788"/>
              <a:gd name="connsiteX0" fmla="*/ 2675731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675731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9672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19672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51412" h="5157788">
                <a:moveTo>
                  <a:pt x="2706687" y="0"/>
                </a:moveTo>
                <a:lnTo>
                  <a:pt x="4951412" y="0"/>
                </a:lnTo>
                <a:lnTo>
                  <a:pt x="4951412" y="5157788"/>
                </a:lnTo>
                <a:lnTo>
                  <a:pt x="0" y="5153180"/>
                </a:lnTo>
                <a:cubicBezTo>
                  <a:pt x="84411" y="4542509"/>
                  <a:pt x="183041" y="4024723"/>
                  <a:pt x="1243508" y="2562613"/>
                </a:cubicBezTo>
                <a:cubicBezTo>
                  <a:pt x="1867447" y="1704780"/>
                  <a:pt x="2665955" y="709265"/>
                  <a:pt x="2706687" y="0"/>
                </a:cubicBezTo>
                <a:close/>
              </a:path>
            </a:pathLst>
          </a:custGeom>
          <a:solidFill>
            <a:schemeClr val="bg2"/>
          </a:solidFill>
          <a:ln w="3175">
            <a:noFill/>
          </a:ln>
        </p:spPr>
        <p:txBody>
          <a:bodyPr tIns="720000" rtlCol="0" anchor="ctr">
            <a:noAutofit/>
          </a:bodyPr>
          <a:lstStyle>
            <a:lvl1pPr algn="ctr">
              <a:defRPr sz="1500">
                <a:solidFill>
                  <a:schemeClr val="bg1"/>
                </a:solidFill>
              </a:defRPr>
            </a:lvl1pPr>
          </a:lstStyle>
          <a:p>
            <a:pPr lvl="0"/>
            <a:r>
              <a:rPr lang="en-US" noProof="0"/>
              <a:t>Click icon to add picture</a:t>
            </a:r>
          </a:p>
        </p:txBody>
      </p:sp>
      <p:sp>
        <p:nvSpPr>
          <p:cNvPr id="14" name="Espace réservé de la date 9"/>
          <p:cNvSpPr>
            <a:spLocks noGrp="1"/>
          </p:cNvSpPr>
          <p:nvPr>
            <p:ph type="dt" sz="half" idx="21"/>
          </p:nvPr>
        </p:nvSpPr>
        <p:spPr/>
        <p:txBody>
          <a:bodyPr/>
          <a:lstStyle>
            <a:lvl1pPr>
              <a:defRPr/>
            </a:lvl1pPr>
          </a:lstStyle>
          <a:p>
            <a:pPr>
              <a:defRPr/>
            </a:pPr>
            <a:r>
              <a:rPr lang="en-US">
                <a:solidFill>
                  <a:prstClr val="white">
                    <a:alpha val="0"/>
                  </a:prstClr>
                </a:solidFill>
              </a:rPr>
              <a:t>Date</a:t>
            </a:r>
          </a:p>
        </p:txBody>
      </p:sp>
      <p:sp>
        <p:nvSpPr>
          <p:cNvPr id="16" name="Espace réservé du numéro de diapositive 10"/>
          <p:cNvSpPr>
            <a:spLocks noGrp="1"/>
          </p:cNvSpPr>
          <p:nvPr>
            <p:ph type="sldNum" sz="quarter" idx="22"/>
          </p:nvPr>
        </p:nvSpPr>
        <p:spPr/>
        <p:txBody>
          <a:bodyPr/>
          <a:lstStyle>
            <a:lvl1pPr>
              <a:defRPr sz="100">
                <a:solidFill>
                  <a:schemeClr val="bg1">
                    <a:alpha val="0"/>
                  </a:schemeClr>
                </a:solidFill>
              </a:defRPr>
            </a:lvl1pPr>
          </a:lstStyle>
          <a:p>
            <a:pPr>
              <a:defRPr/>
            </a:pPr>
            <a:r>
              <a:rPr lang="en-US">
                <a:solidFill>
                  <a:prstClr val="white">
                    <a:alpha val="0"/>
                  </a:prstClr>
                </a:solidFill>
              </a:rPr>
              <a:t>Page: </a:t>
            </a:r>
            <a:fld id="{A170035D-6B8C-439A-85EA-19B5ADE5A975}" type="slidenum">
              <a:rPr lang="en-US">
                <a:solidFill>
                  <a:prstClr val="white">
                    <a:alpha val="0"/>
                  </a:prstClr>
                </a:solidFill>
              </a:rPr>
              <a:pPr>
                <a:defRPr/>
              </a:pPr>
              <a:t>‹#›</a:t>
            </a:fld>
            <a:endParaRPr lang="en-US">
              <a:solidFill>
                <a:prstClr val="white">
                  <a:alpha val="0"/>
                </a:prstClr>
              </a:solidFill>
            </a:endParaRPr>
          </a:p>
        </p:txBody>
      </p:sp>
      <p:sp>
        <p:nvSpPr>
          <p:cNvPr id="19" name="Espace réservé du pied de page 11"/>
          <p:cNvSpPr>
            <a:spLocks noGrp="1"/>
          </p:cNvSpPr>
          <p:nvPr>
            <p:ph type="ftr" sz="quarter" idx="23"/>
          </p:nvPr>
        </p:nvSpPr>
        <p:spPr>
          <a:xfrm>
            <a:off x="468313" y="523875"/>
            <a:ext cx="4824412" cy="360363"/>
          </a:xfrm>
        </p:spPr>
        <p:txBody>
          <a:bodyPr/>
          <a:lstStyle>
            <a:lvl1pPr algn="l">
              <a:defRPr sz="1800" b="0">
                <a:solidFill>
                  <a:schemeClr val="bg1"/>
                </a:solidFill>
              </a:defRPr>
            </a:lvl1pPr>
          </a:lstStyle>
          <a:p>
            <a:pPr>
              <a:defRPr/>
            </a:pPr>
            <a:r>
              <a:rPr lang="en-US">
                <a:solidFill>
                  <a:prstClr val="white"/>
                </a:solidFill>
              </a:rPr>
              <a:t>#</a:t>
            </a:r>
            <a:r>
              <a:rPr lang="en-US" err="1">
                <a:solidFill>
                  <a:prstClr val="white"/>
                </a:solidFill>
              </a:rPr>
              <a:t>vaccineswork</a:t>
            </a:r>
            <a:endParaRPr lang="en-US">
              <a:solidFill>
                <a:prstClr val="white"/>
              </a:solidFill>
            </a:endParaRPr>
          </a:p>
        </p:txBody>
      </p:sp>
    </p:spTree>
    <p:extLst>
      <p:ext uri="{BB962C8B-B14F-4D97-AF65-F5344CB8AC3E}">
        <p14:creationId xmlns:p14="http://schemas.microsoft.com/office/powerpoint/2010/main" val="1740952821"/>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Chapter_Layout">
    <p:spTree>
      <p:nvGrpSpPr>
        <p:cNvPr id="1" name=""/>
        <p:cNvGrpSpPr/>
        <p:nvPr/>
      </p:nvGrpSpPr>
      <p:grpSpPr>
        <a:xfrm>
          <a:off x="0" y="0"/>
          <a:ext cx="0" cy="0"/>
          <a:chOff x="0" y="0"/>
          <a:chExt cx="0" cy="0"/>
        </a:xfrm>
      </p:grpSpPr>
      <p:pic>
        <p:nvPicPr>
          <p:cNvPr id="6" name="Image 17" descr="FD_03_chap_110x190,5.pn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gray">
          <a:xfrm>
            <a:off x="0" y="0"/>
            <a:ext cx="3959225" cy="68580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cxnSp>
        <p:nvCxnSpPr>
          <p:cNvPr id="7" name="Connecteur droit 14"/>
          <p:cNvCxnSpPr/>
          <p:nvPr userDrawn="1"/>
        </p:nvCxnSpPr>
        <p:spPr bwMode="gray">
          <a:xfrm flipH="1">
            <a:off x="3635375" y="2389188"/>
            <a:ext cx="1584325" cy="0"/>
          </a:xfrm>
          <a:prstGeom prst="line">
            <a:avLst/>
          </a:prstGeom>
          <a:ln w="24130">
            <a:solidFill>
              <a:schemeClr val="accent1"/>
            </a:solidFill>
          </a:ln>
        </p:spPr>
        <p:style>
          <a:lnRef idx="1">
            <a:schemeClr val="accent1"/>
          </a:lnRef>
          <a:fillRef idx="0">
            <a:schemeClr val="accent1"/>
          </a:fillRef>
          <a:effectRef idx="0">
            <a:schemeClr val="accent1"/>
          </a:effectRef>
          <a:fontRef idx="minor">
            <a:schemeClr val="tx1"/>
          </a:fontRef>
        </p:style>
      </p:cxnSp>
      <p:sp>
        <p:nvSpPr>
          <p:cNvPr id="2" name="Titre 1"/>
          <p:cNvSpPr>
            <a:spLocks noGrp="1"/>
          </p:cNvSpPr>
          <p:nvPr>
            <p:ph type="title"/>
          </p:nvPr>
        </p:nvSpPr>
        <p:spPr bwMode="gray">
          <a:xfrm>
            <a:off x="3635374" y="1036638"/>
            <a:ext cx="3263901" cy="1268759"/>
          </a:xfrm>
        </p:spPr>
        <p:txBody>
          <a:bodyPr/>
          <a:lstStyle/>
          <a:p>
            <a:r>
              <a:rPr lang="en-US" noProof="0"/>
              <a:t>Click to edit Master title style</a:t>
            </a:r>
          </a:p>
        </p:txBody>
      </p:sp>
      <p:sp>
        <p:nvSpPr>
          <p:cNvPr id="10" name="Espace réservé du texte 9"/>
          <p:cNvSpPr>
            <a:spLocks noGrp="1"/>
          </p:cNvSpPr>
          <p:nvPr>
            <p:ph type="body" sz="quarter" idx="13"/>
          </p:nvPr>
        </p:nvSpPr>
        <p:spPr bwMode="gray">
          <a:xfrm>
            <a:off x="3635376" y="2574000"/>
            <a:ext cx="3263900" cy="3447388"/>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Espace réservé du texte 9"/>
          <p:cNvSpPr>
            <a:spLocks noGrp="1"/>
          </p:cNvSpPr>
          <p:nvPr>
            <p:ph type="body" sz="quarter" idx="14"/>
          </p:nvPr>
        </p:nvSpPr>
        <p:spPr bwMode="gray">
          <a:xfrm>
            <a:off x="0" y="139974"/>
            <a:ext cx="2628000" cy="5017814"/>
          </a:xfrm>
        </p:spPr>
        <p:txBody>
          <a:bodyPr/>
          <a:lstStyle>
            <a:lvl1pPr algn="r">
              <a:defRPr sz="16600" b="1">
                <a:solidFill>
                  <a:schemeClr val="bg1"/>
                </a:solidFill>
              </a:defRPr>
            </a:lvl1pPr>
          </a:lstStyle>
          <a:p>
            <a:pPr lvl="0"/>
            <a:r>
              <a:rPr lang="en-US" noProof="0"/>
              <a:t>Click to edit Master text styles</a:t>
            </a:r>
          </a:p>
        </p:txBody>
      </p:sp>
      <p:sp>
        <p:nvSpPr>
          <p:cNvPr id="19" name="Espace réservé pour une image  17"/>
          <p:cNvSpPr>
            <a:spLocks noGrp="1"/>
          </p:cNvSpPr>
          <p:nvPr>
            <p:ph type="pic" sz="quarter" idx="18"/>
          </p:nvPr>
        </p:nvSpPr>
        <p:spPr bwMode="gray">
          <a:xfrm>
            <a:off x="7254332" y="132082"/>
            <a:ext cx="1899827" cy="5812641"/>
          </a:xfrm>
          <a:custGeom>
            <a:avLst/>
            <a:gdLst>
              <a:gd name="connsiteX0" fmla="*/ 0 w 3851275"/>
              <a:gd name="connsiteY0" fmla="*/ 0 h 5157788"/>
              <a:gd name="connsiteX1" fmla="*/ 3851275 w 3851275"/>
              <a:gd name="connsiteY1" fmla="*/ 0 h 5157788"/>
              <a:gd name="connsiteX2" fmla="*/ 3851275 w 3851275"/>
              <a:gd name="connsiteY2" fmla="*/ 5157788 h 5157788"/>
              <a:gd name="connsiteX3" fmla="*/ 0 w 3851275"/>
              <a:gd name="connsiteY3" fmla="*/ 5157788 h 5157788"/>
              <a:gd name="connsiteX4" fmla="*/ 0 w 3851275"/>
              <a:gd name="connsiteY4"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0 w 3851275"/>
              <a:gd name="connsiteY3" fmla="*/ 5157788 h 5157788"/>
              <a:gd name="connsiteX4" fmla="*/ 1692275 w 3851275"/>
              <a:gd name="connsiteY4" fmla="*/ 0 h 5157788"/>
              <a:gd name="connsiteX0" fmla="*/ 0 w 2159000"/>
              <a:gd name="connsiteY0" fmla="*/ 0 h 5157788"/>
              <a:gd name="connsiteX1" fmla="*/ 2159000 w 2159000"/>
              <a:gd name="connsiteY1" fmla="*/ 0 h 5157788"/>
              <a:gd name="connsiteX2" fmla="*/ 2159000 w 2159000"/>
              <a:gd name="connsiteY2" fmla="*/ 5157788 h 5157788"/>
              <a:gd name="connsiteX3" fmla="*/ 0 w 2159000"/>
              <a:gd name="connsiteY3" fmla="*/ 5157788 h 5157788"/>
              <a:gd name="connsiteX4" fmla="*/ 0 w 2159000"/>
              <a:gd name="connsiteY4" fmla="*/ 0 h 5157788"/>
              <a:gd name="connsiteX0" fmla="*/ 2625271 w 4784271"/>
              <a:gd name="connsiteY0" fmla="*/ 0 h 5157788"/>
              <a:gd name="connsiteX1" fmla="*/ 4784271 w 4784271"/>
              <a:gd name="connsiteY1" fmla="*/ 0 h 5157788"/>
              <a:gd name="connsiteX2" fmla="*/ 4784271 w 4784271"/>
              <a:gd name="connsiteY2" fmla="*/ 5157788 h 5157788"/>
              <a:gd name="connsiteX3" fmla="*/ 2625271 w 4784271"/>
              <a:gd name="connsiteY3" fmla="*/ 5157788 h 5157788"/>
              <a:gd name="connsiteX4" fmla="*/ 2625271 w 4784271"/>
              <a:gd name="connsiteY4" fmla="*/ 0 h 5157788"/>
              <a:gd name="connsiteX0" fmla="*/ 2625271 w 4784271"/>
              <a:gd name="connsiteY0" fmla="*/ 0 h 5157788"/>
              <a:gd name="connsiteX1" fmla="*/ 4784271 w 4784271"/>
              <a:gd name="connsiteY1" fmla="*/ 0 h 5157788"/>
              <a:gd name="connsiteX2" fmla="*/ 4784271 w 4784271"/>
              <a:gd name="connsiteY2" fmla="*/ 5157788 h 5157788"/>
              <a:gd name="connsiteX3" fmla="*/ 2625271 w 4784271"/>
              <a:gd name="connsiteY3" fmla="*/ 5157788 h 5157788"/>
              <a:gd name="connsiteX4" fmla="*/ 2625271 w 4784271"/>
              <a:gd name="connsiteY4" fmla="*/ 0 h 5157788"/>
              <a:gd name="connsiteX0" fmla="*/ 3568576 w 5727576"/>
              <a:gd name="connsiteY0" fmla="*/ 0 h 5157788"/>
              <a:gd name="connsiteX1" fmla="*/ 5727576 w 5727576"/>
              <a:gd name="connsiteY1" fmla="*/ 0 h 5157788"/>
              <a:gd name="connsiteX2" fmla="*/ 5727576 w 5727576"/>
              <a:gd name="connsiteY2" fmla="*/ 5157788 h 5157788"/>
              <a:gd name="connsiteX3" fmla="*/ 3568576 w 5727576"/>
              <a:gd name="connsiteY3" fmla="*/ 5157788 h 5157788"/>
              <a:gd name="connsiteX4" fmla="*/ 3568576 w 5727576"/>
              <a:gd name="connsiteY4" fmla="*/ 0 h 5157788"/>
              <a:gd name="connsiteX0" fmla="*/ 3306355 w 5465355"/>
              <a:gd name="connsiteY0" fmla="*/ 0 h 5157788"/>
              <a:gd name="connsiteX1" fmla="*/ 5465355 w 5465355"/>
              <a:gd name="connsiteY1" fmla="*/ 0 h 5157788"/>
              <a:gd name="connsiteX2" fmla="*/ 5465355 w 5465355"/>
              <a:gd name="connsiteY2" fmla="*/ 5157788 h 5157788"/>
              <a:gd name="connsiteX3" fmla="*/ 3306355 w 5465355"/>
              <a:gd name="connsiteY3" fmla="*/ 5157788 h 5157788"/>
              <a:gd name="connsiteX4" fmla="*/ 3306355 w 5465355"/>
              <a:gd name="connsiteY4" fmla="*/ 0 h 5157788"/>
              <a:gd name="connsiteX0" fmla="*/ 1416957 w 3575957"/>
              <a:gd name="connsiteY0" fmla="*/ 0 h 5157788"/>
              <a:gd name="connsiteX1" fmla="*/ 3575957 w 3575957"/>
              <a:gd name="connsiteY1" fmla="*/ 0 h 5157788"/>
              <a:gd name="connsiteX2" fmla="*/ 3575957 w 3575957"/>
              <a:gd name="connsiteY2" fmla="*/ 5157788 h 5157788"/>
              <a:gd name="connsiteX3" fmla="*/ 1416957 w 3575957"/>
              <a:gd name="connsiteY3" fmla="*/ 5157788 h 5157788"/>
              <a:gd name="connsiteX4" fmla="*/ 0 w 3575957"/>
              <a:gd name="connsiteY4" fmla="*/ 3339193 h 5157788"/>
              <a:gd name="connsiteX5" fmla="*/ 1416957 w 3575957"/>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6017419"/>
              <a:gd name="connsiteX1" fmla="*/ 3851275 w 3851275"/>
              <a:gd name="connsiteY1" fmla="*/ 0 h 6017419"/>
              <a:gd name="connsiteX2" fmla="*/ 3851275 w 3851275"/>
              <a:gd name="connsiteY2" fmla="*/ 5157788 h 6017419"/>
              <a:gd name="connsiteX3" fmla="*/ 1692275 w 3851275"/>
              <a:gd name="connsiteY3" fmla="*/ 5157788 h 6017419"/>
              <a:gd name="connsiteX4" fmla="*/ 0 w 3851275"/>
              <a:gd name="connsiteY4" fmla="*/ 3284984 h 6017419"/>
              <a:gd name="connsiteX5" fmla="*/ 1692275 w 3851275"/>
              <a:gd name="connsiteY5" fmla="*/ 0 h 6017419"/>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429000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429000 h 5157788"/>
              <a:gd name="connsiteX5" fmla="*/ 1710871 w 3869871"/>
              <a:gd name="connsiteY5" fmla="*/ 0 h 5157788"/>
              <a:gd name="connsiteX0" fmla="*/ 1704975 w 3863975"/>
              <a:gd name="connsiteY0" fmla="*/ 0 h 5157788"/>
              <a:gd name="connsiteX1" fmla="*/ 3863975 w 3863975"/>
              <a:gd name="connsiteY1" fmla="*/ 0 h 5157788"/>
              <a:gd name="connsiteX2" fmla="*/ 3863975 w 3863975"/>
              <a:gd name="connsiteY2" fmla="*/ 5157788 h 5157788"/>
              <a:gd name="connsiteX3" fmla="*/ 1704975 w 3863975"/>
              <a:gd name="connsiteY3" fmla="*/ 5157788 h 5157788"/>
              <a:gd name="connsiteX4" fmla="*/ 12700 w 3863975"/>
              <a:gd name="connsiteY4" fmla="*/ 3429000 h 5157788"/>
              <a:gd name="connsiteX5" fmla="*/ 1704975 w 3863975"/>
              <a:gd name="connsiteY5" fmla="*/ 0 h 5157788"/>
              <a:gd name="connsiteX0" fmla="*/ 1707243 w 3866243"/>
              <a:gd name="connsiteY0" fmla="*/ 0 h 5157788"/>
              <a:gd name="connsiteX1" fmla="*/ 3866243 w 3866243"/>
              <a:gd name="connsiteY1" fmla="*/ 0 h 5157788"/>
              <a:gd name="connsiteX2" fmla="*/ 3866243 w 3866243"/>
              <a:gd name="connsiteY2" fmla="*/ 5157788 h 5157788"/>
              <a:gd name="connsiteX3" fmla="*/ 1707243 w 3866243"/>
              <a:gd name="connsiteY3" fmla="*/ 5157788 h 5157788"/>
              <a:gd name="connsiteX4" fmla="*/ 14968 w 3866243"/>
              <a:gd name="connsiteY4" fmla="*/ 3429000 h 5157788"/>
              <a:gd name="connsiteX5" fmla="*/ 1707243 w 3866243"/>
              <a:gd name="connsiteY5" fmla="*/ 0 h 5157788"/>
              <a:gd name="connsiteX0" fmla="*/ 1130447 w 3866243"/>
              <a:gd name="connsiteY0" fmla="*/ 0 h 5157788"/>
              <a:gd name="connsiteX1" fmla="*/ 3866243 w 3866243"/>
              <a:gd name="connsiteY1" fmla="*/ 0 h 5157788"/>
              <a:gd name="connsiteX2" fmla="*/ 3866243 w 3866243"/>
              <a:gd name="connsiteY2" fmla="*/ 5157788 h 5157788"/>
              <a:gd name="connsiteX3" fmla="*/ 1707243 w 3866243"/>
              <a:gd name="connsiteY3" fmla="*/ 5157788 h 5157788"/>
              <a:gd name="connsiteX4" fmla="*/ 14968 w 3866243"/>
              <a:gd name="connsiteY4" fmla="*/ 3429000 h 5157788"/>
              <a:gd name="connsiteX5" fmla="*/ 1130447 w 3866243"/>
              <a:gd name="connsiteY5" fmla="*/ 0 h 5157788"/>
              <a:gd name="connsiteX0" fmla="*/ 2746143 w 5481939"/>
              <a:gd name="connsiteY0" fmla="*/ 0 h 5157788"/>
              <a:gd name="connsiteX1" fmla="*/ 5481939 w 5481939"/>
              <a:gd name="connsiteY1" fmla="*/ 0 h 5157788"/>
              <a:gd name="connsiteX2" fmla="*/ 5481939 w 5481939"/>
              <a:gd name="connsiteY2" fmla="*/ 5157788 h 5157788"/>
              <a:gd name="connsiteX3" fmla="*/ 585903 w 5481939"/>
              <a:gd name="connsiteY3" fmla="*/ 5153180 h 5157788"/>
              <a:gd name="connsiteX4" fmla="*/ 1630664 w 5481939"/>
              <a:gd name="connsiteY4" fmla="*/ 3429000 h 5157788"/>
              <a:gd name="connsiteX5" fmla="*/ 2746143 w 5481939"/>
              <a:gd name="connsiteY5" fmla="*/ 0 h 5157788"/>
              <a:gd name="connsiteX0" fmla="*/ 2746143 w 5481939"/>
              <a:gd name="connsiteY0" fmla="*/ 0 h 5157788"/>
              <a:gd name="connsiteX1" fmla="*/ 5481939 w 5481939"/>
              <a:gd name="connsiteY1" fmla="*/ 0 h 5157788"/>
              <a:gd name="connsiteX2" fmla="*/ 5481939 w 5481939"/>
              <a:gd name="connsiteY2" fmla="*/ 5157788 h 5157788"/>
              <a:gd name="connsiteX3" fmla="*/ 585903 w 5481939"/>
              <a:gd name="connsiteY3" fmla="*/ 5153180 h 5157788"/>
              <a:gd name="connsiteX4" fmla="*/ 1630664 w 5481939"/>
              <a:gd name="connsiteY4" fmla="*/ 3429000 h 5157788"/>
              <a:gd name="connsiteX5" fmla="*/ 2746143 w 548193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3574235 w 6310031"/>
              <a:gd name="connsiteY0" fmla="*/ 0 h 5157788"/>
              <a:gd name="connsiteX1" fmla="*/ 6310031 w 6310031"/>
              <a:gd name="connsiteY1" fmla="*/ 0 h 5157788"/>
              <a:gd name="connsiteX2" fmla="*/ 6310031 w 6310031"/>
              <a:gd name="connsiteY2" fmla="*/ 5157788 h 5157788"/>
              <a:gd name="connsiteX3" fmla="*/ 585903 w 6310031"/>
              <a:gd name="connsiteY3" fmla="*/ 5153180 h 5157788"/>
              <a:gd name="connsiteX4" fmla="*/ 1738031 w 6310031"/>
              <a:gd name="connsiteY4" fmla="*/ 3389965 h 5157788"/>
              <a:gd name="connsiteX5" fmla="*/ 3574235 w 6310031"/>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296143 w 5724128"/>
              <a:gd name="connsiteY4" fmla="*/ 3461908 h 5157788"/>
              <a:gd name="connsiteX5" fmla="*/ 2988332 w 5724128"/>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1188132 w 5760132"/>
              <a:gd name="connsiteY4" fmla="*/ 3425937 h 5157788"/>
              <a:gd name="connsiteX5" fmla="*/ 3024336 w 5760132"/>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2736304 w 5760132"/>
              <a:gd name="connsiteY4" fmla="*/ 3461908 h 5157788"/>
              <a:gd name="connsiteX5" fmla="*/ 3024336 w 5760132"/>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2736304 w 5760132"/>
              <a:gd name="connsiteY4" fmla="*/ 3461908 h 5157788"/>
              <a:gd name="connsiteX5" fmla="*/ 3024336 w 5760132"/>
              <a:gd name="connsiteY5" fmla="*/ 0 h 5157788"/>
              <a:gd name="connsiteX0" fmla="*/ 2160240 w 4896036"/>
              <a:gd name="connsiteY0" fmla="*/ 0 h 5157788"/>
              <a:gd name="connsiteX1" fmla="*/ 4896036 w 4896036"/>
              <a:gd name="connsiteY1" fmla="*/ 0 h 5157788"/>
              <a:gd name="connsiteX2" fmla="*/ 4896036 w 4896036"/>
              <a:gd name="connsiteY2" fmla="*/ 5157788 h 5157788"/>
              <a:gd name="connsiteX3" fmla="*/ 0 w 4896036"/>
              <a:gd name="connsiteY3" fmla="*/ 5153180 h 5157788"/>
              <a:gd name="connsiteX4" fmla="*/ 1872208 w 4896036"/>
              <a:gd name="connsiteY4" fmla="*/ 3461908 h 5157788"/>
              <a:gd name="connsiteX5" fmla="*/ 2160240 w 4896036"/>
              <a:gd name="connsiteY5" fmla="*/ 0 h 5157788"/>
              <a:gd name="connsiteX0" fmla="*/ 2232248 w 4968044"/>
              <a:gd name="connsiteY0" fmla="*/ 0 h 5157788"/>
              <a:gd name="connsiteX1" fmla="*/ 4968044 w 4968044"/>
              <a:gd name="connsiteY1" fmla="*/ 0 h 5157788"/>
              <a:gd name="connsiteX2" fmla="*/ 4968044 w 4968044"/>
              <a:gd name="connsiteY2" fmla="*/ 5157788 h 5157788"/>
              <a:gd name="connsiteX3" fmla="*/ 0 w 4968044"/>
              <a:gd name="connsiteY3" fmla="*/ 5153180 h 5157788"/>
              <a:gd name="connsiteX4" fmla="*/ 1944216 w 4968044"/>
              <a:gd name="connsiteY4" fmla="*/ 3461908 h 5157788"/>
              <a:gd name="connsiteX5" fmla="*/ 2232248 w 4968044"/>
              <a:gd name="connsiteY5" fmla="*/ 0 h 5157788"/>
              <a:gd name="connsiteX0" fmla="*/ 2207679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207679 w 4943475"/>
              <a:gd name="connsiteY5" fmla="*/ 0 h 5157788"/>
              <a:gd name="connsiteX0" fmla="*/ 2963763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963763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092200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71575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343583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675731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675731 w 4943475"/>
              <a:gd name="connsiteY5" fmla="*/ 0 h 5157788"/>
              <a:gd name="connsiteX0" fmla="*/ 2675731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675731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9672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19672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1668519 w 3913244"/>
              <a:gd name="connsiteY0" fmla="*/ 0 h 5183692"/>
              <a:gd name="connsiteX1" fmla="*/ 3913244 w 3913244"/>
              <a:gd name="connsiteY1" fmla="*/ 0 h 5183692"/>
              <a:gd name="connsiteX2" fmla="*/ 3913244 w 3913244"/>
              <a:gd name="connsiteY2" fmla="*/ 5157788 h 5183692"/>
              <a:gd name="connsiteX3" fmla="*/ 2456872 w 3913244"/>
              <a:gd name="connsiteY3" fmla="*/ 5183633 h 5183692"/>
              <a:gd name="connsiteX4" fmla="*/ 205340 w 3913244"/>
              <a:gd name="connsiteY4" fmla="*/ 2562613 h 5183692"/>
              <a:gd name="connsiteX5" fmla="*/ 1668519 w 3913244"/>
              <a:gd name="connsiteY5" fmla="*/ 0 h 5183692"/>
              <a:gd name="connsiteX0" fmla="*/ 1668519 w 3923404"/>
              <a:gd name="connsiteY0" fmla="*/ 0 h 5939409"/>
              <a:gd name="connsiteX1" fmla="*/ 3913244 w 3923404"/>
              <a:gd name="connsiteY1" fmla="*/ 0 h 5939409"/>
              <a:gd name="connsiteX2" fmla="*/ 3923404 w 3923404"/>
              <a:gd name="connsiteY2" fmla="*/ 5939409 h 5939409"/>
              <a:gd name="connsiteX3" fmla="*/ 2456872 w 3923404"/>
              <a:gd name="connsiteY3" fmla="*/ 5183633 h 5939409"/>
              <a:gd name="connsiteX4" fmla="*/ 205340 w 3923404"/>
              <a:gd name="connsiteY4" fmla="*/ 2562613 h 5939409"/>
              <a:gd name="connsiteX5" fmla="*/ 1668519 w 3923404"/>
              <a:gd name="connsiteY5" fmla="*/ 0 h 5939409"/>
              <a:gd name="connsiteX0" fmla="*/ 1668519 w 3923404"/>
              <a:gd name="connsiteY0" fmla="*/ 0 h 5939409"/>
              <a:gd name="connsiteX1" fmla="*/ 3913244 w 3923404"/>
              <a:gd name="connsiteY1" fmla="*/ 0 h 5939409"/>
              <a:gd name="connsiteX2" fmla="*/ 3923404 w 3923404"/>
              <a:gd name="connsiteY2" fmla="*/ 5939409 h 5939409"/>
              <a:gd name="connsiteX3" fmla="*/ 2456872 w 3923404"/>
              <a:gd name="connsiteY3" fmla="*/ 5183633 h 5939409"/>
              <a:gd name="connsiteX4" fmla="*/ 205340 w 3923404"/>
              <a:gd name="connsiteY4" fmla="*/ 2562613 h 5939409"/>
              <a:gd name="connsiteX5" fmla="*/ 1668519 w 3923404"/>
              <a:gd name="connsiteY5" fmla="*/ 0 h 5939409"/>
              <a:gd name="connsiteX0" fmla="*/ 1696047 w 3950932"/>
              <a:gd name="connsiteY0" fmla="*/ 0 h 5939409"/>
              <a:gd name="connsiteX1" fmla="*/ 3940772 w 3950932"/>
              <a:gd name="connsiteY1" fmla="*/ 0 h 5939409"/>
              <a:gd name="connsiteX2" fmla="*/ 3950932 w 3950932"/>
              <a:gd name="connsiteY2" fmla="*/ 5939409 h 5939409"/>
              <a:gd name="connsiteX3" fmla="*/ 2484400 w 3950932"/>
              <a:gd name="connsiteY3" fmla="*/ 5183633 h 5939409"/>
              <a:gd name="connsiteX4" fmla="*/ 232868 w 3950932"/>
              <a:gd name="connsiteY4" fmla="*/ 2562613 h 5939409"/>
              <a:gd name="connsiteX5" fmla="*/ 1696047 w 3950932"/>
              <a:gd name="connsiteY5" fmla="*/ 0 h 5939409"/>
              <a:gd name="connsiteX0" fmla="*/ 1463179 w 3718064"/>
              <a:gd name="connsiteY0" fmla="*/ 0 h 5983194"/>
              <a:gd name="connsiteX1" fmla="*/ 3707904 w 3718064"/>
              <a:gd name="connsiteY1" fmla="*/ 0 h 5983194"/>
              <a:gd name="connsiteX2" fmla="*/ 3718064 w 3718064"/>
              <a:gd name="connsiteY2" fmla="*/ 5939409 h 5983194"/>
              <a:gd name="connsiteX3" fmla="*/ 0 w 3718064"/>
              <a:gd name="connsiteY3" fmla="*/ 2562613 h 5983194"/>
              <a:gd name="connsiteX4" fmla="*/ 1463179 w 3718064"/>
              <a:gd name="connsiteY4" fmla="*/ 0 h 5983194"/>
              <a:gd name="connsiteX0" fmla="*/ 1464005 w 3718890"/>
              <a:gd name="connsiteY0" fmla="*/ 0 h 5987401"/>
              <a:gd name="connsiteX1" fmla="*/ 3708730 w 3718890"/>
              <a:gd name="connsiteY1" fmla="*/ 0 h 5987401"/>
              <a:gd name="connsiteX2" fmla="*/ 3718890 w 3718890"/>
              <a:gd name="connsiteY2" fmla="*/ 5939409 h 5987401"/>
              <a:gd name="connsiteX3" fmla="*/ 826 w 3718890"/>
              <a:gd name="connsiteY3" fmla="*/ 2562613 h 5987401"/>
              <a:gd name="connsiteX4" fmla="*/ 1464005 w 3718890"/>
              <a:gd name="connsiteY4" fmla="*/ 0 h 5987401"/>
              <a:gd name="connsiteX0" fmla="*/ 1267 w 2256152"/>
              <a:gd name="connsiteY0" fmla="*/ 0 h 6002954"/>
              <a:gd name="connsiteX1" fmla="*/ 2245992 w 2256152"/>
              <a:gd name="connsiteY1" fmla="*/ 0 h 6002954"/>
              <a:gd name="connsiteX2" fmla="*/ 2256152 w 2256152"/>
              <a:gd name="connsiteY2" fmla="*/ 5939409 h 6002954"/>
              <a:gd name="connsiteX3" fmla="*/ 956168 w 2256152"/>
              <a:gd name="connsiteY3" fmla="*/ 3273178 h 6002954"/>
              <a:gd name="connsiteX4" fmla="*/ 1267 w 2256152"/>
              <a:gd name="connsiteY4" fmla="*/ 0 h 6002954"/>
              <a:gd name="connsiteX0" fmla="*/ 2 w 1299986"/>
              <a:gd name="connsiteY0" fmla="*/ 3321709 h 6044422"/>
              <a:gd name="connsiteX1" fmla="*/ 1289826 w 1299986"/>
              <a:gd name="connsiteY1" fmla="*/ 48531 h 6044422"/>
              <a:gd name="connsiteX2" fmla="*/ 1299986 w 1299986"/>
              <a:gd name="connsiteY2" fmla="*/ 5987940 h 6044422"/>
              <a:gd name="connsiteX3" fmla="*/ 2 w 1299986"/>
              <a:gd name="connsiteY3" fmla="*/ 3321709 h 6044422"/>
              <a:gd name="connsiteX0" fmla="*/ 2 w 1299986"/>
              <a:gd name="connsiteY0" fmla="*/ 3273178 h 5995891"/>
              <a:gd name="connsiteX1" fmla="*/ 1289826 w 1299986"/>
              <a:gd name="connsiteY1" fmla="*/ 0 h 5995891"/>
              <a:gd name="connsiteX2" fmla="*/ 1299986 w 1299986"/>
              <a:gd name="connsiteY2" fmla="*/ 5939409 h 5995891"/>
              <a:gd name="connsiteX3" fmla="*/ 2 w 1299986"/>
              <a:gd name="connsiteY3" fmla="*/ 3273178 h 5995891"/>
              <a:gd name="connsiteX0" fmla="*/ 2 w 1299986"/>
              <a:gd name="connsiteY0" fmla="*/ 3273178 h 5995891"/>
              <a:gd name="connsiteX1" fmla="*/ 1289826 w 1299986"/>
              <a:gd name="connsiteY1" fmla="*/ 0 h 5995891"/>
              <a:gd name="connsiteX2" fmla="*/ 1299986 w 1299986"/>
              <a:gd name="connsiteY2" fmla="*/ 5939409 h 5995891"/>
              <a:gd name="connsiteX3" fmla="*/ 2 w 1299986"/>
              <a:gd name="connsiteY3" fmla="*/ 3273178 h 5995891"/>
              <a:gd name="connsiteX0" fmla="*/ 2 w 1299986"/>
              <a:gd name="connsiteY0" fmla="*/ 3273178 h 5995891"/>
              <a:gd name="connsiteX1" fmla="*/ 1289826 w 1299986"/>
              <a:gd name="connsiteY1" fmla="*/ 0 h 5995891"/>
              <a:gd name="connsiteX2" fmla="*/ 1299986 w 1299986"/>
              <a:gd name="connsiteY2" fmla="*/ 5939409 h 5995891"/>
              <a:gd name="connsiteX3" fmla="*/ 2 w 1299986"/>
              <a:gd name="connsiteY3" fmla="*/ 3273178 h 5995891"/>
              <a:gd name="connsiteX0" fmla="*/ 2 w 1299986"/>
              <a:gd name="connsiteY0" fmla="*/ 2725028 h 5445777"/>
              <a:gd name="connsiteX1" fmla="*/ 1289826 w 1299986"/>
              <a:gd name="connsiteY1" fmla="*/ 0 h 5445777"/>
              <a:gd name="connsiteX2" fmla="*/ 1299986 w 1299986"/>
              <a:gd name="connsiteY2" fmla="*/ 5391259 h 5445777"/>
              <a:gd name="connsiteX3" fmla="*/ 2 w 1299986"/>
              <a:gd name="connsiteY3" fmla="*/ 2725028 h 5445777"/>
              <a:gd name="connsiteX0" fmla="*/ 2 w 1299986"/>
              <a:gd name="connsiteY0" fmla="*/ 3141216 h 5863443"/>
              <a:gd name="connsiteX1" fmla="*/ 1289826 w 1299986"/>
              <a:gd name="connsiteY1" fmla="*/ 0 h 5863443"/>
              <a:gd name="connsiteX2" fmla="*/ 1299986 w 1299986"/>
              <a:gd name="connsiteY2" fmla="*/ 5807447 h 5863443"/>
              <a:gd name="connsiteX3" fmla="*/ 2 w 1299986"/>
              <a:gd name="connsiteY3" fmla="*/ 3141216 h 5863443"/>
              <a:gd name="connsiteX0" fmla="*/ 2 w 1299986"/>
              <a:gd name="connsiteY0" fmla="*/ 3141216 h 5863444"/>
              <a:gd name="connsiteX1" fmla="*/ 1289826 w 1299986"/>
              <a:gd name="connsiteY1" fmla="*/ 0 h 5863444"/>
              <a:gd name="connsiteX2" fmla="*/ 1299986 w 1299986"/>
              <a:gd name="connsiteY2" fmla="*/ 5807447 h 5863444"/>
              <a:gd name="connsiteX3" fmla="*/ 2 w 1299986"/>
              <a:gd name="connsiteY3" fmla="*/ 3141216 h 5863444"/>
              <a:gd name="connsiteX0" fmla="*/ 1 w 1889265"/>
              <a:gd name="connsiteY0" fmla="*/ 3851780 h 5885741"/>
              <a:gd name="connsiteX1" fmla="*/ 1879105 w 1889265"/>
              <a:gd name="connsiteY1" fmla="*/ 0 h 5885741"/>
              <a:gd name="connsiteX2" fmla="*/ 1889265 w 1889265"/>
              <a:gd name="connsiteY2" fmla="*/ 5807447 h 5885741"/>
              <a:gd name="connsiteX3" fmla="*/ 1 w 1889265"/>
              <a:gd name="connsiteY3" fmla="*/ 3851780 h 5885741"/>
              <a:gd name="connsiteX0" fmla="*/ 694 w 1889958"/>
              <a:gd name="connsiteY0" fmla="*/ 3851780 h 5898819"/>
              <a:gd name="connsiteX1" fmla="*/ 1879798 w 1889958"/>
              <a:gd name="connsiteY1" fmla="*/ 0 h 5898819"/>
              <a:gd name="connsiteX2" fmla="*/ 1889958 w 1889958"/>
              <a:gd name="connsiteY2" fmla="*/ 5807447 h 5898819"/>
              <a:gd name="connsiteX3" fmla="*/ 694 w 1889958"/>
              <a:gd name="connsiteY3" fmla="*/ 3851780 h 5898819"/>
              <a:gd name="connsiteX0" fmla="*/ 694 w 1889958"/>
              <a:gd name="connsiteY0" fmla="*/ 3740120 h 5892762"/>
              <a:gd name="connsiteX1" fmla="*/ 1879798 w 1889958"/>
              <a:gd name="connsiteY1" fmla="*/ 0 h 5892762"/>
              <a:gd name="connsiteX2" fmla="*/ 1889958 w 1889958"/>
              <a:gd name="connsiteY2" fmla="*/ 5807447 h 5892762"/>
              <a:gd name="connsiteX3" fmla="*/ 694 w 1889958"/>
              <a:gd name="connsiteY3" fmla="*/ 3740120 h 5892762"/>
              <a:gd name="connsiteX0" fmla="*/ 690 w 1900114"/>
              <a:gd name="connsiteY0" fmla="*/ 3811177 h 5896524"/>
              <a:gd name="connsiteX1" fmla="*/ 1889954 w 1900114"/>
              <a:gd name="connsiteY1" fmla="*/ 0 h 5896524"/>
              <a:gd name="connsiteX2" fmla="*/ 1900114 w 1900114"/>
              <a:gd name="connsiteY2" fmla="*/ 5807447 h 5896524"/>
              <a:gd name="connsiteX3" fmla="*/ 690 w 1900114"/>
              <a:gd name="connsiteY3" fmla="*/ 3811177 h 5896524"/>
              <a:gd name="connsiteX0" fmla="*/ 690 w 1900114"/>
              <a:gd name="connsiteY0" fmla="*/ 3811177 h 5807447"/>
              <a:gd name="connsiteX1" fmla="*/ 1889954 w 1900114"/>
              <a:gd name="connsiteY1" fmla="*/ 0 h 5807447"/>
              <a:gd name="connsiteX2" fmla="*/ 1900114 w 1900114"/>
              <a:gd name="connsiteY2" fmla="*/ 5807447 h 5807447"/>
              <a:gd name="connsiteX3" fmla="*/ 690 w 1900114"/>
              <a:gd name="connsiteY3" fmla="*/ 3811177 h 5807447"/>
              <a:gd name="connsiteX0" fmla="*/ 690 w 1900114"/>
              <a:gd name="connsiteY0" fmla="*/ 3811177 h 5807447"/>
              <a:gd name="connsiteX1" fmla="*/ 1889954 w 1900114"/>
              <a:gd name="connsiteY1" fmla="*/ 0 h 5807447"/>
              <a:gd name="connsiteX2" fmla="*/ 1900114 w 1900114"/>
              <a:gd name="connsiteY2" fmla="*/ 5807447 h 5807447"/>
              <a:gd name="connsiteX3" fmla="*/ 690 w 1900114"/>
              <a:gd name="connsiteY3" fmla="*/ 3811177 h 5807447"/>
              <a:gd name="connsiteX0" fmla="*/ 403 w 1899827"/>
              <a:gd name="connsiteY0" fmla="*/ 3811177 h 5807447"/>
              <a:gd name="connsiteX1" fmla="*/ 1889667 w 1899827"/>
              <a:gd name="connsiteY1" fmla="*/ 0 h 5807447"/>
              <a:gd name="connsiteX2" fmla="*/ 1899827 w 1899827"/>
              <a:gd name="connsiteY2" fmla="*/ 5807447 h 5807447"/>
              <a:gd name="connsiteX3" fmla="*/ 403 w 1899827"/>
              <a:gd name="connsiteY3" fmla="*/ 3811177 h 5807447"/>
            </a:gdLst>
            <a:ahLst/>
            <a:cxnLst>
              <a:cxn ang="0">
                <a:pos x="connsiteX0" y="connsiteY0"/>
              </a:cxn>
              <a:cxn ang="0">
                <a:pos x="connsiteX1" y="connsiteY1"/>
              </a:cxn>
              <a:cxn ang="0">
                <a:pos x="connsiteX2" y="connsiteY2"/>
              </a:cxn>
              <a:cxn ang="0">
                <a:pos x="connsiteX3" y="connsiteY3"/>
              </a:cxn>
            </a:cxnLst>
            <a:rect l="l" t="t" r="r" b="b"/>
            <a:pathLst>
              <a:path w="1899827" h="5807447">
                <a:moveTo>
                  <a:pt x="403" y="3811177"/>
                </a:moveTo>
                <a:cubicBezTo>
                  <a:pt x="-31770" y="2467685"/>
                  <a:pt x="1876203" y="854946"/>
                  <a:pt x="1889667" y="0"/>
                </a:cubicBezTo>
                <a:cubicBezTo>
                  <a:pt x="1893054" y="1979803"/>
                  <a:pt x="1896440" y="3827644"/>
                  <a:pt x="1899827" y="5807447"/>
                </a:cubicBezTo>
                <a:cubicBezTo>
                  <a:pt x="1007523" y="5706703"/>
                  <a:pt x="32576" y="5154669"/>
                  <a:pt x="403" y="3811177"/>
                </a:cubicBezTo>
                <a:close/>
              </a:path>
            </a:pathLst>
          </a:custGeom>
          <a:solidFill>
            <a:schemeClr val="bg2"/>
          </a:solidFill>
          <a:ln w="3175">
            <a:noFill/>
          </a:ln>
        </p:spPr>
        <p:txBody>
          <a:bodyPr tIns="720000" rtlCol="0" anchor="ctr">
            <a:noAutofit/>
          </a:bodyPr>
          <a:lstStyle>
            <a:lvl1pPr algn="ctr">
              <a:defRPr sz="1500">
                <a:solidFill>
                  <a:schemeClr val="bg1"/>
                </a:solidFill>
              </a:defRPr>
            </a:lvl1pPr>
          </a:lstStyle>
          <a:p>
            <a:pPr lvl="0"/>
            <a:r>
              <a:rPr lang="en-US" noProof="0"/>
              <a:t>Click icon to add picture</a:t>
            </a:r>
          </a:p>
        </p:txBody>
      </p:sp>
      <p:sp>
        <p:nvSpPr>
          <p:cNvPr id="8" name="Espace réservé de la date 10"/>
          <p:cNvSpPr>
            <a:spLocks noGrp="1"/>
          </p:cNvSpPr>
          <p:nvPr>
            <p:ph type="dt" sz="half" idx="19"/>
          </p:nvPr>
        </p:nvSpPr>
        <p:spPr/>
        <p:txBody>
          <a:bodyPr/>
          <a:lstStyle>
            <a:lvl1pPr>
              <a:defRPr/>
            </a:lvl1pPr>
          </a:lstStyle>
          <a:p>
            <a:pPr>
              <a:defRPr/>
            </a:pPr>
            <a:r>
              <a:rPr lang="en-US">
                <a:solidFill>
                  <a:prstClr val="white">
                    <a:alpha val="0"/>
                  </a:prstClr>
                </a:solidFill>
              </a:rPr>
              <a:t>Date</a:t>
            </a:r>
          </a:p>
        </p:txBody>
      </p:sp>
      <p:sp>
        <p:nvSpPr>
          <p:cNvPr id="9" name="Espace réservé du numéro de diapositive 11"/>
          <p:cNvSpPr>
            <a:spLocks noGrp="1"/>
          </p:cNvSpPr>
          <p:nvPr>
            <p:ph type="sldNum" sz="quarter" idx="20"/>
          </p:nvPr>
        </p:nvSpPr>
        <p:spPr/>
        <p:txBody>
          <a:bodyPr/>
          <a:lstStyle>
            <a:lvl1pPr>
              <a:defRPr/>
            </a:lvl1pPr>
          </a:lstStyle>
          <a:p>
            <a:pPr>
              <a:defRPr/>
            </a:pPr>
            <a:fld id="{669CD8F2-86ED-43C7-A24E-82A206DEE6AE}" type="slidenum">
              <a:rPr lang="en-US">
                <a:solidFill>
                  <a:srgbClr val="343434"/>
                </a:solidFill>
              </a:rPr>
              <a:pPr>
                <a:defRPr/>
              </a:pPr>
              <a:t>‹#›</a:t>
            </a:fld>
            <a:endParaRPr lang="en-US">
              <a:solidFill>
                <a:srgbClr val="343434"/>
              </a:solidFill>
            </a:endParaRPr>
          </a:p>
        </p:txBody>
      </p:sp>
      <p:sp>
        <p:nvSpPr>
          <p:cNvPr id="11" name="Espace réservé du pied de page 12"/>
          <p:cNvSpPr>
            <a:spLocks noGrp="1"/>
          </p:cNvSpPr>
          <p:nvPr>
            <p:ph type="ftr" sz="quarter" idx="21"/>
          </p:nvPr>
        </p:nvSpPr>
        <p:spPr/>
        <p:txBody>
          <a:bodyPr/>
          <a:lstStyle>
            <a:lvl1pPr>
              <a:defRPr/>
            </a:lvl1pPr>
          </a:lstStyle>
          <a:p>
            <a:pPr>
              <a:defRPr/>
            </a:pPr>
            <a:r>
              <a:rPr lang="en-US">
                <a:solidFill>
                  <a:srgbClr val="005CB9"/>
                </a:solidFill>
              </a:rPr>
              <a:t>#</a:t>
            </a:r>
            <a:r>
              <a:rPr lang="en-US" err="1">
                <a:solidFill>
                  <a:srgbClr val="005CB9"/>
                </a:solidFill>
              </a:rPr>
              <a:t>vaccineswork</a:t>
            </a:r>
            <a:endParaRPr lang="en-US">
              <a:solidFill>
                <a:srgbClr val="005CB9"/>
              </a:solidFill>
            </a:endParaRPr>
          </a:p>
        </p:txBody>
      </p:sp>
    </p:spTree>
    <p:extLst>
      <p:ext uri="{BB962C8B-B14F-4D97-AF65-F5344CB8AC3E}">
        <p14:creationId xmlns:p14="http://schemas.microsoft.com/office/powerpoint/2010/main" val="25878654"/>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type="obj">
  <p:cSld name="Content_Layout">
    <p:spTree>
      <p:nvGrpSpPr>
        <p:cNvPr id="1" name=""/>
        <p:cNvGrpSpPr/>
        <p:nvPr/>
      </p:nvGrpSpPr>
      <p:grpSpPr>
        <a:xfrm>
          <a:off x="0" y="0"/>
          <a:ext cx="0" cy="0"/>
          <a:chOff x="0" y="0"/>
          <a:chExt cx="0" cy="0"/>
        </a:xfrm>
      </p:grpSpPr>
      <p:sp>
        <p:nvSpPr>
          <p:cNvPr id="2" name="Titre 1"/>
          <p:cNvSpPr>
            <a:spLocks noGrp="1"/>
          </p:cNvSpPr>
          <p:nvPr>
            <p:ph type="title"/>
          </p:nvPr>
        </p:nvSpPr>
        <p:spPr bwMode="gray"/>
        <p:txBody>
          <a:bodyPr/>
          <a:lstStyle/>
          <a:p>
            <a:r>
              <a:rPr lang="en-US" noProof="0"/>
              <a:t>Click to edit Master title style</a:t>
            </a:r>
          </a:p>
        </p:txBody>
      </p:sp>
      <p:sp>
        <p:nvSpPr>
          <p:cNvPr id="3" name="Espace réservé du contenu 2"/>
          <p:cNvSpPr>
            <a:spLocks noGrp="1"/>
          </p:cNvSpPr>
          <p:nvPr>
            <p:ph idx="1"/>
          </p:nvPr>
        </p:nvSpPr>
        <p:spPr bwMode="gray"/>
        <p:txBody>
          <a:bodyPr/>
          <a:lstStyle>
            <a:lvl2pPr>
              <a:defRPr/>
            </a:lvl2pPr>
            <a:lvl3pPr>
              <a:defRPr/>
            </a:lvl3pPr>
            <a:lvl4pPr>
              <a:defRPr baseline="0"/>
            </a:lvl4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Espace réservé de la date 3"/>
          <p:cNvSpPr>
            <a:spLocks noGrp="1"/>
          </p:cNvSpPr>
          <p:nvPr>
            <p:ph type="dt" sz="half" idx="10"/>
          </p:nvPr>
        </p:nvSpPr>
        <p:spPr/>
        <p:txBody>
          <a:bodyPr/>
          <a:lstStyle>
            <a:lvl1pPr>
              <a:defRPr/>
            </a:lvl1pPr>
          </a:lstStyle>
          <a:p>
            <a:pPr>
              <a:defRPr/>
            </a:pPr>
            <a:r>
              <a:rPr lang="en-US">
                <a:solidFill>
                  <a:prstClr val="white">
                    <a:alpha val="0"/>
                  </a:prstClr>
                </a:solidFill>
              </a:rPr>
              <a:t>Date</a:t>
            </a:r>
          </a:p>
        </p:txBody>
      </p:sp>
      <p:sp>
        <p:nvSpPr>
          <p:cNvPr id="5" name="Espace réservé du pied de page 4"/>
          <p:cNvSpPr>
            <a:spLocks noGrp="1"/>
          </p:cNvSpPr>
          <p:nvPr>
            <p:ph type="ftr" sz="quarter" idx="11"/>
          </p:nvPr>
        </p:nvSpPr>
        <p:spPr/>
        <p:txBody>
          <a:bodyPr/>
          <a:lstStyle>
            <a:lvl1pPr>
              <a:defRPr/>
            </a:lvl1pPr>
          </a:lstStyle>
          <a:p>
            <a:pPr>
              <a:defRPr/>
            </a:pPr>
            <a:r>
              <a:rPr lang="en-US">
                <a:solidFill>
                  <a:srgbClr val="005CB9"/>
                </a:solidFill>
              </a:rPr>
              <a:t>#</a:t>
            </a:r>
            <a:r>
              <a:rPr lang="en-US" err="1">
                <a:solidFill>
                  <a:srgbClr val="005CB9"/>
                </a:solidFill>
              </a:rPr>
              <a:t>vaccineswork</a:t>
            </a:r>
            <a:endParaRPr lang="en-US">
              <a:solidFill>
                <a:srgbClr val="005CB9"/>
              </a:solidFill>
            </a:endParaRPr>
          </a:p>
        </p:txBody>
      </p:sp>
      <p:sp>
        <p:nvSpPr>
          <p:cNvPr id="6" name="Espace réservé du numéro de diapositive 5"/>
          <p:cNvSpPr>
            <a:spLocks noGrp="1"/>
          </p:cNvSpPr>
          <p:nvPr>
            <p:ph type="sldNum" sz="quarter" idx="12"/>
          </p:nvPr>
        </p:nvSpPr>
        <p:spPr/>
        <p:txBody>
          <a:bodyPr/>
          <a:lstStyle>
            <a:lvl1pPr>
              <a:defRPr/>
            </a:lvl1pPr>
          </a:lstStyle>
          <a:p>
            <a:pPr>
              <a:defRPr/>
            </a:pPr>
            <a:fld id="{02A591CC-FF3A-423F-AEE4-347403BE7256}" type="slidenum">
              <a:rPr lang="en-US">
                <a:solidFill>
                  <a:srgbClr val="343434"/>
                </a:solidFill>
              </a:rPr>
              <a:pPr>
                <a:defRPr/>
              </a:pPr>
              <a:t>‹#›</a:t>
            </a:fld>
            <a:endParaRPr lang="en-US">
              <a:solidFill>
                <a:srgbClr val="343434"/>
              </a:solidFill>
            </a:endParaRPr>
          </a:p>
        </p:txBody>
      </p:sp>
    </p:spTree>
    <p:extLst>
      <p:ext uri="{BB962C8B-B14F-4D97-AF65-F5344CB8AC3E}">
        <p14:creationId xmlns:p14="http://schemas.microsoft.com/office/powerpoint/2010/main" val="1978009888"/>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Picture_Layout">
    <p:spTree>
      <p:nvGrpSpPr>
        <p:cNvPr id="1" name=""/>
        <p:cNvGrpSpPr/>
        <p:nvPr/>
      </p:nvGrpSpPr>
      <p:grpSpPr>
        <a:xfrm>
          <a:off x="0" y="0"/>
          <a:ext cx="0" cy="0"/>
          <a:chOff x="0" y="0"/>
          <a:chExt cx="0" cy="0"/>
        </a:xfrm>
      </p:grpSpPr>
      <p:sp>
        <p:nvSpPr>
          <p:cNvPr id="2" name="Titre 1"/>
          <p:cNvSpPr>
            <a:spLocks noGrp="1"/>
          </p:cNvSpPr>
          <p:nvPr>
            <p:ph type="title"/>
          </p:nvPr>
        </p:nvSpPr>
        <p:spPr bwMode="gray"/>
        <p:txBody>
          <a:bodyPr/>
          <a:lstStyle/>
          <a:p>
            <a:r>
              <a:rPr lang="en-US" noProof="0"/>
              <a:t>Click to edit Master title style</a:t>
            </a:r>
          </a:p>
        </p:txBody>
      </p:sp>
      <p:sp>
        <p:nvSpPr>
          <p:cNvPr id="3" name="Espace réservé du contenu 2"/>
          <p:cNvSpPr>
            <a:spLocks noGrp="1"/>
          </p:cNvSpPr>
          <p:nvPr>
            <p:ph idx="1"/>
          </p:nvPr>
        </p:nvSpPr>
        <p:spPr bwMode="gray">
          <a:xfrm>
            <a:off x="3635896" y="1304925"/>
            <a:ext cx="4644504" cy="4716463"/>
          </a:xfrm>
        </p:spPr>
        <p:txBody>
          <a:bodyPr/>
          <a:lstStyle>
            <a:lvl2pPr>
              <a:defRPr/>
            </a:lvl2pPr>
            <a:lvl3pPr>
              <a:defRPr/>
            </a:lvl3pPr>
            <a:lvl4pPr>
              <a:defRPr baseline="0"/>
            </a:lvl4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Espace réservé pour une image  8"/>
          <p:cNvSpPr>
            <a:spLocks noGrp="1"/>
          </p:cNvSpPr>
          <p:nvPr>
            <p:ph type="pic" sz="quarter" idx="13"/>
          </p:nvPr>
        </p:nvSpPr>
        <p:spPr bwMode="gray">
          <a:xfrm>
            <a:off x="0" y="1341438"/>
            <a:ext cx="3419038" cy="4679950"/>
          </a:xfrm>
        </p:spPr>
        <p:txBody>
          <a:bodyPr tIns="1008000" rtlCol="0" anchor="ctr">
            <a:noAutofit/>
          </a:bodyPr>
          <a:lstStyle>
            <a:lvl1pPr algn="ctr">
              <a:defRPr/>
            </a:lvl1pPr>
          </a:lstStyle>
          <a:p>
            <a:pPr lvl="0"/>
            <a:r>
              <a:rPr lang="en-US" noProof="0"/>
              <a:t>Click icon to add picture</a:t>
            </a:r>
          </a:p>
        </p:txBody>
      </p:sp>
      <p:sp>
        <p:nvSpPr>
          <p:cNvPr id="5" name="Espace réservé de la date 3"/>
          <p:cNvSpPr>
            <a:spLocks noGrp="1"/>
          </p:cNvSpPr>
          <p:nvPr>
            <p:ph type="dt" sz="half" idx="14"/>
          </p:nvPr>
        </p:nvSpPr>
        <p:spPr/>
        <p:txBody>
          <a:bodyPr/>
          <a:lstStyle>
            <a:lvl1pPr>
              <a:defRPr/>
            </a:lvl1pPr>
          </a:lstStyle>
          <a:p>
            <a:pPr>
              <a:defRPr/>
            </a:pPr>
            <a:r>
              <a:rPr lang="en-US">
                <a:solidFill>
                  <a:prstClr val="white">
                    <a:alpha val="0"/>
                  </a:prstClr>
                </a:solidFill>
              </a:rPr>
              <a:t>Date</a:t>
            </a:r>
          </a:p>
        </p:txBody>
      </p:sp>
      <p:sp>
        <p:nvSpPr>
          <p:cNvPr id="6" name="Espace réservé du pied de page 4"/>
          <p:cNvSpPr>
            <a:spLocks noGrp="1"/>
          </p:cNvSpPr>
          <p:nvPr>
            <p:ph type="ftr" sz="quarter" idx="15"/>
          </p:nvPr>
        </p:nvSpPr>
        <p:spPr/>
        <p:txBody>
          <a:bodyPr/>
          <a:lstStyle>
            <a:lvl1pPr>
              <a:defRPr/>
            </a:lvl1pPr>
          </a:lstStyle>
          <a:p>
            <a:pPr>
              <a:defRPr/>
            </a:pPr>
            <a:r>
              <a:rPr lang="en-US">
                <a:solidFill>
                  <a:srgbClr val="005CB9"/>
                </a:solidFill>
              </a:rPr>
              <a:t>#</a:t>
            </a:r>
            <a:r>
              <a:rPr lang="en-US" err="1">
                <a:solidFill>
                  <a:srgbClr val="005CB9"/>
                </a:solidFill>
              </a:rPr>
              <a:t>vaccineswork</a:t>
            </a:r>
            <a:endParaRPr lang="en-US">
              <a:solidFill>
                <a:srgbClr val="005CB9"/>
              </a:solidFill>
            </a:endParaRPr>
          </a:p>
        </p:txBody>
      </p:sp>
      <p:sp>
        <p:nvSpPr>
          <p:cNvPr id="7" name="Espace réservé du numéro de diapositive 5"/>
          <p:cNvSpPr>
            <a:spLocks noGrp="1"/>
          </p:cNvSpPr>
          <p:nvPr>
            <p:ph type="sldNum" sz="quarter" idx="16"/>
          </p:nvPr>
        </p:nvSpPr>
        <p:spPr/>
        <p:txBody>
          <a:bodyPr/>
          <a:lstStyle>
            <a:lvl1pPr>
              <a:defRPr/>
            </a:lvl1pPr>
          </a:lstStyle>
          <a:p>
            <a:pPr>
              <a:defRPr/>
            </a:pPr>
            <a:fld id="{D8886677-8A24-41A7-8E0F-301076E1EA36}" type="slidenum">
              <a:rPr lang="en-US">
                <a:solidFill>
                  <a:srgbClr val="343434"/>
                </a:solidFill>
              </a:rPr>
              <a:pPr>
                <a:defRPr/>
              </a:pPr>
              <a:t>‹#›</a:t>
            </a:fld>
            <a:endParaRPr lang="en-US">
              <a:solidFill>
                <a:srgbClr val="343434"/>
              </a:solidFill>
            </a:endParaRPr>
          </a:p>
        </p:txBody>
      </p:sp>
    </p:spTree>
    <p:extLst>
      <p:ext uri="{BB962C8B-B14F-4D97-AF65-F5344CB8AC3E}">
        <p14:creationId xmlns:p14="http://schemas.microsoft.com/office/powerpoint/2010/main" val="3004359655"/>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Text&amp;Content_Layout">
    <p:spTree>
      <p:nvGrpSpPr>
        <p:cNvPr id="1" name=""/>
        <p:cNvGrpSpPr/>
        <p:nvPr/>
      </p:nvGrpSpPr>
      <p:grpSpPr>
        <a:xfrm>
          <a:off x="0" y="0"/>
          <a:ext cx="0" cy="0"/>
          <a:chOff x="0" y="0"/>
          <a:chExt cx="0" cy="0"/>
        </a:xfrm>
      </p:grpSpPr>
      <p:sp>
        <p:nvSpPr>
          <p:cNvPr id="2" name="Titre 1"/>
          <p:cNvSpPr>
            <a:spLocks noGrp="1"/>
          </p:cNvSpPr>
          <p:nvPr>
            <p:ph type="title"/>
          </p:nvPr>
        </p:nvSpPr>
        <p:spPr bwMode="gray"/>
        <p:txBody>
          <a:bodyPr/>
          <a:lstStyle/>
          <a:p>
            <a:r>
              <a:rPr lang="en-US" noProof="0"/>
              <a:t>Click to edit Master title style</a:t>
            </a:r>
          </a:p>
        </p:txBody>
      </p:sp>
      <p:sp>
        <p:nvSpPr>
          <p:cNvPr id="3" name="Espace réservé du contenu 2"/>
          <p:cNvSpPr>
            <a:spLocks noGrp="1"/>
          </p:cNvSpPr>
          <p:nvPr>
            <p:ph idx="1"/>
          </p:nvPr>
        </p:nvSpPr>
        <p:spPr bwMode="gray">
          <a:xfrm>
            <a:off x="935038" y="2781388"/>
            <a:ext cx="7345362" cy="3240000"/>
          </a:xfrm>
        </p:spPr>
        <p:txBody>
          <a:bodyPr/>
          <a:lstStyle>
            <a:lvl2pPr>
              <a:defRPr/>
            </a:lvl2pPr>
            <a:lvl3pPr>
              <a:defRPr/>
            </a:lvl3pPr>
            <a:lvl4pPr>
              <a:defRPr baseline="0"/>
            </a:lvl4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Espace réservé du texte 9"/>
          <p:cNvSpPr>
            <a:spLocks noGrp="1"/>
          </p:cNvSpPr>
          <p:nvPr>
            <p:ph type="body" sz="quarter" idx="13"/>
          </p:nvPr>
        </p:nvSpPr>
        <p:spPr bwMode="gray">
          <a:xfrm>
            <a:off x="935038" y="1304924"/>
            <a:ext cx="7345362" cy="126000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Espace réservé de la date 3"/>
          <p:cNvSpPr>
            <a:spLocks noGrp="1"/>
          </p:cNvSpPr>
          <p:nvPr>
            <p:ph type="dt" sz="half" idx="14"/>
          </p:nvPr>
        </p:nvSpPr>
        <p:spPr/>
        <p:txBody>
          <a:bodyPr/>
          <a:lstStyle>
            <a:lvl1pPr>
              <a:defRPr/>
            </a:lvl1pPr>
          </a:lstStyle>
          <a:p>
            <a:pPr>
              <a:defRPr/>
            </a:pPr>
            <a:r>
              <a:rPr lang="en-US">
                <a:solidFill>
                  <a:prstClr val="white">
                    <a:alpha val="0"/>
                  </a:prstClr>
                </a:solidFill>
              </a:rPr>
              <a:t>Date</a:t>
            </a:r>
          </a:p>
        </p:txBody>
      </p:sp>
      <p:sp>
        <p:nvSpPr>
          <p:cNvPr id="6" name="Espace réservé du pied de page 4"/>
          <p:cNvSpPr>
            <a:spLocks noGrp="1"/>
          </p:cNvSpPr>
          <p:nvPr>
            <p:ph type="ftr" sz="quarter" idx="15"/>
          </p:nvPr>
        </p:nvSpPr>
        <p:spPr/>
        <p:txBody>
          <a:bodyPr/>
          <a:lstStyle>
            <a:lvl1pPr>
              <a:defRPr/>
            </a:lvl1pPr>
          </a:lstStyle>
          <a:p>
            <a:pPr>
              <a:defRPr/>
            </a:pPr>
            <a:r>
              <a:rPr lang="en-US">
                <a:solidFill>
                  <a:srgbClr val="005CB9"/>
                </a:solidFill>
              </a:rPr>
              <a:t>#</a:t>
            </a:r>
            <a:r>
              <a:rPr lang="en-US" err="1">
                <a:solidFill>
                  <a:srgbClr val="005CB9"/>
                </a:solidFill>
              </a:rPr>
              <a:t>vaccineswork</a:t>
            </a:r>
            <a:endParaRPr lang="en-US">
              <a:solidFill>
                <a:srgbClr val="005CB9"/>
              </a:solidFill>
            </a:endParaRPr>
          </a:p>
        </p:txBody>
      </p:sp>
      <p:sp>
        <p:nvSpPr>
          <p:cNvPr id="7" name="Espace réservé du numéro de diapositive 5"/>
          <p:cNvSpPr>
            <a:spLocks noGrp="1"/>
          </p:cNvSpPr>
          <p:nvPr>
            <p:ph type="sldNum" sz="quarter" idx="16"/>
          </p:nvPr>
        </p:nvSpPr>
        <p:spPr/>
        <p:txBody>
          <a:bodyPr/>
          <a:lstStyle>
            <a:lvl1pPr>
              <a:defRPr/>
            </a:lvl1pPr>
          </a:lstStyle>
          <a:p>
            <a:pPr>
              <a:defRPr/>
            </a:pPr>
            <a:fld id="{8779425B-3CAA-48C9-9B95-57BAD5A3D82E}" type="slidenum">
              <a:rPr lang="en-US">
                <a:solidFill>
                  <a:srgbClr val="343434"/>
                </a:solidFill>
              </a:rPr>
              <a:pPr>
                <a:defRPr/>
              </a:pPr>
              <a:t>‹#›</a:t>
            </a:fld>
            <a:endParaRPr lang="en-US">
              <a:solidFill>
                <a:srgbClr val="343434"/>
              </a:solidFill>
            </a:endParaRPr>
          </a:p>
        </p:txBody>
      </p:sp>
    </p:spTree>
    <p:extLst>
      <p:ext uri="{BB962C8B-B14F-4D97-AF65-F5344CB8AC3E}">
        <p14:creationId xmlns:p14="http://schemas.microsoft.com/office/powerpoint/2010/main" val="1061490470"/>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hank_you_1">
    <p:spTree>
      <p:nvGrpSpPr>
        <p:cNvPr id="1" name=""/>
        <p:cNvGrpSpPr/>
        <p:nvPr/>
      </p:nvGrpSpPr>
      <p:grpSpPr>
        <a:xfrm>
          <a:off x="0" y="0"/>
          <a:ext cx="0" cy="0"/>
          <a:chOff x="0" y="0"/>
          <a:chExt cx="0" cy="0"/>
        </a:xfrm>
      </p:grpSpPr>
      <p:pic>
        <p:nvPicPr>
          <p:cNvPr id="5" name="Image 18" descr="FD_1_L254.png"/>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gray">
          <a:xfrm>
            <a:off x="0" y="0"/>
            <a:ext cx="9144000" cy="51577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6" name="Rectangle 5"/>
          <p:cNvSpPr/>
          <p:nvPr userDrawn="1"/>
        </p:nvSpPr>
        <p:spPr bwMode="gray">
          <a:xfrm>
            <a:off x="3635375" y="5265738"/>
            <a:ext cx="5508625" cy="15922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prstClr val="white"/>
              </a:solidFill>
            </a:endParaRPr>
          </a:p>
        </p:txBody>
      </p:sp>
      <p:pic>
        <p:nvPicPr>
          <p:cNvPr id="7" name="Image 19" descr="Bas_couv.png"/>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gray">
          <a:xfrm>
            <a:off x="0" y="5172075"/>
            <a:ext cx="3635375" cy="16859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8" name="Rectangle 7"/>
          <p:cNvSpPr/>
          <p:nvPr userDrawn="1"/>
        </p:nvSpPr>
        <p:spPr bwMode="gray">
          <a:xfrm>
            <a:off x="3635375" y="6354763"/>
            <a:ext cx="5113338" cy="2873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p>
            <a:pPr algn="r">
              <a:defRPr/>
            </a:pPr>
            <a:r>
              <a:rPr lang="en-US" sz="1000" err="1">
                <a:solidFill>
                  <a:srgbClr val="95D600"/>
                </a:solidFill>
              </a:rPr>
              <a:t>www.gavi.org</a:t>
            </a:r>
            <a:endParaRPr lang="en-US" sz="1000">
              <a:solidFill>
                <a:srgbClr val="95D600"/>
              </a:solidFill>
            </a:endParaRPr>
          </a:p>
        </p:txBody>
      </p:sp>
      <p:cxnSp>
        <p:nvCxnSpPr>
          <p:cNvPr id="10" name="Connecteur droit 13"/>
          <p:cNvCxnSpPr/>
          <p:nvPr userDrawn="1"/>
        </p:nvCxnSpPr>
        <p:spPr bwMode="gray">
          <a:xfrm flipH="1">
            <a:off x="468313" y="3400425"/>
            <a:ext cx="2447925" cy="0"/>
          </a:xfrm>
          <a:prstGeom prst="line">
            <a:avLst/>
          </a:prstGeom>
          <a:ln w="24130">
            <a:solidFill>
              <a:schemeClr val="accent1"/>
            </a:solidFill>
          </a:ln>
        </p:spPr>
        <p:style>
          <a:lnRef idx="1">
            <a:schemeClr val="accent1"/>
          </a:lnRef>
          <a:fillRef idx="0">
            <a:schemeClr val="accent1"/>
          </a:fillRef>
          <a:effectRef idx="0">
            <a:schemeClr val="accent1"/>
          </a:effectRef>
          <a:fontRef idx="minor">
            <a:schemeClr val="tx1"/>
          </a:fontRef>
        </p:style>
      </p:cxnSp>
      <p:sp>
        <p:nvSpPr>
          <p:cNvPr id="9" name="Espace réservé du texte 8"/>
          <p:cNvSpPr>
            <a:spLocks noGrp="1"/>
          </p:cNvSpPr>
          <p:nvPr>
            <p:ph type="body" sz="quarter" idx="13"/>
          </p:nvPr>
        </p:nvSpPr>
        <p:spPr bwMode="gray">
          <a:xfrm>
            <a:off x="468314" y="1036638"/>
            <a:ext cx="4824412" cy="2242966"/>
          </a:xfrm>
        </p:spPr>
        <p:txBody>
          <a:bodyPr anchor="b"/>
          <a:lstStyle>
            <a:lvl1pPr marL="0" indent="0" algn="l">
              <a:lnSpc>
                <a:spcPct val="90000"/>
              </a:lnSpc>
              <a:buNone/>
              <a:defRPr sz="2800" b="1" cap="none" baseline="0">
                <a:solidFill>
                  <a:schemeClr val="bg1"/>
                </a:solidFill>
              </a:defRPr>
            </a:lvl1pPr>
            <a:lvl2pPr marL="0" algn="ctr">
              <a:lnSpc>
                <a:spcPct val="100000"/>
              </a:lnSpc>
              <a:spcBef>
                <a:spcPts val="6900"/>
              </a:spcBef>
              <a:defRPr sz="2000" b="1">
                <a:solidFill>
                  <a:schemeClr val="bg1"/>
                </a:solidFill>
              </a:defRPr>
            </a:lvl2pPr>
          </a:lstStyle>
          <a:p>
            <a:pPr lvl="0"/>
            <a:r>
              <a:rPr lang="en-US" noProof="0"/>
              <a:t>Click to edit Master text styles</a:t>
            </a:r>
          </a:p>
        </p:txBody>
      </p:sp>
      <p:sp>
        <p:nvSpPr>
          <p:cNvPr id="15" name="Espace réservé du texte 14"/>
          <p:cNvSpPr>
            <a:spLocks noGrp="1"/>
          </p:cNvSpPr>
          <p:nvPr>
            <p:ph type="body" sz="quarter" idx="19"/>
          </p:nvPr>
        </p:nvSpPr>
        <p:spPr bwMode="gray">
          <a:xfrm>
            <a:off x="3635376" y="6021388"/>
            <a:ext cx="5113338" cy="324000"/>
          </a:xfrm>
        </p:spPr>
        <p:txBody>
          <a:bodyPr anchor="b"/>
          <a:lstStyle>
            <a:lvl1pPr algn="r">
              <a:lnSpc>
                <a:spcPct val="100000"/>
              </a:lnSpc>
              <a:defRPr sz="1000" b="1">
                <a:solidFill>
                  <a:schemeClr val="accent3"/>
                </a:solidFill>
              </a:defRPr>
            </a:lvl1pPr>
          </a:lstStyle>
          <a:p>
            <a:pPr lvl="0"/>
            <a:r>
              <a:rPr lang="en-US" noProof="0"/>
              <a:t>Click to edit Master text styles</a:t>
            </a:r>
          </a:p>
        </p:txBody>
      </p:sp>
      <p:sp>
        <p:nvSpPr>
          <p:cNvPr id="13" name="Espace réservé pour une image  17"/>
          <p:cNvSpPr>
            <a:spLocks noGrp="1"/>
          </p:cNvSpPr>
          <p:nvPr>
            <p:ph type="pic" sz="quarter" idx="18"/>
          </p:nvPr>
        </p:nvSpPr>
        <p:spPr bwMode="gray">
          <a:xfrm>
            <a:off x="4192588" y="0"/>
            <a:ext cx="4951412" cy="5162400"/>
          </a:xfrm>
          <a:custGeom>
            <a:avLst/>
            <a:gdLst>
              <a:gd name="connsiteX0" fmla="*/ 0 w 3851275"/>
              <a:gd name="connsiteY0" fmla="*/ 0 h 5157788"/>
              <a:gd name="connsiteX1" fmla="*/ 3851275 w 3851275"/>
              <a:gd name="connsiteY1" fmla="*/ 0 h 5157788"/>
              <a:gd name="connsiteX2" fmla="*/ 3851275 w 3851275"/>
              <a:gd name="connsiteY2" fmla="*/ 5157788 h 5157788"/>
              <a:gd name="connsiteX3" fmla="*/ 0 w 3851275"/>
              <a:gd name="connsiteY3" fmla="*/ 5157788 h 5157788"/>
              <a:gd name="connsiteX4" fmla="*/ 0 w 3851275"/>
              <a:gd name="connsiteY4"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0 w 3851275"/>
              <a:gd name="connsiteY3" fmla="*/ 5157788 h 5157788"/>
              <a:gd name="connsiteX4" fmla="*/ 1692275 w 3851275"/>
              <a:gd name="connsiteY4" fmla="*/ 0 h 5157788"/>
              <a:gd name="connsiteX0" fmla="*/ 0 w 2159000"/>
              <a:gd name="connsiteY0" fmla="*/ 0 h 5157788"/>
              <a:gd name="connsiteX1" fmla="*/ 2159000 w 2159000"/>
              <a:gd name="connsiteY1" fmla="*/ 0 h 5157788"/>
              <a:gd name="connsiteX2" fmla="*/ 2159000 w 2159000"/>
              <a:gd name="connsiteY2" fmla="*/ 5157788 h 5157788"/>
              <a:gd name="connsiteX3" fmla="*/ 0 w 2159000"/>
              <a:gd name="connsiteY3" fmla="*/ 5157788 h 5157788"/>
              <a:gd name="connsiteX4" fmla="*/ 0 w 2159000"/>
              <a:gd name="connsiteY4" fmla="*/ 0 h 5157788"/>
              <a:gd name="connsiteX0" fmla="*/ 2625271 w 4784271"/>
              <a:gd name="connsiteY0" fmla="*/ 0 h 5157788"/>
              <a:gd name="connsiteX1" fmla="*/ 4784271 w 4784271"/>
              <a:gd name="connsiteY1" fmla="*/ 0 h 5157788"/>
              <a:gd name="connsiteX2" fmla="*/ 4784271 w 4784271"/>
              <a:gd name="connsiteY2" fmla="*/ 5157788 h 5157788"/>
              <a:gd name="connsiteX3" fmla="*/ 2625271 w 4784271"/>
              <a:gd name="connsiteY3" fmla="*/ 5157788 h 5157788"/>
              <a:gd name="connsiteX4" fmla="*/ 2625271 w 4784271"/>
              <a:gd name="connsiteY4" fmla="*/ 0 h 5157788"/>
              <a:gd name="connsiteX0" fmla="*/ 2625271 w 4784271"/>
              <a:gd name="connsiteY0" fmla="*/ 0 h 5157788"/>
              <a:gd name="connsiteX1" fmla="*/ 4784271 w 4784271"/>
              <a:gd name="connsiteY1" fmla="*/ 0 h 5157788"/>
              <a:gd name="connsiteX2" fmla="*/ 4784271 w 4784271"/>
              <a:gd name="connsiteY2" fmla="*/ 5157788 h 5157788"/>
              <a:gd name="connsiteX3" fmla="*/ 2625271 w 4784271"/>
              <a:gd name="connsiteY3" fmla="*/ 5157788 h 5157788"/>
              <a:gd name="connsiteX4" fmla="*/ 2625271 w 4784271"/>
              <a:gd name="connsiteY4" fmla="*/ 0 h 5157788"/>
              <a:gd name="connsiteX0" fmla="*/ 3568576 w 5727576"/>
              <a:gd name="connsiteY0" fmla="*/ 0 h 5157788"/>
              <a:gd name="connsiteX1" fmla="*/ 5727576 w 5727576"/>
              <a:gd name="connsiteY1" fmla="*/ 0 h 5157788"/>
              <a:gd name="connsiteX2" fmla="*/ 5727576 w 5727576"/>
              <a:gd name="connsiteY2" fmla="*/ 5157788 h 5157788"/>
              <a:gd name="connsiteX3" fmla="*/ 3568576 w 5727576"/>
              <a:gd name="connsiteY3" fmla="*/ 5157788 h 5157788"/>
              <a:gd name="connsiteX4" fmla="*/ 3568576 w 5727576"/>
              <a:gd name="connsiteY4" fmla="*/ 0 h 5157788"/>
              <a:gd name="connsiteX0" fmla="*/ 3306355 w 5465355"/>
              <a:gd name="connsiteY0" fmla="*/ 0 h 5157788"/>
              <a:gd name="connsiteX1" fmla="*/ 5465355 w 5465355"/>
              <a:gd name="connsiteY1" fmla="*/ 0 h 5157788"/>
              <a:gd name="connsiteX2" fmla="*/ 5465355 w 5465355"/>
              <a:gd name="connsiteY2" fmla="*/ 5157788 h 5157788"/>
              <a:gd name="connsiteX3" fmla="*/ 3306355 w 5465355"/>
              <a:gd name="connsiteY3" fmla="*/ 5157788 h 5157788"/>
              <a:gd name="connsiteX4" fmla="*/ 3306355 w 5465355"/>
              <a:gd name="connsiteY4" fmla="*/ 0 h 5157788"/>
              <a:gd name="connsiteX0" fmla="*/ 1416957 w 3575957"/>
              <a:gd name="connsiteY0" fmla="*/ 0 h 5157788"/>
              <a:gd name="connsiteX1" fmla="*/ 3575957 w 3575957"/>
              <a:gd name="connsiteY1" fmla="*/ 0 h 5157788"/>
              <a:gd name="connsiteX2" fmla="*/ 3575957 w 3575957"/>
              <a:gd name="connsiteY2" fmla="*/ 5157788 h 5157788"/>
              <a:gd name="connsiteX3" fmla="*/ 1416957 w 3575957"/>
              <a:gd name="connsiteY3" fmla="*/ 5157788 h 5157788"/>
              <a:gd name="connsiteX4" fmla="*/ 0 w 3575957"/>
              <a:gd name="connsiteY4" fmla="*/ 3339193 h 5157788"/>
              <a:gd name="connsiteX5" fmla="*/ 1416957 w 3575957"/>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6017419"/>
              <a:gd name="connsiteX1" fmla="*/ 3851275 w 3851275"/>
              <a:gd name="connsiteY1" fmla="*/ 0 h 6017419"/>
              <a:gd name="connsiteX2" fmla="*/ 3851275 w 3851275"/>
              <a:gd name="connsiteY2" fmla="*/ 5157788 h 6017419"/>
              <a:gd name="connsiteX3" fmla="*/ 1692275 w 3851275"/>
              <a:gd name="connsiteY3" fmla="*/ 5157788 h 6017419"/>
              <a:gd name="connsiteX4" fmla="*/ 0 w 3851275"/>
              <a:gd name="connsiteY4" fmla="*/ 3284984 h 6017419"/>
              <a:gd name="connsiteX5" fmla="*/ 1692275 w 3851275"/>
              <a:gd name="connsiteY5" fmla="*/ 0 h 6017419"/>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429000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429000 h 5157788"/>
              <a:gd name="connsiteX5" fmla="*/ 1710871 w 3869871"/>
              <a:gd name="connsiteY5" fmla="*/ 0 h 5157788"/>
              <a:gd name="connsiteX0" fmla="*/ 1704975 w 3863975"/>
              <a:gd name="connsiteY0" fmla="*/ 0 h 5157788"/>
              <a:gd name="connsiteX1" fmla="*/ 3863975 w 3863975"/>
              <a:gd name="connsiteY1" fmla="*/ 0 h 5157788"/>
              <a:gd name="connsiteX2" fmla="*/ 3863975 w 3863975"/>
              <a:gd name="connsiteY2" fmla="*/ 5157788 h 5157788"/>
              <a:gd name="connsiteX3" fmla="*/ 1704975 w 3863975"/>
              <a:gd name="connsiteY3" fmla="*/ 5157788 h 5157788"/>
              <a:gd name="connsiteX4" fmla="*/ 12700 w 3863975"/>
              <a:gd name="connsiteY4" fmla="*/ 3429000 h 5157788"/>
              <a:gd name="connsiteX5" fmla="*/ 1704975 w 3863975"/>
              <a:gd name="connsiteY5" fmla="*/ 0 h 5157788"/>
              <a:gd name="connsiteX0" fmla="*/ 1707243 w 3866243"/>
              <a:gd name="connsiteY0" fmla="*/ 0 h 5157788"/>
              <a:gd name="connsiteX1" fmla="*/ 3866243 w 3866243"/>
              <a:gd name="connsiteY1" fmla="*/ 0 h 5157788"/>
              <a:gd name="connsiteX2" fmla="*/ 3866243 w 3866243"/>
              <a:gd name="connsiteY2" fmla="*/ 5157788 h 5157788"/>
              <a:gd name="connsiteX3" fmla="*/ 1707243 w 3866243"/>
              <a:gd name="connsiteY3" fmla="*/ 5157788 h 5157788"/>
              <a:gd name="connsiteX4" fmla="*/ 14968 w 3866243"/>
              <a:gd name="connsiteY4" fmla="*/ 3429000 h 5157788"/>
              <a:gd name="connsiteX5" fmla="*/ 1707243 w 3866243"/>
              <a:gd name="connsiteY5" fmla="*/ 0 h 5157788"/>
              <a:gd name="connsiteX0" fmla="*/ 1130447 w 3866243"/>
              <a:gd name="connsiteY0" fmla="*/ 0 h 5157788"/>
              <a:gd name="connsiteX1" fmla="*/ 3866243 w 3866243"/>
              <a:gd name="connsiteY1" fmla="*/ 0 h 5157788"/>
              <a:gd name="connsiteX2" fmla="*/ 3866243 w 3866243"/>
              <a:gd name="connsiteY2" fmla="*/ 5157788 h 5157788"/>
              <a:gd name="connsiteX3" fmla="*/ 1707243 w 3866243"/>
              <a:gd name="connsiteY3" fmla="*/ 5157788 h 5157788"/>
              <a:gd name="connsiteX4" fmla="*/ 14968 w 3866243"/>
              <a:gd name="connsiteY4" fmla="*/ 3429000 h 5157788"/>
              <a:gd name="connsiteX5" fmla="*/ 1130447 w 3866243"/>
              <a:gd name="connsiteY5" fmla="*/ 0 h 5157788"/>
              <a:gd name="connsiteX0" fmla="*/ 2746143 w 5481939"/>
              <a:gd name="connsiteY0" fmla="*/ 0 h 5157788"/>
              <a:gd name="connsiteX1" fmla="*/ 5481939 w 5481939"/>
              <a:gd name="connsiteY1" fmla="*/ 0 h 5157788"/>
              <a:gd name="connsiteX2" fmla="*/ 5481939 w 5481939"/>
              <a:gd name="connsiteY2" fmla="*/ 5157788 h 5157788"/>
              <a:gd name="connsiteX3" fmla="*/ 585903 w 5481939"/>
              <a:gd name="connsiteY3" fmla="*/ 5153180 h 5157788"/>
              <a:gd name="connsiteX4" fmla="*/ 1630664 w 5481939"/>
              <a:gd name="connsiteY4" fmla="*/ 3429000 h 5157788"/>
              <a:gd name="connsiteX5" fmla="*/ 2746143 w 5481939"/>
              <a:gd name="connsiteY5" fmla="*/ 0 h 5157788"/>
              <a:gd name="connsiteX0" fmla="*/ 2746143 w 5481939"/>
              <a:gd name="connsiteY0" fmla="*/ 0 h 5157788"/>
              <a:gd name="connsiteX1" fmla="*/ 5481939 w 5481939"/>
              <a:gd name="connsiteY1" fmla="*/ 0 h 5157788"/>
              <a:gd name="connsiteX2" fmla="*/ 5481939 w 5481939"/>
              <a:gd name="connsiteY2" fmla="*/ 5157788 h 5157788"/>
              <a:gd name="connsiteX3" fmla="*/ 585903 w 5481939"/>
              <a:gd name="connsiteY3" fmla="*/ 5153180 h 5157788"/>
              <a:gd name="connsiteX4" fmla="*/ 1630664 w 5481939"/>
              <a:gd name="connsiteY4" fmla="*/ 3429000 h 5157788"/>
              <a:gd name="connsiteX5" fmla="*/ 2746143 w 548193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3574235 w 6310031"/>
              <a:gd name="connsiteY0" fmla="*/ 0 h 5157788"/>
              <a:gd name="connsiteX1" fmla="*/ 6310031 w 6310031"/>
              <a:gd name="connsiteY1" fmla="*/ 0 h 5157788"/>
              <a:gd name="connsiteX2" fmla="*/ 6310031 w 6310031"/>
              <a:gd name="connsiteY2" fmla="*/ 5157788 h 5157788"/>
              <a:gd name="connsiteX3" fmla="*/ 585903 w 6310031"/>
              <a:gd name="connsiteY3" fmla="*/ 5153180 h 5157788"/>
              <a:gd name="connsiteX4" fmla="*/ 1738031 w 6310031"/>
              <a:gd name="connsiteY4" fmla="*/ 3389965 h 5157788"/>
              <a:gd name="connsiteX5" fmla="*/ 3574235 w 6310031"/>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296143 w 5724128"/>
              <a:gd name="connsiteY4" fmla="*/ 3461908 h 5157788"/>
              <a:gd name="connsiteX5" fmla="*/ 2988332 w 5724128"/>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1188132 w 5760132"/>
              <a:gd name="connsiteY4" fmla="*/ 3425937 h 5157788"/>
              <a:gd name="connsiteX5" fmla="*/ 3024336 w 5760132"/>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2736304 w 5760132"/>
              <a:gd name="connsiteY4" fmla="*/ 3461908 h 5157788"/>
              <a:gd name="connsiteX5" fmla="*/ 3024336 w 5760132"/>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2736304 w 5760132"/>
              <a:gd name="connsiteY4" fmla="*/ 3461908 h 5157788"/>
              <a:gd name="connsiteX5" fmla="*/ 3024336 w 5760132"/>
              <a:gd name="connsiteY5" fmla="*/ 0 h 5157788"/>
              <a:gd name="connsiteX0" fmla="*/ 2160240 w 4896036"/>
              <a:gd name="connsiteY0" fmla="*/ 0 h 5157788"/>
              <a:gd name="connsiteX1" fmla="*/ 4896036 w 4896036"/>
              <a:gd name="connsiteY1" fmla="*/ 0 h 5157788"/>
              <a:gd name="connsiteX2" fmla="*/ 4896036 w 4896036"/>
              <a:gd name="connsiteY2" fmla="*/ 5157788 h 5157788"/>
              <a:gd name="connsiteX3" fmla="*/ 0 w 4896036"/>
              <a:gd name="connsiteY3" fmla="*/ 5153180 h 5157788"/>
              <a:gd name="connsiteX4" fmla="*/ 1872208 w 4896036"/>
              <a:gd name="connsiteY4" fmla="*/ 3461908 h 5157788"/>
              <a:gd name="connsiteX5" fmla="*/ 2160240 w 4896036"/>
              <a:gd name="connsiteY5" fmla="*/ 0 h 5157788"/>
              <a:gd name="connsiteX0" fmla="*/ 2232248 w 4968044"/>
              <a:gd name="connsiteY0" fmla="*/ 0 h 5157788"/>
              <a:gd name="connsiteX1" fmla="*/ 4968044 w 4968044"/>
              <a:gd name="connsiteY1" fmla="*/ 0 h 5157788"/>
              <a:gd name="connsiteX2" fmla="*/ 4968044 w 4968044"/>
              <a:gd name="connsiteY2" fmla="*/ 5157788 h 5157788"/>
              <a:gd name="connsiteX3" fmla="*/ 0 w 4968044"/>
              <a:gd name="connsiteY3" fmla="*/ 5153180 h 5157788"/>
              <a:gd name="connsiteX4" fmla="*/ 1944216 w 4968044"/>
              <a:gd name="connsiteY4" fmla="*/ 3461908 h 5157788"/>
              <a:gd name="connsiteX5" fmla="*/ 2232248 w 4968044"/>
              <a:gd name="connsiteY5" fmla="*/ 0 h 5157788"/>
              <a:gd name="connsiteX0" fmla="*/ 2207679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207679 w 4943475"/>
              <a:gd name="connsiteY5" fmla="*/ 0 h 5157788"/>
              <a:gd name="connsiteX0" fmla="*/ 2963763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963763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092200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71575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343583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675731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675731 w 4943475"/>
              <a:gd name="connsiteY5" fmla="*/ 0 h 5157788"/>
              <a:gd name="connsiteX0" fmla="*/ 2675731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675731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9672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19672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51412" h="5157788">
                <a:moveTo>
                  <a:pt x="2706687" y="0"/>
                </a:moveTo>
                <a:lnTo>
                  <a:pt x="4951412" y="0"/>
                </a:lnTo>
                <a:lnTo>
                  <a:pt x="4951412" y="5157788"/>
                </a:lnTo>
                <a:lnTo>
                  <a:pt x="0" y="5153180"/>
                </a:lnTo>
                <a:cubicBezTo>
                  <a:pt x="84411" y="4542509"/>
                  <a:pt x="183041" y="4024723"/>
                  <a:pt x="1243508" y="2562613"/>
                </a:cubicBezTo>
                <a:cubicBezTo>
                  <a:pt x="1867447" y="1704780"/>
                  <a:pt x="2665955" y="709265"/>
                  <a:pt x="2706687" y="0"/>
                </a:cubicBezTo>
                <a:close/>
              </a:path>
            </a:pathLst>
          </a:custGeom>
          <a:solidFill>
            <a:schemeClr val="bg2"/>
          </a:solidFill>
          <a:ln w="3175">
            <a:noFill/>
          </a:ln>
        </p:spPr>
        <p:txBody>
          <a:bodyPr tIns="720000" rtlCol="0" anchor="ctr">
            <a:noAutofit/>
          </a:bodyPr>
          <a:lstStyle>
            <a:lvl1pPr algn="ctr">
              <a:defRPr sz="1500">
                <a:solidFill>
                  <a:schemeClr val="bg1"/>
                </a:solidFill>
              </a:defRPr>
            </a:lvl1pPr>
          </a:lstStyle>
          <a:p>
            <a:pPr lvl="0"/>
            <a:r>
              <a:rPr lang="en-US" noProof="0"/>
              <a:t>Click icon to add picture</a:t>
            </a:r>
          </a:p>
        </p:txBody>
      </p:sp>
      <p:sp>
        <p:nvSpPr>
          <p:cNvPr id="11" name="Espace réservé de la date 9"/>
          <p:cNvSpPr>
            <a:spLocks noGrp="1"/>
          </p:cNvSpPr>
          <p:nvPr>
            <p:ph type="dt" sz="half" idx="20"/>
          </p:nvPr>
        </p:nvSpPr>
        <p:spPr/>
        <p:txBody>
          <a:bodyPr/>
          <a:lstStyle>
            <a:lvl1pPr>
              <a:defRPr/>
            </a:lvl1pPr>
          </a:lstStyle>
          <a:p>
            <a:pPr>
              <a:defRPr/>
            </a:pPr>
            <a:r>
              <a:rPr lang="en-US">
                <a:solidFill>
                  <a:prstClr val="white">
                    <a:alpha val="0"/>
                  </a:prstClr>
                </a:solidFill>
              </a:rPr>
              <a:t>Date</a:t>
            </a:r>
          </a:p>
        </p:txBody>
      </p:sp>
      <p:sp>
        <p:nvSpPr>
          <p:cNvPr id="12" name="Espace réservé du numéro de diapositive 10"/>
          <p:cNvSpPr>
            <a:spLocks noGrp="1"/>
          </p:cNvSpPr>
          <p:nvPr>
            <p:ph type="sldNum" sz="quarter" idx="21"/>
          </p:nvPr>
        </p:nvSpPr>
        <p:spPr/>
        <p:txBody>
          <a:bodyPr/>
          <a:lstStyle>
            <a:lvl1pPr>
              <a:defRPr sz="100">
                <a:solidFill>
                  <a:schemeClr val="bg1">
                    <a:alpha val="0"/>
                  </a:schemeClr>
                </a:solidFill>
              </a:defRPr>
            </a:lvl1pPr>
          </a:lstStyle>
          <a:p>
            <a:pPr>
              <a:defRPr/>
            </a:pPr>
            <a:r>
              <a:rPr lang="en-US">
                <a:solidFill>
                  <a:prstClr val="white">
                    <a:alpha val="0"/>
                  </a:prstClr>
                </a:solidFill>
              </a:rPr>
              <a:t>Page: </a:t>
            </a:r>
            <a:fld id="{4AF4F797-1FBC-44F9-B7CF-6A5F893B852E}" type="slidenum">
              <a:rPr lang="en-US">
                <a:solidFill>
                  <a:prstClr val="white">
                    <a:alpha val="0"/>
                  </a:prstClr>
                </a:solidFill>
              </a:rPr>
              <a:pPr>
                <a:defRPr/>
              </a:pPr>
              <a:t>‹#›</a:t>
            </a:fld>
            <a:endParaRPr lang="en-US">
              <a:solidFill>
                <a:prstClr val="white">
                  <a:alpha val="0"/>
                </a:prstClr>
              </a:solidFill>
            </a:endParaRPr>
          </a:p>
        </p:txBody>
      </p:sp>
      <p:sp>
        <p:nvSpPr>
          <p:cNvPr id="14" name="Espace réservé du pied de page 11"/>
          <p:cNvSpPr>
            <a:spLocks noGrp="1"/>
          </p:cNvSpPr>
          <p:nvPr>
            <p:ph type="ftr" sz="quarter" idx="22"/>
          </p:nvPr>
        </p:nvSpPr>
        <p:spPr>
          <a:xfrm>
            <a:off x="468313" y="523875"/>
            <a:ext cx="4824412" cy="360363"/>
          </a:xfrm>
        </p:spPr>
        <p:txBody>
          <a:bodyPr/>
          <a:lstStyle>
            <a:lvl1pPr algn="l">
              <a:defRPr sz="1800" b="0">
                <a:solidFill>
                  <a:schemeClr val="bg1"/>
                </a:solidFill>
              </a:defRPr>
            </a:lvl1pPr>
          </a:lstStyle>
          <a:p>
            <a:pPr>
              <a:defRPr/>
            </a:pPr>
            <a:r>
              <a:rPr lang="en-US">
                <a:solidFill>
                  <a:prstClr val="white"/>
                </a:solidFill>
              </a:rPr>
              <a:t>#</a:t>
            </a:r>
            <a:r>
              <a:rPr lang="en-US" err="1">
                <a:solidFill>
                  <a:prstClr val="white"/>
                </a:solidFill>
              </a:rPr>
              <a:t>vaccineswork</a:t>
            </a:r>
            <a:endParaRPr lang="en-US">
              <a:solidFill>
                <a:prstClr val="white"/>
              </a:solidFill>
            </a:endParaRPr>
          </a:p>
        </p:txBody>
      </p:sp>
    </p:spTree>
    <p:extLst>
      <p:ext uri="{BB962C8B-B14F-4D97-AF65-F5344CB8AC3E}">
        <p14:creationId xmlns:p14="http://schemas.microsoft.com/office/powerpoint/2010/main" val="2436043426"/>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Thank_you_2">
    <p:spTree>
      <p:nvGrpSpPr>
        <p:cNvPr id="1" name=""/>
        <p:cNvGrpSpPr/>
        <p:nvPr/>
      </p:nvGrpSpPr>
      <p:grpSpPr>
        <a:xfrm>
          <a:off x="0" y="0"/>
          <a:ext cx="0" cy="0"/>
          <a:chOff x="0" y="0"/>
          <a:chExt cx="0" cy="0"/>
        </a:xfrm>
      </p:grpSpPr>
      <p:sp>
        <p:nvSpPr>
          <p:cNvPr id="5" name="Rectangle 4"/>
          <p:cNvSpPr/>
          <p:nvPr userDrawn="1"/>
        </p:nvSpPr>
        <p:spPr bwMode="gray">
          <a:xfrm>
            <a:off x="3635375" y="5265738"/>
            <a:ext cx="5508625" cy="15922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prstClr val="white"/>
              </a:solidFill>
            </a:endParaRPr>
          </a:p>
        </p:txBody>
      </p:sp>
      <p:pic>
        <p:nvPicPr>
          <p:cNvPr id="6" name="Image 20" descr="FD_1_L254.png"/>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gray">
          <a:xfrm>
            <a:off x="0" y="0"/>
            <a:ext cx="9144000" cy="51577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7" name="Image 19" descr="Bas_couv.png"/>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gray">
          <a:xfrm>
            <a:off x="0" y="5172075"/>
            <a:ext cx="3635375" cy="16859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8" name="Rectangle 7"/>
          <p:cNvSpPr/>
          <p:nvPr userDrawn="1"/>
        </p:nvSpPr>
        <p:spPr bwMode="gray">
          <a:xfrm>
            <a:off x="3635375" y="6354763"/>
            <a:ext cx="5113338" cy="2873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p>
            <a:pPr algn="r">
              <a:defRPr/>
            </a:pPr>
            <a:r>
              <a:rPr lang="en-US" sz="1000" err="1">
                <a:solidFill>
                  <a:srgbClr val="95D600"/>
                </a:solidFill>
              </a:rPr>
              <a:t>www.gavi.org</a:t>
            </a:r>
            <a:endParaRPr lang="en-US" sz="1000">
              <a:solidFill>
                <a:srgbClr val="95D600"/>
              </a:solidFill>
            </a:endParaRPr>
          </a:p>
        </p:txBody>
      </p:sp>
      <p:cxnSp>
        <p:nvCxnSpPr>
          <p:cNvPr id="10" name="Connecteur droit 13"/>
          <p:cNvCxnSpPr/>
          <p:nvPr userDrawn="1"/>
        </p:nvCxnSpPr>
        <p:spPr bwMode="gray">
          <a:xfrm flipH="1">
            <a:off x="468313" y="3402013"/>
            <a:ext cx="2447925" cy="0"/>
          </a:xfrm>
          <a:prstGeom prst="line">
            <a:avLst/>
          </a:prstGeom>
          <a:ln w="24130">
            <a:solidFill>
              <a:schemeClr val="accent1"/>
            </a:solidFill>
          </a:ln>
        </p:spPr>
        <p:style>
          <a:lnRef idx="1">
            <a:schemeClr val="accent1"/>
          </a:lnRef>
          <a:fillRef idx="0">
            <a:schemeClr val="accent1"/>
          </a:fillRef>
          <a:effectRef idx="0">
            <a:schemeClr val="accent1"/>
          </a:effectRef>
          <a:fontRef idx="minor">
            <a:schemeClr val="tx1"/>
          </a:fontRef>
        </p:style>
      </p:cxnSp>
      <p:sp>
        <p:nvSpPr>
          <p:cNvPr id="9" name="Espace réservé du texte 8"/>
          <p:cNvSpPr>
            <a:spLocks noGrp="1"/>
          </p:cNvSpPr>
          <p:nvPr>
            <p:ph type="body" sz="quarter" idx="13"/>
          </p:nvPr>
        </p:nvSpPr>
        <p:spPr bwMode="gray">
          <a:xfrm>
            <a:off x="468314" y="1036800"/>
            <a:ext cx="4824000" cy="2242800"/>
          </a:xfrm>
        </p:spPr>
        <p:txBody>
          <a:bodyPr anchor="b"/>
          <a:lstStyle>
            <a:lvl1pPr marL="0" indent="0" algn="l">
              <a:lnSpc>
                <a:spcPct val="90000"/>
              </a:lnSpc>
              <a:buNone/>
              <a:defRPr sz="2800" b="1" cap="none" baseline="0">
                <a:solidFill>
                  <a:schemeClr val="bg1"/>
                </a:solidFill>
              </a:defRPr>
            </a:lvl1pPr>
            <a:lvl2pPr marL="0" algn="ctr">
              <a:lnSpc>
                <a:spcPct val="100000"/>
              </a:lnSpc>
              <a:spcBef>
                <a:spcPts val="6900"/>
              </a:spcBef>
              <a:defRPr sz="2000" b="1">
                <a:solidFill>
                  <a:schemeClr val="bg1"/>
                </a:solidFill>
              </a:defRPr>
            </a:lvl2pPr>
          </a:lstStyle>
          <a:p>
            <a:pPr lvl="0"/>
            <a:r>
              <a:rPr lang="en-US" noProof="0"/>
              <a:t>Click to edit Master text styles</a:t>
            </a:r>
          </a:p>
        </p:txBody>
      </p:sp>
      <p:sp>
        <p:nvSpPr>
          <p:cNvPr id="15" name="Espace réservé du texte 14"/>
          <p:cNvSpPr>
            <a:spLocks noGrp="1"/>
          </p:cNvSpPr>
          <p:nvPr>
            <p:ph type="body" sz="quarter" idx="19"/>
          </p:nvPr>
        </p:nvSpPr>
        <p:spPr bwMode="gray">
          <a:xfrm>
            <a:off x="3635376" y="6021388"/>
            <a:ext cx="5113338" cy="324000"/>
          </a:xfrm>
        </p:spPr>
        <p:txBody>
          <a:bodyPr anchor="b"/>
          <a:lstStyle>
            <a:lvl1pPr algn="r">
              <a:lnSpc>
                <a:spcPct val="100000"/>
              </a:lnSpc>
              <a:defRPr sz="1000" b="1">
                <a:solidFill>
                  <a:schemeClr val="accent3"/>
                </a:solidFill>
              </a:defRPr>
            </a:lvl1pPr>
          </a:lstStyle>
          <a:p>
            <a:pPr lvl="0"/>
            <a:r>
              <a:rPr lang="en-US" noProof="0"/>
              <a:t>Click to edit Master text styles</a:t>
            </a:r>
          </a:p>
        </p:txBody>
      </p:sp>
      <p:sp>
        <p:nvSpPr>
          <p:cNvPr id="13" name="Espace réservé pour une image  17"/>
          <p:cNvSpPr>
            <a:spLocks noGrp="1"/>
          </p:cNvSpPr>
          <p:nvPr>
            <p:ph type="pic" sz="quarter" idx="18"/>
          </p:nvPr>
        </p:nvSpPr>
        <p:spPr bwMode="gray">
          <a:xfrm>
            <a:off x="4192588" y="0"/>
            <a:ext cx="4951412" cy="5162400"/>
          </a:xfrm>
          <a:custGeom>
            <a:avLst/>
            <a:gdLst>
              <a:gd name="connsiteX0" fmla="*/ 0 w 3851275"/>
              <a:gd name="connsiteY0" fmla="*/ 0 h 5157788"/>
              <a:gd name="connsiteX1" fmla="*/ 3851275 w 3851275"/>
              <a:gd name="connsiteY1" fmla="*/ 0 h 5157788"/>
              <a:gd name="connsiteX2" fmla="*/ 3851275 w 3851275"/>
              <a:gd name="connsiteY2" fmla="*/ 5157788 h 5157788"/>
              <a:gd name="connsiteX3" fmla="*/ 0 w 3851275"/>
              <a:gd name="connsiteY3" fmla="*/ 5157788 h 5157788"/>
              <a:gd name="connsiteX4" fmla="*/ 0 w 3851275"/>
              <a:gd name="connsiteY4"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0 w 3851275"/>
              <a:gd name="connsiteY3" fmla="*/ 5157788 h 5157788"/>
              <a:gd name="connsiteX4" fmla="*/ 1692275 w 3851275"/>
              <a:gd name="connsiteY4" fmla="*/ 0 h 5157788"/>
              <a:gd name="connsiteX0" fmla="*/ 0 w 2159000"/>
              <a:gd name="connsiteY0" fmla="*/ 0 h 5157788"/>
              <a:gd name="connsiteX1" fmla="*/ 2159000 w 2159000"/>
              <a:gd name="connsiteY1" fmla="*/ 0 h 5157788"/>
              <a:gd name="connsiteX2" fmla="*/ 2159000 w 2159000"/>
              <a:gd name="connsiteY2" fmla="*/ 5157788 h 5157788"/>
              <a:gd name="connsiteX3" fmla="*/ 0 w 2159000"/>
              <a:gd name="connsiteY3" fmla="*/ 5157788 h 5157788"/>
              <a:gd name="connsiteX4" fmla="*/ 0 w 2159000"/>
              <a:gd name="connsiteY4" fmla="*/ 0 h 5157788"/>
              <a:gd name="connsiteX0" fmla="*/ 2625271 w 4784271"/>
              <a:gd name="connsiteY0" fmla="*/ 0 h 5157788"/>
              <a:gd name="connsiteX1" fmla="*/ 4784271 w 4784271"/>
              <a:gd name="connsiteY1" fmla="*/ 0 h 5157788"/>
              <a:gd name="connsiteX2" fmla="*/ 4784271 w 4784271"/>
              <a:gd name="connsiteY2" fmla="*/ 5157788 h 5157788"/>
              <a:gd name="connsiteX3" fmla="*/ 2625271 w 4784271"/>
              <a:gd name="connsiteY3" fmla="*/ 5157788 h 5157788"/>
              <a:gd name="connsiteX4" fmla="*/ 2625271 w 4784271"/>
              <a:gd name="connsiteY4" fmla="*/ 0 h 5157788"/>
              <a:gd name="connsiteX0" fmla="*/ 2625271 w 4784271"/>
              <a:gd name="connsiteY0" fmla="*/ 0 h 5157788"/>
              <a:gd name="connsiteX1" fmla="*/ 4784271 w 4784271"/>
              <a:gd name="connsiteY1" fmla="*/ 0 h 5157788"/>
              <a:gd name="connsiteX2" fmla="*/ 4784271 w 4784271"/>
              <a:gd name="connsiteY2" fmla="*/ 5157788 h 5157788"/>
              <a:gd name="connsiteX3" fmla="*/ 2625271 w 4784271"/>
              <a:gd name="connsiteY3" fmla="*/ 5157788 h 5157788"/>
              <a:gd name="connsiteX4" fmla="*/ 2625271 w 4784271"/>
              <a:gd name="connsiteY4" fmla="*/ 0 h 5157788"/>
              <a:gd name="connsiteX0" fmla="*/ 3568576 w 5727576"/>
              <a:gd name="connsiteY0" fmla="*/ 0 h 5157788"/>
              <a:gd name="connsiteX1" fmla="*/ 5727576 w 5727576"/>
              <a:gd name="connsiteY1" fmla="*/ 0 h 5157788"/>
              <a:gd name="connsiteX2" fmla="*/ 5727576 w 5727576"/>
              <a:gd name="connsiteY2" fmla="*/ 5157788 h 5157788"/>
              <a:gd name="connsiteX3" fmla="*/ 3568576 w 5727576"/>
              <a:gd name="connsiteY3" fmla="*/ 5157788 h 5157788"/>
              <a:gd name="connsiteX4" fmla="*/ 3568576 w 5727576"/>
              <a:gd name="connsiteY4" fmla="*/ 0 h 5157788"/>
              <a:gd name="connsiteX0" fmla="*/ 3306355 w 5465355"/>
              <a:gd name="connsiteY0" fmla="*/ 0 h 5157788"/>
              <a:gd name="connsiteX1" fmla="*/ 5465355 w 5465355"/>
              <a:gd name="connsiteY1" fmla="*/ 0 h 5157788"/>
              <a:gd name="connsiteX2" fmla="*/ 5465355 w 5465355"/>
              <a:gd name="connsiteY2" fmla="*/ 5157788 h 5157788"/>
              <a:gd name="connsiteX3" fmla="*/ 3306355 w 5465355"/>
              <a:gd name="connsiteY3" fmla="*/ 5157788 h 5157788"/>
              <a:gd name="connsiteX4" fmla="*/ 3306355 w 5465355"/>
              <a:gd name="connsiteY4" fmla="*/ 0 h 5157788"/>
              <a:gd name="connsiteX0" fmla="*/ 1416957 w 3575957"/>
              <a:gd name="connsiteY0" fmla="*/ 0 h 5157788"/>
              <a:gd name="connsiteX1" fmla="*/ 3575957 w 3575957"/>
              <a:gd name="connsiteY1" fmla="*/ 0 h 5157788"/>
              <a:gd name="connsiteX2" fmla="*/ 3575957 w 3575957"/>
              <a:gd name="connsiteY2" fmla="*/ 5157788 h 5157788"/>
              <a:gd name="connsiteX3" fmla="*/ 1416957 w 3575957"/>
              <a:gd name="connsiteY3" fmla="*/ 5157788 h 5157788"/>
              <a:gd name="connsiteX4" fmla="*/ 0 w 3575957"/>
              <a:gd name="connsiteY4" fmla="*/ 3339193 h 5157788"/>
              <a:gd name="connsiteX5" fmla="*/ 1416957 w 3575957"/>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6017419"/>
              <a:gd name="connsiteX1" fmla="*/ 3851275 w 3851275"/>
              <a:gd name="connsiteY1" fmla="*/ 0 h 6017419"/>
              <a:gd name="connsiteX2" fmla="*/ 3851275 w 3851275"/>
              <a:gd name="connsiteY2" fmla="*/ 5157788 h 6017419"/>
              <a:gd name="connsiteX3" fmla="*/ 1692275 w 3851275"/>
              <a:gd name="connsiteY3" fmla="*/ 5157788 h 6017419"/>
              <a:gd name="connsiteX4" fmla="*/ 0 w 3851275"/>
              <a:gd name="connsiteY4" fmla="*/ 3284984 h 6017419"/>
              <a:gd name="connsiteX5" fmla="*/ 1692275 w 3851275"/>
              <a:gd name="connsiteY5" fmla="*/ 0 h 6017419"/>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429000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429000 h 5157788"/>
              <a:gd name="connsiteX5" fmla="*/ 1710871 w 3869871"/>
              <a:gd name="connsiteY5" fmla="*/ 0 h 5157788"/>
              <a:gd name="connsiteX0" fmla="*/ 1704975 w 3863975"/>
              <a:gd name="connsiteY0" fmla="*/ 0 h 5157788"/>
              <a:gd name="connsiteX1" fmla="*/ 3863975 w 3863975"/>
              <a:gd name="connsiteY1" fmla="*/ 0 h 5157788"/>
              <a:gd name="connsiteX2" fmla="*/ 3863975 w 3863975"/>
              <a:gd name="connsiteY2" fmla="*/ 5157788 h 5157788"/>
              <a:gd name="connsiteX3" fmla="*/ 1704975 w 3863975"/>
              <a:gd name="connsiteY3" fmla="*/ 5157788 h 5157788"/>
              <a:gd name="connsiteX4" fmla="*/ 12700 w 3863975"/>
              <a:gd name="connsiteY4" fmla="*/ 3429000 h 5157788"/>
              <a:gd name="connsiteX5" fmla="*/ 1704975 w 3863975"/>
              <a:gd name="connsiteY5" fmla="*/ 0 h 5157788"/>
              <a:gd name="connsiteX0" fmla="*/ 1707243 w 3866243"/>
              <a:gd name="connsiteY0" fmla="*/ 0 h 5157788"/>
              <a:gd name="connsiteX1" fmla="*/ 3866243 w 3866243"/>
              <a:gd name="connsiteY1" fmla="*/ 0 h 5157788"/>
              <a:gd name="connsiteX2" fmla="*/ 3866243 w 3866243"/>
              <a:gd name="connsiteY2" fmla="*/ 5157788 h 5157788"/>
              <a:gd name="connsiteX3" fmla="*/ 1707243 w 3866243"/>
              <a:gd name="connsiteY3" fmla="*/ 5157788 h 5157788"/>
              <a:gd name="connsiteX4" fmla="*/ 14968 w 3866243"/>
              <a:gd name="connsiteY4" fmla="*/ 3429000 h 5157788"/>
              <a:gd name="connsiteX5" fmla="*/ 1707243 w 3866243"/>
              <a:gd name="connsiteY5" fmla="*/ 0 h 5157788"/>
              <a:gd name="connsiteX0" fmla="*/ 1130447 w 3866243"/>
              <a:gd name="connsiteY0" fmla="*/ 0 h 5157788"/>
              <a:gd name="connsiteX1" fmla="*/ 3866243 w 3866243"/>
              <a:gd name="connsiteY1" fmla="*/ 0 h 5157788"/>
              <a:gd name="connsiteX2" fmla="*/ 3866243 w 3866243"/>
              <a:gd name="connsiteY2" fmla="*/ 5157788 h 5157788"/>
              <a:gd name="connsiteX3" fmla="*/ 1707243 w 3866243"/>
              <a:gd name="connsiteY3" fmla="*/ 5157788 h 5157788"/>
              <a:gd name="connsiteX4" fmla="*/ 14968 w 3866243"/>
              <a:gd name="connsiteY4" fmla="*/ 3429000 h 5157788"/>
              <a:gd name="connsiteX5" fmla="*/ 1130447 w 3866243"/>
              <a:gd name="connsiteY5" fmla="*/ 0 h 5157788"/>
              <a:gd name="connsiteX0" fmla="*/ 2746143 w 5481939"/>
              <a:gd name="connsiteY0" fmla="*/ 0 h 5157788"/>
              <a:gd name="connsiteX1" fmla="*/ 5481939 w 5481939"/>
              <a:gd name="connsiteY1" fmla="*/ 0 h 5157788"/>
              <a:gd name="connsiteX2" fmla="*/ 5481939 w 5481939"/>
              <a:gd name="connsiteY2" fmla="*/ 5157788 h 5157788"/>
              <a:gd name="connsiteX3" fmla="*/ 585903 w 5481939"/>
              <a:gd name="connsiteY3" fmla="*/ 5153180 h 5157788"/>
              <a:gd name="connsiteX4" fmla="*/ 1630664 w 5481939"/>
              <a:gd name="connsiteY4" fmla="*/ 3429000 h 5157788"/>
              <a:gd name="connsiteX5" fmla="*/ 2746143 w 5481939"/>
              <a:gd name="connsiteY5" fmla="*/ 0 h 5157788"/>
              <a:gd name="connsiteX0" fmla="*/ 2746143 w 5481939"/>
              <a:gd name="connsiteY0" fmla="*/ 0 h 5157788"/>
              <a:gd name="connsiteX1" fmla="*/ 5481939 w 5481939"/>
              <a:gd name="connsiteY1" fmla="*/ 0 h 5157788"/>
              <a:gd name="connsiteX2" fmla="*/ 5481939 w 5481939"/>
              <a:gd name="connsiteY2" fmla="*/ 5157788 h 5157788"/>
              <a:gd name="connsiteX3" fmla="*/ 585903 w 5481939"/>
              <a:gd name="connsiteY3" fmla="*/ 5153180 h 5157788"/>
              <a:gd name="connsiteX4" fmla="*/ 1630664 w 5481939"/>
              <a:gd name="connsiteY4" fmla="*/ 3429000 h 5157788"/>
              <a:gd name="connsiteX5" fmla="*/ 2746143 w 548193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3574235 w 6310031"/>
              <a:gd name="connsiteY0" fmla="*/ 0 h 5157788"/>
              <a:gd name="connsiteX1" fmla="*/ 6310031 w 6310031"/>
              <a:gd name="connsiteY1" fmla="*/ 0 h 5157788"/>
              <a:gd name="connsiteX2" fmla="*/ 6310031 w 6310031"/>
              <a:gd name="connsiteY2" fmla="*/ 5157788 h 5157788"/>
              <a:gd name="connsiteX3" fmla="*/ 585903 w 6310031"/>
              <a:gd name="connsiteY3" fmla="*/ 5153180 h 5157788"/>
              <a:gd name="connsiteX4" fmla="*/ 1738031 w 6310031"/>
              <a:gd name="connsiteY4" fmla="*/ 3389965 h 5157788"/>
              <a:gd name="connsiteX5" fmla="*/ 3574235 w 6310031"/>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296143 w 5724128"/>
              <a:gd name="connsiteY4" fmla="*/ 3461908 h 5157788"/>
              <a:gd name="connsiteX5" fmla="*/ 2988332 w 5724128"/>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1188132 w 5760132"/>
              <a:gd name="connsiteY4" fmla="*/ 3425937 h 5157788"/>
              <a:gd name="connsiteX5" fmla="*/ 3024336 w 5760132"/>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2736304 w 5760132"/>
              <a:gd name="connsiteY4" fmla="*/ 3461908 h 5157788"/>
              <a:gd name="connsiteX5" fmla="*/ 3024336 w 5760132"/>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2736304 w 5760132"/>
              <a:gd name="connsiteY4" fmla="*/ 3461908 h 5157788"/>
              <a:gd name="connsiteX5" fmla="*/ 3024336 w 5760132"/>
              <a:gd name="connsiteY5" fmla="*/ 0 h 5157788"/>
              <a:gd name="connsiteX0" fmla="*/ 2160240 w 4896036"/>
              <a:gd name="connsiteY0" fmla="*/ 0 h 5157788"/>
              <a:gd name="connsiteX1" fmla="*/ 4896036 w 4896036"/>
              <a:gd name="connsiteY1" fmla="*/ 0 h 5157788"/>
              <a:gd name="connsiteX2" fmla="*/ 4896036 w 4896036"/>
              <a:gd name="connsiteY2" fmla="*/ 5157788 h 5157788"/>
              <a:gd name="connsiteX3" fmla="*/ 0 w 4896036"/>
              <a:gd name="connsiteY3" fmla="*/ 5153180 h 5157788"/>
              <a:gd name="connsiteX4" fmla="*/ 1872208 w 4896036"/>
              <a:gd name="connsiteY4" fmla="*/ 3461908 h 5157788"/>
              <a:gd name="connsiteX5" fmla="*/ 2160240 w 4896036"/>
              <a:gd name="connsiteY5" fmla="*/ 0 h 5157788"/>
              <a:gd name="connsiteX0" fmla="*/ 2232248 w 4968044"/>
              <a:gd name="connsiteY0" fmla="*/ 0 h 5157788"/>
              <a:gd name="connsiteX1" fmla="*/ 4968044 w 4968044"/>
              <a:gd name="connsiteY1" fmla="*/ 0 h 5157788"/>
              <a:gd name="connsiteX2" fmla="*/ 4968044 w 4968044"/>
              <a:gd name="connsiteY2" fmla="*/ 5157788 h 5157788"/>
              <a:gd name="connsiteX3" fmla="*/ 0 w 4968044"/>
              <a:gd name="connsiteY3" fmla="*/ 5153180 h 5157788"/>
              <a:gd name="connsiteX4" fmla="*/ 1944216 w 4968044"/>
              <a:gd name="connsiteY4" fmla="*/ 3461908 h 5157788"/>
              <a:gd name="connsiteX5" fmla="*/ 2232248 w 4968044"/>
              <a:gd name="connsiteY5" fmla="*/ 0 h 5157788"/>
              <a:gd name="connsiteX0" fmla="*/ 2207679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207679 w 4943475"/>
              <a:gd name="connsiteY5" fmla="*/ 0 h 5157788"/>
              <a:gd name="connsiteX0" fmla="*/ 2963763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963763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092200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71575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343583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675731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675731 w 4943475"/>
              <a:gd name="connsiteY5" fmla="*/ 0 h 5157788"/>
              <a:gd name="connsiteX0" fmla="*/ 2675731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675731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9672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19672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51412" h="5157788">
                <a:moveTo>
                  <a:pt x="2706687" y="0"/>
                </a:moveTo>
                <a:lnTo>
                  <a:pt x="4951412" y="0"/>
                </a:lnTo>
                <a:lnTo>
                  <a:pt x="4951412" y="5157788"/>
                </a:lnTo>
                <a:lnTo>
                  <a:pt x="0" y="5153180"/>
                </a:lnTo>
                <a:cubicBezTo>
                  <a:pt x="84411" y="4542509"/>
                  <a:pt x="183041" y="4024723"/>
                  <a:pt x="1243508" y="2562613"/>
                </a:cubicBezTo>
                <a:cubicBezTo>
                  <a:pt x="1867447" y="1704780"/>
                  <a:pt x="2665955" y="709265"/>
                  <a:pt x="2706687" y="0"/>
                </a:cubicBezTo>
                <a:close/>
              </a:path>
            </a:pathLst>
          </a:custGeom>
          <a:solidFill>
            <a:schemeClr val="bg2"/>
          </a:solidFill>
          <a:ln w="3175">
            <a:noFill/>
          </a:ln>
        </p:spPr>
        <p:txBody>
          <a:bodyPr tIns="720000" rtlCol="0" anchor="ctr">
            <a:noAutofit/>
          </a:bodyPr>
          <a:lstStyle>
            <a:lvl1pPr algn="ctr">
              <a:defRPr sz="1500">
                <a:solidFill>
                  <a:schemeClr val="bg1"/>
                </a:solidFill>
              </a:defRPr>
            </a:lvl1pPr>
          </a:lstStyle>
          <a:p>
            <a:pPr lvl="0"/>
            <a:r>
              <a:rPr lang="en-US" noProof="0"/>
              <a:t>Click icon to add picture</a:t>
            </a:r>
          </a:p>
        </p:txBody>
      </p:sp>
      <p:sp>
        <p:nvSpPr>
          <p:cNvPr id="11" name="Espace réservé de la date 9"/>
          <p:cNvSpPr>
            <a:spLocks noGrp="1"/>
          </p:cNvSpPr>
          <p:nvPr>
            <p:ph type="dt" sz="half" idx="20"/>
          </p:nvPr>
        </p:nvSpPr>
        <p:spPr/>
        <p:txBody>
          <a:bodyPr/>
          <a:lstStyle>
            <a:lvl1pPr>
              <a:defRPr/>
            </a:lvl1pPr>
          </a:lstStyle>
          <a:p>
            <a:pPr>
              <a:defRPr/>
            </a:pPr>
            <a:r>
              <a:rPr lang="en-US">
                <a:solidFill>
                  <a:prstClr val="white">
                    <a:alpha val="0"/>
                  </a:prstClr>
                </a:solidFill>
              </a:rPr>
              <a:t>Date</a:t>
            </a:r>
          </a:p>
        </p:txBody>
      </p:sp>
      <p:sp>
        <p:nvSpPr>
          <p:cNvPr id="12" name="Espace réservé du numéro de diapositive 10"/>
          <p:cNvSpPr>
            <a:spLocks noGrp="1"/>
          </p:cNvSpPr>
          <p:nvPr>
            <p:ph type="sldNum" sz="quarter" idx="21"/>
          </p:nvPr>
        </p:nvSpPr>
        <p:spPr/>
        <p:txBody>
          <a:bodyPr/>
          <a:lstStyle>
            <a:lvl1pPr>
              <a:defRPr sz="100">
                <a:solidFill>
                  <a:schemeClr val="bg1">
                    <a:alpha val="0"/>
                  </a:schemeClr>
                </a:solidFill>
              </a:defRPr>
            </a:lvl1pPr>
          </a:lstStyle>
          <a:p>
            <a:pPr>
              <a:defRPr/>
            </a:pPr>
            <a:r>
              <a:rPr lang="en-US">
                <a:solidFill>
                  <a:prstClr val="white">
                    <a:alpha val="0"/>
                  </a:prstClr>
                </a:solidFill>
              </a:rPr>
              <a:t>Page: </a:t>
            </a:r>
            <a:fld id="{168EB3F5-198F-4211-80D0-E690EB6CEA77}" type="slidenum">
              <a:rPr lang="en-US">
                <a:solidFill>
                  <a:prstClr val="white">
                    <a:alpha val="0"/>
                  </a:prstClr>
                </a:solidFill>
              </a:rPr>
              <a:pPr>
                <a:defRPr/>
              </a:pPr>
              <a:t>‹#›</a:t>
            </a:fld>
            <a:endParaRPr lang="en-US">
              <a:solidFill>
                <a:prstClr val="white">
                  <a:alpha val="0"/>
                </a:prstClr>
              </a:solidFill>
            </a:endParaRPr>
          </a:p>
        </p:txBody>
      </p:sp>
      <p:sp>
        <p:nvSpPr>
          <p:cNvPr id="14" name="Espace réservé du pied de page 11"/>
          <p:cNvSpPr>
            <a:spLocks noGrp="1"/>
          </p:cNvSpPr>
          <p:nvPr>
            <p:ph type="ftr" sz="quarter" idx="22"/>
          </p:nvPr>
        </p:nvSpPr>
        <p:spPr>
          <a:xfrm>
            <a:off x="468313" y="523875"/>
            <a:ext cx="4824412" cy="360363"/>
          </a:xfrm>
        </p:spPr>
        <p:txBody>
          <a:bodyPr/>
          <a:lstStyle>
            <a:lvl1pPr algn="l">
              <a:defRPr sz="1800" b="0">
                <a:solidFill>
                  <a:schemeClr val="bg1"/>
                </a:solidFill>
              </a:defRPr>
            </a:lvl1pPr>
          </a:lstStyle>
          <a:p>
            <a:pPr>
              <a:defRPr/>
            </a:pPr>
            <a:r>
              <a:rPr lang="en-US">
                <a:solidFill>
                  <a:prstClr val="white"/>
                </a:solidFill>
              </a:rPr>
              <a:t>#</a:t>
            </a:r>
            <a:r>
              <a:rPr lang="en-US" err="1">
                <a:solidFill>
                  <a:prstClr val="white"/>
                </a:solidFill>
              </a:rPr>
              <a:t>vaccineswork</a:t>
            </a:r>
            <a:endParaRPr lang="en-US">
              <a:solidFill>
                <a:prstClr val="white"/>
              </a:solidFill>
            </a:endParaRPr>
          </a:p>
        </p:txBody>
      </p:sp>
    </p:spTree>
    <p:extLst>
      <p:ext uri="{BB962C8B-B14F-4D97-AF65-F5344CB8AC3E}">
        <p14:creationId xmlns:p14="http://schemas.microsoft.com/office/powerpoint/2010/main" val="268109975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hank_you_1">
    <p:spTree>
      <p:nvGrpSpPr>
        <p:cNvPr id="1" name=""/>
        <p:cNvGrpSpPr/>
        <p:nvPr/>
      </p:nvGrpSpPr>
      <p:grpSpPr>
        <a:xfrm>
          <a:off x="0" y="0"/>
          <a:ext cx="0" cy="0"/>
          <a:chOff x="0" y="0"/>
          <a:chExt cx="0" cy="0"/>
        </a:xfrm>
      </p:grpSpPr>
      <p:pic>
        <p:nvPicPr>
          <p:cNvPr id="26" name="Image 25" descr="Image_03.jpg"/>
          <p:cNvPicPr>
            <a:picLocks noChangeAspect="1"/>
          </p:cNvPicPr>
          <p:nvPr userDrawn="1"/>
        </p:nvPicPr>
        <p:blipFill>
          <a:blip r:embed="rId2" cstate="print"/>
          <a:stretch>
            <a:fillRect/>
          </a:stretch>
        </p:blipFill>
        <p:spPr bwMode="gray">
          <a:xfrm>
            <a:off x="4068000" y="0"/>
            <a:ext cx="5076000" cy="5185751"/>
          </a:xfrm>
          <a:prstGeom prst="rect">
            <a:avLst/>
          </a:prstGeom>
        </p:spPr>
      </p:pic>
      <p:sp>
        <p:nvSpPr>
          <p:cNvPr id="14" name="Forme libre 13"/>
          <p:cNvSpPr/>
          <p:nvPr userDrawn="1"/>
        </p:nvSpPr>
        <p:spPr bwMode="gray">
          <a:xfrm>
            <a:off x="1" y="0"/>
            <a:ext cx="6899275" cy="5157788"/>
          </a:xfrm>
          <a:custGeom>
            <a:avLst/>
            <a:gdLst>
              <a:gd name="connsiteX0" fmla="*/ 0 w 6899275"/>
              <a:gd name="connsiteY0" fmla="*/ 0 h 5157788"/>
              <a:gd name="connsiteX1" fmla="*/ 6899275 w 6899275"/>
              <a:gd name="connsiteY1" fmla="*/ 0 h 5157788"/>
              <a:gd name="connsiteX2" fmla="*/ 5436096 w 6899275"/>
              <a:gd name="connsiteY2" fmla="*/ 2564905 h 5157788"/>
              <a:gd name="connsiteX3" fmla="*/ 4192589 w 6899275"/>
              <a:gd name="connsiteY3" fmla="*/ 5157788 h 5157788"/>
              <a:gd name="connsiteX4" fmla="*/ 0 w 6899275"/>
              <a:gd name="connsiteY4" fmla="*/ 5157788 h 51577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9275" h="5157788">
                <a:moveTo>
                  <a:pt x="0" y="0"/>
                </a:moveTo>
                <a:lnTo>
                  <a:pt x="6899275" y="0"/>
                </a:lnTo>
                <a:cubicBezTo>
                  <a:pt x="6858543" y="709899"/>
                  <a:pt x="6060035" y="1706304"/>
                  <a:pt x="5436096" y="2564905"/>
                </a:cubicBezTo>
                <a:cubicBezTo>
                  <a:pt x="4375629" y="4028322"/>
                  <a:pt x="4276999" y="4546571"/>
                  <a:pt x="4192589" y="5157788"/>
                </a:cubicBezTo>
                <a:lnTo>
                  <a:pt x="0" y="5157788"/>
                </a:lnTo>
                <a:close/>
              </a:path>
            </a:pathLst>
          </a:custGeom>
          <a:blipFill>
            <a:blip r:embed="rId3" cstate="prin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22" name="Rectangle 21"/>
          <p:cNvSpPr/>
          <p:nvPr userDrawn="1"/>
        </p:nvSpPr>
        <p:spPr bwMode="gray">
          <a:xfrm>
            <a:off x="3635375" y="5265204"/>
            <a:ext cx="5508625" cy="15927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pic>
        <p:nvPicPr>
          <p:cNvPr id="20" name="Image 19" descr="Bas_couv.png"/>
          <p:cNvPicPr>
            <a:picLocks noChangeAspect="1"/>
          </p:cNvPicPr>
          <p:nvPr userDrawn="1"/>
        </p:nvPicPr>
        <p:blipFill>
          <a:blip r:embed="rId4" cstate="print"/>
          <a:srcRect r="60243" b="722"/>
          <a:stretch>
            <a:fillRect/>
          </a:stretch>
        </p:blipFill>
        <p:spPr bwMode="gray">
          <a:xfrm>
            <a:off x="0" y="5172520"/>
            <a:ext cx="3635375" cy="1685480"/>
          </a:xfrm>
          <a:prstGeom prst="rect">
            <a:avLst/>
          </a:prstGeom>
        </p:spPr>
      </p:pic>
      <p:sp>
        <p:nvSpPr>
          <p:cNvPr id="9" name="Espace réservé du texte 8"/>
          <p:cNvSpPr>
            <a:spLocks noGrp="1"/>
          </p:cNvSpPr>
          <p:nvPr>
            <p:ph type="body" sz="quarter" idx="13" hasCustomPrompt="1"/>
          </p:nvPr>
        </p:nvSpPr>
        <p:spPr bwMode="gray">
          <a:xfrm>
            <a:off x="468000" y="1036800"/>
            <a:ext cx="4824412" cy="2232000"/>
          </a:xfrm>
        </p:spPr>
        <p:txBody>
          <a:bodyPr anchor="b" anchorCtr="0"/>
          <a:lstStyle>
            <a:lvl1pPr marL="0" indent="0" algn="l">
              <a:lnSpc>
                <a:spcPct val="90000"/>
              </a:lnSpc>
              <a:buNone/>
              <a:defRPr sz="2800" b="1" cap="none" baseline="0">
                <a:solidFill>
                  <a:schemeClr val="bg1"/>
                </a:solidFill>
              </a:defRPr>
            </a:lvl1pPr>
            <a:lvl2pPr marL="0" algn="ctr">
              <a:lnSpc>
                <a:spcPct val="100000"/>
              </a:lnSpc>
              <a:spcBef>
                <a:spcPts val="6900"/>
              </a:spcBef>
              <a:defRPr sz="2000" b="1">
                <a:solidFill>
                  <a:schemeClr val="bg1"/>
                </a:solidFill>
              </a:defRPr>
            </a:lvl2pPr>
          </a:lstStyle>
          <a:p>
            <a:pPr lvl="0"/>
            <a:r>
              <a:rPr lang="en-US" noProof="0"/>
              <a:t>TITLE</a:t>
            </a:r>
          </a:p>
        </p:txBody>
      </p:sp>
      <p:sp>
        <p:nvSpPr>
          <p:cNvPr id="10" name="Espace réservé de la date 9"/>
          <p:cNvSpPr>
            <a:spLocks noGrp="1"/>
          </p:cNvSpPr>
          <p:nvPr>
            <p:ph type="dt" sz="half" idx="15"/>
          </p:nvPr>
        </p:nvSpPr>
        <p:spPr bwMode="gray"/>
        <p:txBody>
          <a:bodyPr/>
          <a:lstStyle/>
          <a:p>
            <a:r>
              <a:rPr lang="en-US" noProof="0"/>
              <a:t>Date</a:t>
            </a:r>
          </a:p>
        </p:txBody>
      </p:sp>
      <p:sp>
        <p:nvSpPr>
          <p:cNvPr id="11" name="Espace réservé du numéro de diapositive 10"/>
          <p:cNvSpPr>
            <a:spLocks noGrp="1"/>
          </p:cNvSpPr>
          <p:nvPr>
            <p:ph type="sldNum" sz="quarter" idx="16"/>
          </p:nvPr>
        </p:nvSpPr>
        <p:spPr bwMode="gray"/>
        <p:txBody>
          <a:bodyPr/>
          <a:lstStyle>
            <a:lvl1pPr>
              <a:defRPr sz="100">
                <a:solidFill>
                  <a:schemeClr val="bg1">
                    <a:alpha val="0"/>
                  </a:schemeClr>
                </a:solidFill>
              </a:defRPr>
            </a:lvl1pPr>
          </a:lstStyle>
          <a:p>
            <a:pPr algn="l"/>
            <a:r>
              <a:rPr lang="en-US" noProof="0"/>
              <a:t>Page: </a:t>
            </a:r>
            <a:fld id="{733122C9-A0B9-462F-8757-0847AD287B63}" type="slidenum">
              <a:rPr lang="en-US" noProof="0" smtClean="0"/>
              <a:pPr algn="l"/>
              <a:t>‹#›</a:t>
            </a:fld>
            <a:endParaRPr lang="en-US" noProof="0"/>
          </a:p>
        </p:txBody>
      </p:sp>
      <p:sp>
        <p:nvSpPr>
          <p:cNvPr id="12" name="Espace réservé du pied de page 11"/>
          <p:cNvSpPr>
            <a:spLocks noGrp="1"/>
          </p:cNvSpPr>
          <p:nvPr>
            <p:ph type="ftr" sz="quarter" idx="17"/>
          </p:nvPr>
        </p:nvSpPr>
        <p:spPr bwMode="gray">
          <a:xfrm>
            <a:off x="468312" y="524188"/>
            <a:ext cx="4824413" cy="360000"/>
          </a:xfrm>
        </p:spPr>
        <p:txBody>
          <a:bodyPr/>
          <a:lstStyle>
            <a:lvl1pPr algn="l">
              <a:defRPr sz="1800" b="0">
                <a:solidFill>
                  <a:schemeClr val="bg1"/>
                </a:solidFill>
              </a:defRPr>
            </a:lvl1pPr>
          </a:lstStyle>
          <a:p>
            <a:r>
              <a:rPr lang="en-US" noProof="0"/>
              <a:t>#add your hashtag</a:t>
            </a:r>
          </a:p>
        </p:txBody>
      </p:sp>
      <p:sp>
        <p:nvSpPr>
          <p:cNvPr id="15" name="Espace réservé du texte 14"/>
          <p:cNvSpPr>
            <a:spLocks noGrp="1"/>
          </p:cNvSpPr>
          <p:nvPr>
            <p:ph type="body" sz="quarter" idx="19" hasCustomPrompt="1"/>
          </p:nvPr>
        </p:nvSpPr>
        <p:spPr bwMode="gray">
          <a:xfrm>
            <a:off x="3635376" y="6021388"/>
            <a:ext cx="5113338" cy="324000"/>
          </a:xfrm>
        </p:spPr>
        <p:txBody>
          <a:bodyPr anchor="b" anchorCtr="0"/>
          <a:lstStyle>
            <a:lvl1pPr algn="r">
              <a:lnSpc>
                <a:spcPct val="100000"/>
              </a:lnSpc>
              <a:defRPr sz="1000" b="1">
                <a:solidFill>
                  <a:schemeClr val="accent2"/>
                </a:solidFill>
              </a:defRPr>
            </a:lvl1pPr>
          </a:lstStyle>
          <a:p>
            <a:pPr lvl="0"/>
            <a:r>
              <a:rPr lang="en-US" noProof="0"/>
              <a:t>Write your claim here</a:t>
            </a:r>
          </a:p>
        </p:txBody>
      </p:sp>
      <p:sp>
        <p:nvSpPr>
          <p:cNvPr id="16" name="Rectangle 15"/>
          <p:cNvSpPr/>
          <p:nvPr userDrawn="1"/>
        </p:nvSpPr>
        <p:spPr bwMode="gray">
          <a:xfrm>
            <a:off x="3635375" y="6354202"/>
            <a:ext cx="5113338" cy="2872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r"/>
            <a:r>
              <a:rPr lang="en-US" sz="1000" noProof="0">
                <a:solidFill>
                  <a:schemeClr val="accent3"/>
                </a:solidFill>
              </a:rPr>
              <a:t>www.gavi.org</a:t>
            </a:r>
          </a:p>
        </p:txBody>
      </p:sp>
      <p:sp>
        <p:nvSpPr>
          <p:cNvPr id="19" name="Rectangle 18"/>
          <p:cNvSpPr/>
          <p:nvPr userDrawn="1"/>
        </p:nvSpPr>
        <p:spPr bwMode="gray">
          <a:xfrm>
            <a:off x="468313" y="3391895"/>
            <a:ext cx="2448000" cy="252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7" name="Espace réservé du texte 16"/>
          <p:cNvSpPr>
            <a:spLocks noGrp="1"/>
          </p:cNvSpPr>
          <p:nvPr>
            <p:ph type="body" sz="quarter" idx="20" hasCustomPrompt="1"/>
          </p:nvPr>
        </p:nvSpPr>
        <p:spPr bwMode="gray">
          <a:xfrm>
            <a:off x="0" y="5157788"/>
            <a:ext cx="9144000" cy="287337"/>
          </a:xfrm>
          <a:solidFill>
            <a:schemeClr val="bg1"/>
          </a:solidFill>
        </p:spPr>
        <p:txBody>
          <a:bodyPr/>
          <a:lstStyle>
            <a:lvl1pPr>
              <a:defRPr sz="100" b="0">
                <a:solidFill>
                  <a:schemeClr val="bg1">
                    <a:alpha val="0"/>
                  </a:schemeClr>
                </a:solidFill>
              </a:defRPr>
            </a:lvl1pPr>
          </a:lstStyle>
          <a:p>
            <a:pPr lvl="0"/>
            <a:r>
              <a:rPr lang="en-US" noProof="0"/>
              <a:t> </a:t>
            </a:r>
          </a:p>
        </p:txBody>
      </p:sp>
    </p:spTree>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userDrawn="1">
  <p:cSld name="Text and Visual">
    <p:spTree>
      <p:nvGrpSpPr>
        <p:cNvPr id="1" name=""/>
        <p:cNvGrpSpPr/>
        <p:nvPr/>
      </p:nvGrpSpPr>
      <p:grpSpPr>
        <a:xfrm>
          <a:off x="0" y="0"/>
          <a:ext cx="0" cy="0"/>
          <a:chOff x="0" y="0"/>
          <a:chExt cx="0" cy="0"/>
        </a:xfrm>
      </p:grpSpPr>
      <p:sp>
        <p:nvSpPr>
          <p:cNvPr id="2" name="Title 1"/>
          <p:cNvSpPr>
            <a:spLocks noGrp="1"/>
          </p:cNvSpPr>
          <p:nvPr>
            <p:ph type="title"/>
          </p:nvPr>
        </p:nvSpPr>
        <p:spPr>
          <a:xfrm>
            <a:off x="973138" y="225211"/>
            <a:ext cx="7207249" cy="697999"/>
          </a:xfrm>
        </p:spPr>
        <p:txBody>
          <a:bodyPr/>
          <a:lstStyle/>
          <a:p>
            <a:r>
              <a:rPr lang="en-US"/>
              <a:t>Click to edit Master title style</a:t>
            </a:r>
          </a:p>
        </p:txBody>
      </p:sp>
      <p:sp>
        <p:nvSpPr>
          <p:cNvPr id="4" name="Content Placeholder 3"/>
          <p:cNvSpPr>
            <a:spLocks noGrp="1"/>
          </p:cNvSpPr>
          <p:nvPr>
            <p:ph sz="half" idx="2"/>
          </p:nvPr>
        </p:nvSpPr>
        <p:spPr>
          <a:xfrm>
            <a:off x="3425825" y="2302159"/>
            <a:ext cx="4754564" cy="2541673"/>
          </a:xfrm>
        </p:spPr>
        <p:txBody>
          <a:bodyPr/>
          <a:lstStyle>
            <a:lvl1pPr>
              <a:defRPr sz="1600"/>
            </a:lvl1pPr>
            <a:lvl2pPr marL="457200" indent="0">
              <a:buNone/>
              <a:defRPr sz="1600"/>
            </a:lvl2pPr>
            <a:lvl3pPr marL="914400" indent="0">
              <a:buNone/>
              <a:defRPr sz="1600"/>
            </a:lvl3pPr>
            <a:lvl4pPr marL="1371600" indent="0">
              <a:buNone/>
              <a:defRPr sz="1600"/>
            </a:lvl4pPr>
            <a:lvl5pPr marL="1828800" indent="0">
              <a:buNone/>
              <a:defRPr sz="16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p:cNvSpPr>
            <a:spLocks noGrp="1"/>
          </p:cNvSpPr>
          <p:nvPr>
            <p:ph type="pic" sz="quarter" idx="13"/>
          </p:nvPr>
        </p:nvSpPr>
        <p:spPr>
          <a:xfrm>
            <a:off x="973138" y="1247776"/>
            <a:ext cx="2300287" cy="3450384"/>
          </a:xfrm>
        </p:spPr>
        <p:txBody>
          <a:bodyPr rtlCol="0">
            <a:noAutofit/>
          </a:bodyPr>
          <a:lstStyle/>
          <a:p>
            <a:pPr lvl="0"/>
            <a:endParaRPr lang="en-US" noProof="0"/>
          </a:p>
        </p:txBody>
      </p:sp>
      <p:sp>
        <p:nvSpPr>
          <p:cNvPr id="10" name="Content Placeholder 3"/>
          <p:cNvSpPr>
            <a:spLocks noGrp="1"/>
          </p:cNvSpPr>
          <p:nvPr>
            <p:ph sz="half" idx="14"/>
          </p:nvPr>
        </p:nvSpPr>
        <p:spPr>
          <a:xfrm>
            <a:off x="3425825" y="1241426"/>
            <a:ext cx="4754564" cy="879316"/>
          </a:xfrm>
        </p:spPr>
        <p:txBody>
          <a:bodyPr/>
          <a:lstStyle>
            <a:lvl1pPr marL="0" indent="0">
              <a:buNone/>
              <a:defRPr sz="1600">
                <a:solidFill>
                  <a:srgbClr val="005CB9"/>
                </a:solidFill>
              </a:defRPr>
            </a:lvl1pPr>
            <a:lvl2pPr marL="457200" indent="0">
              <a:buNone/>
              <a:defRPr sz="1400">
                <a:solidFill>
                  <a:srgbClr val="005CB9"/>
                </a:solidFill>
              </a:defRPr>
            </a:lvl2pPr>
            <a:lvl3pPr marL="914400" indent="0">
              <a:buNone/>
              <a:defRPr sz="1400">
                <a:solidFill>
                  <a:srgbClr val="005CB9"/>
                </a:solidFill>
              </a:defRPr>
            </a:lvl3pPr>
            <a:lvl4pPr marL="1371600" indent="0">
              <a:buNone/>
              <a:defRPr sz="1400">
                <a:solidFill>
                  <a:srgbClr val="005CB9"/>
                </a:solidFill>
              </a:defRPr>
            </a:lvl4pPr>
            <a:lvl5pPr marL="1828800" indent="0">
              <a:buNone/>
              <a:defRPr sz="1400">
                <a:solidFill>
                  <a:srgbClr val="005CB9"/>
                </a:solidFill>
              </a:defRPr>
            </a:lvl5pPr>
            <a:lvl6pPr>
              <a:defRPr sz="1800"/>
            </a:lvl6pPr>
            <a:lvl7pPr>
              <a:defRPr sz="1800"/>
            </a:lvl7pPr>
            <a:lvl8pPr>
              <a:defRPr sz="1800"/>
            </a:lvl8pPr>
            <a:lvl9pPr>
              <a:defRPr sz="1800"/>
            </a:lvl9pPr>
          </a:lstStyle>
          <a:p>
            <a:pPr lvl="0"/>
            <a:r>
              <a:rPr lang="en-US"/>
              <a:t>Click to edit Master text styles</a:t>
            </a:r>
          </a:p>
        </p:txBody>
      </p:sp>
      <p:sp>
        <p:nvSpPr>
          <p:cNvPr id="6" name="Footer Placeholder 5"/>
          <p:cNvSpPr>
            <a:spLocks noGrp="1"/>
          </p:cNvSpPr>
          <p:nvPr>
            <p:ph type="ftr" sz="quarter" idx="15"/>
          </p:nvPr>
        </p:nvSpPr>
        <p:spPr/>
        <p:txBody>
          <a:bodyPr/>
          <a:lstStyle>
            <a:lvl1pPr>
              <a:defRPr/>
            </a:lvl1pPr>
          </a:lstStyle>
          <a:p>
            <a:pPr>
              <a:defRPr/>
            </a:pPr>
            <a:r>
              <a:rPr lang="en-US">
                <a:solidFill>
                  <a:srgbClr val="005CB9"/>
                </a:solidFill>
              </a:rPr>
              <a:t>Basic facts about </a:t>
            </a:r>
            <a:r>
              <a:rPr lang="en-US" err="1">
                <a:solidFill>
                  <a:srgbClr val="005CB9"/>
                </a:solidFill>
              </a:rPr>
              <a:t>Gavi</a:t>
            </a:r>
            <a:r>
              <a:rPr lang="en-US">
                <a:solidFill>
                  <a:srgbClr val="005CB9"/>
                </a:solidFill>
              </a:rPr>
              <a:t> the Vaccine Alliance</a:t>
            </a:r>
          </a:p>
        </p:txBody>
      </p:sp>
      <p:sp>
        <p:nvSpPr>
          <p:cNvPr id="7" name="Slide Number Placeholder 6"/>
          <p:cNvSpPr>
            <a:spLocks noGrp="1"/>
          </p:cNvSpPr>
          <p:nvPr>
            <p:ph type="sldNum" sz="quarter" idx="16"/>
          </p:nvPr>
        </p:nvSpPr>
        <p:spPr/>
        <p:txBody>
          <a:bodyPr/>
          <a:lstStyle>
            <a:lvl1pPr algn="ctr">
              <a:defRPr/>
            </a:lvl1pPr>
          </a:lstStyle>
          <a:p>
            <a:pPr>
              <a:defRPr/>
            </a:pPr>
            <a:fld id="{FFE8DD00-E6C1-42A5-A44D-4115350A5429}" type="slidenum">
              <a:rPr lang="en-US">
                <a:solidFill>
                  <a:srgbClr val="343434"/>
                </a:solidFill>
              </a:rPr>
              <a:pPr>
                <a:defRPr/>
              </a:pPr>
              <a:t>‹#›</a:t>
            </a:fld>
            <a:endParaRPr lang="en-US">
              <a:solidFill>
                <a:srgbClr val="343434"/>
              </a:solidFill>
            </a:endParaRPr>
          </a:p>
        </p:txBody>
      </p:sp>
    </p:spTree>
    <p:extLst>
      <p:ext uri="{BB962C8B-B14F-4D97-AF65-F5344CB8AC3E}">
        <p14:creationId xmlns:p14="http://schemas.microsoft.com/office/powerpoint/2010/main" val="3577086100"/>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userDrawn="1">
  <p:cSld name="Text&amp;4_Blocks_Layout">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p:txBody>
          <a:bodyPr/>
          <a:lstStyle/>
          <a:p>
            <a:r>
              <a:rPr lang="en-GB" noProof="0"/>
              <a:t>TITLE</a:t>
            </a:r>
          </a:p>
        </p:txBody>
      </p:sp>
      <p:sp>
        <p:nvSpPr>
          <p:cNvPr id="10" name="Espace réservé du texte 9"/>
          <p:cNvSpPr>
            <a:spLocks noGrp="1"/>
          </p:cNvSpPr>
          <p:nvPr>
            <p:ph type="body" sz="quarter" idx="13" hasCustomPrompt="1"/>
          </p:nvPr>
        </p:nvSpPr>
        <p:spPr bwMode="gray">
          <a:xfrm>
            <a:off x="935038" y="1304924"/>
            <a:ext cx="7345362" cy="936626"/>
          </a:xfrm>
        </p:spPr>
        <p:txBody>
          <a:body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8" name="Espace réservé de la date 7"/>
          <p:cNvSpPr>
            <a:spLocks noGrp="1"/>
          </p:cNvSpPr>
          <p:nvPr>
            <p:ph type="dt" sz="half" idx="14"/>
          </p:nvPr>
        </p:nvSpPr>
        <p:spPr bwMode="gray"/>
        <p:txBody>
          <a:bodyPr/>
          <a:lstStyle/>
          <a:p>
            <a:r>
              <a:rPr lang="en-US">
                <a:solidFill>
                  <a:prstClr val="white">
                    <a:alpha val="0"/>
                  </a:prstClr>
                </a:solidFill>
              </a:rPr>
              <a:t>Date</a:t>
            </a:r>
            <a:endParaRPr lang="en-GB">
              <a:solidFill>
                <a:prstClr val="white">
                  <a:alpha val="0"/>
                </a:prstClr>
              </a:solidFill>
            </a:endParaRPr>
          </a:p>
        </p:txBody>
      </p:sp>
      <p:sp>
        <p:nvSpPr>
          <p:cNvPr id="9" name="Espace réservé du numéro de diapositive 8"/>
          <p:cNvSpPr>
            <a:spLocks noGrp="1"/>
          </p:cNvSpPr>
          <p:nvPr>
            <p:ph type="sldNum" sz="quarter" idx="15"/>
          </p:nvPr>
        </p:nvSpPr>
        <p:spPr bwMode="gray"/>
        <p:txBody>
          <a:bodyPr/>
          <a:lstStyle/>
          <a:p>
            <a:fld id="{733122C9-A0B9-462F-8757-0847AD287B63}" type="slidenum">
              <a:rPr lang="en-GB" smtClean="0">
                <a:solidFill>
                  <a:srgbClr val="343434"/>
                </a:solidFill>
              </a:rPr>
              <a:pPr/>
              <a:t>‹#›</a:t>
            </a:fld>
            <a:endParaRPr lang="en-GB">
              <a:solidFill>
                <a:srgbClr val="343434"/>
              </a:solidFill>
            </a:endParaRPr>
          </a:p>
        </p:txBody>
      </p:sp>
      <p:sp>
        <p:nvSpPr>
          <p:cNvPr id="11" name="Espace réservé du pied de page 10"/>
          <p:cNvSpPr>
            <a:spLocks noGrp="1"/>
          </p:cNvSpPr>
          <p:nvPr>
            <p:ph type="ftr" sz="quarter" idx="16"/>
          </p:nvPr>
        </p:nvSpPr>
        <p:spPr bwMode="gray"/>
        <p:txBody>
          <a:bodyPr/>
          <a:lstStyle/>
          <a:p>
            <a:r>
              <a:rPr lang="en-GB">
                <a:solidFill>
                  <a:srgbClr val="005CB9"/>
                </a:solidFill>
              </a:rPr>
              <a:t>#vaccineswork</a:t>
            </a:r>
          </a:p>
        </p:txBody>
      </p:sp>
      <p:sp>
        <p:nvSpPr>
          <p:cNvPr id="21" name="Espace réservé du texte 9"/>
          <p:cNvSpPr>
            <a:spLocks noGrp="1"/>
          </p:cNvSpPr>
          <p:nvPr>
            <p:ph type="body" sz="quarter" idx="19" hasCustomPrompt="1"/>
          </p:nvPr>
        </p:nvSpPr>
        <p:spPr bwMode="gray">
          <a:xfrm>
            <a:off x="935038" y="2241550"/>
            <a:ext cx="3564000" cy="324000"/>
          </a:xfrm>
          <a:solidFill>
            <a:schemeClr val="accent1"/>
          </a:solidFill>
          <a:ln w="9525">
            <a:solidFill>
              <a:schemeClr val="accent1"/>
            </a:solidFill>
          </a:ln>
        </p:spPr>
        <p:txBody>
          <a:bodyPr anchor="ctr" anchorCtr="0"/>
          <a:lstStyle>
            <a:lvl1pPr algn="ctr">
              <a:lnSpc>
                <a:spcPct val="100000"/>
              </a:lnSpc>
              <a:defRPr>
                <a:solidFill>
                  <a:schemeClr val="bg1"/>
                </a:solidFill>
              </a:defRPr>
            </a:lvl1pPr>
          </a:lstStyle>
          <a:p>
            <a:pPr lvl="0"/>
            <a:r>
              <a:rPr lang="en-GB" noProof="0"/>
              <a:t>Text level 1</a:t>
            </a:r>
          </a:p>
        </p:txBody>
      </p:sp>
      <p:sp>
        <p:nvSpPr>
          <p:cNvPr id="22" name="Espace réservé du texte 9"/>
          <p:cNvSpPr>
            <a:spLocks noGrp="1"/>
          </p:cNvSpPr>
          <p:nvPr>
            <p:ph type="body" sz="quarter" idx="20" hasCustomPrompt="1"/>
          </p:nvPr>
        </p:nvSpPr>
        <p:spPr bwMode="gray">
          <a:xfrm>
            <a:off x="935038" y="2565550"/>
            <a:ext cx="3564000" cy="1350000"/>
          </a:xfrm>
          <a:ln w="9525">
            <a:solidFill>
              <a:schemeClr val="accent1"/>
            </a:solidFill>
          </a:ln>
        </p:spPr>
        <p:txBody>
          <a:bodyPr tIns="72000"/>
          <a:lstStyle>
            <a:lvl1pPr marL="324000" indent="-180000">
              <a:lnSpc>
                <a:spcPct val="100000"/>
              </a:lnSpc>
              <a:spcBef>
                <a:spcPts val="300"/>
              </a:spcBef>
              <a:buClr>
                <a:schemeClr val="accent3"/>
              </a:buClr>
              <a:buFont typeface="Arial" pitchFamily="34" charset="0"/>
              <a:buChar char="•"/>
              <a:defRPr sz="1800">
                <a:solidFill>
                  <a:schemeClr val="tx1"/>
                </a:solidFill>
              </a:defRPr>
            </a:lvl1pPr>
            <a:lvl2pPr marL="504000">
              <a:buClr>
                <a:schemeClr val="tx1"/>
              </a:buClr>
              <a:defRPr sz="1600" b="0"/>
            </a:lvl2pPr>
            <a:lvl3pPr indent="0">
              <a:buNone/>
              <a:defRPr/>
            </a:lvl3pPr>
            <a:lvl4pPr marL="684000" indent="-180000">
              <a:buClr>
                <a:schemeClr val="tx1"/>
              </a:buClr>
              <a:buFont typeface="Arial" pitchFamily="34" charset="0"/>
              <a:buChar char="•"/>
              <a:defRPr sz="1400"/>
            </a:lvl4pPr>
          </a:lstStyle>
          <a:p>
            <a:pPr lvl="0"/>
            <a:r>
              <a:rPr lang="en-GB" noProof="0"/>
              <a:t>Text level 2</a:t>
            </a:r>
          </a:p>
          <a:p>
            <a:pPr lvl="1"/>
            <a:r>
              <a:rPr lang="en-GB" noProof="0"/>
              <a:t>Text level 3</a:t>
            </a:r>
          </a:p>
          <a:p>
            <a:pPr lvl="2"/>
            <a:r>
              <a:rPr lang="en-GB" noProof="0"/>
              <a:t>Text level 4</a:t>
            </a:r>
          </a:p>
          <a:p>
            <a:pPr lvl="3"/>
            <a:r>
              <a:rPr lang="en-GB" noProof="0"/>
              <a:t>Text level 5</a:t>
            </a:r>
          </a:p>
        </p:txBody>
      </p:sp>
      <p:sp>
        <p:nvSpPr>
          <p:cNvPr id="23" name="Espace réservé du texte 9"/>
          <p:cNvSpPr>
            <a:spLocks noGrp="1"/>
          </p:cNvSpPr>
          <p:nvPr>
            <p:ph type="body" sz="quarter" idx="21" hasCustomPrompt="1"/>
          </p:nvPr>
        </p:nvSpPr>
        <p:spPr bwMode="gray">
          <a:xfrm>
            <a:off x="4716400" y="2241550"/>
            <a:ext cx="3564000" cy="324000"/>
          </a:xfrm>
          <a:solidFill>
            <a:schemeClr val="accent2"/>
          </a:solidFill>
          <a:ln w="9525">
            <a:solidFill>
              <a:schemeClr val="accent2"/>
            </a:solidFill>
          </a:ln>
        </p:spPr>
        <p:txBody>
          <a:bodyPr anchor="ctr" anchorCtr="0"/>
          <a:lstStyle>
            <a:lvl1pPr algn="ctr">
              <a:lnSpc>
                <a:spcPct val="100000"/>
              </a:lnSpc>
              <a:defRPr>
                <a:solidFill>
                  <a:schemeClr val="bg1"/>
                </a:solidFill>
              </a:defRPr>
            </a:lvl1pPr>
          </a:lstStyle>
          <a:p>
            <a:pPr lvl="0"/>
            <a:r>
              <a:rPr lang="en-GB" noProof="0"/>
              <a:t>Text level 1</a:t>
            </a:r>
          </a:p>
        </p:txBody>
      </p:sp>
      <p:sp>
        <p:nvSpPr>
          <p:cNvPr id="24" name="Espace réservé du texte 9"/>
          <p:cNvSpPr>
            <a:spLocks noGrp="1"/>
          </p:cNvSpPr>
          <p:nvPr>
            <p:ph type="body" sz="quarter" idx="22" hasCustomPrompt="1"/>
          </p:nvPr>
        </p:nvSpPr>
        <p:spPr bwMode="gray">
          <a:xfrm>
            <a:off x="4716400" y="2565550"/>
            <a:ext cx="3564000" cy="1350000"/>
          </a:xfrm>
          <a:ln w="9525">
            <a:solidFill>
              <a:schemeClr val="accent2"/>
            </a:solidFill>
          </a:ln>
        </p:spPr>
        <p:txBody>
          <a:bodyPr tIns="72000"/>
          <a:lstStyle>
            <a:lvl1pPr marL="324000" indent="-180000">
              <a:lnSpc>
                <a:spcPct val="100000"/>
              </a:lnSpc>
              <a:spcBef>
                <a:spcPts val="300"/>
              </a:spcBef>
              <a:buClr>
                <a:schemeClr val="accent3"/>
              </a:buClr>
              <a:buFont typeface="Arial" pitchFamily="34" charset="0"/>
              <a:buChar char="•"/>
              <a:defRPr sz="1800">
                <a:solidFill>
                  <a:schemeClr val="tx1"/>
                </a:solidFill>
              </a:defRPr>
            </a:lvl1pPr>
            <a:lvl2pPr marL="504000">
              <a:buClr>
                <a:schemeClr val="tx1"/>
              </a:buClr>
              <a:defRPr sz="1600" b="0"/>
            </a:lvl2pPr>
            <a:lvl3pPr indent="0">
              <a:buNone/>
              <a:defRPr/>
            </a:lvl3pPr>
            <a:lvl4pPr marL="684000" indent="-180000">
              <a:buClr>
                <a:schemeClr val="tx1"/>
              </a:buClr>
              <a:buFont typeface="Arial" pitchFamily="34" charset="0"/>
              <a:buChar char="•"/>
              <a:defRPr sz="1400"/>
            </a:lvl4pPr>
          </a:lstStyle>
          <a:p>
            <a:pPr lvl="0"/>
            <a:r>
              <a:rPr lang="en-GB" noProof="0"/>
              <a:t>Text level 2</a:t>
            </a:r>
          </a:p>
          <a:p>
            <a:pPr lvl="1"/>
            <a:r>
              <a:rPr lang="en-GB" noProof="0"/>
              <a:t>Text level 3</a:t>
            </a:r>
          </a:p>
          <a:p>
            <a:pPr lvl="2"/>
            <a:r>
              <a:rPr lang="en-GB" noProof="0"/>
              <a:t>Text level 4</a:t>
            </a:r>
          </a:p>
          <a:p>
            <a:pPr lvl="3"/>
            <a:r>
              <a:rPr lang="en-GB" noProof="0"/>
              <a:t>Text level 5</a:t>
            </a:r>
          </a:p>
        </p:txBody>
      </p:sp>
      <p:sp>
        <p:nvSpPr>
          <p:cNvPr id="25" name="Espace réservé du texte 9"/>
          <p:cNvSpPr>
            <a:spLocks noGrp="1"/>
          </p:cNvSpPr>
          <p:nvPr>
            <p:ph type="body" sz="quarter" idx="23" hasCustomPrompt="1"/>
          </p:nvPr>
        </p:nvSpPr>
        <p:spPr bwMode="gray">
          <a:xfrm>
            <a:off x="935038" y="4131488"/>
            <a:ext cx="3564000" cy="324000"/>
          </a:xfrm>
          <a:solidFill>
            <a:schemeClr val="accent3"/>
          </a:solidFill>
          <a:ln w="9525">
            <a:solidFill>
              <a:schemeClr val="accent3"/>
            </a:solidFill>
          </a:ln>
        </p:spPr>
        <p:txBody>
          <a:bodyPr anchor="ctr" anchorCtr="0"/>
          <a:lstStyle>
            <a:lvl1pPr algn="ctr">
              <a:lnSpc>
                <a:spcPct val="100000"/>
              </a:lnSpc>
              <a:defRPr>
                <a:solidFill>
                  <a:schemeClr val="bg1"/>
                </a:solidFill>
              </a:defRPr>
            </a:lvl1pPr>
          </a:lstStyle>
          <a:p>
            <a:pPr lvl="0"/>
            <a:r>
              <a:rPr lang="en-GB" noProof="0"/>
              <a:t>Text level 1</a:t>
            </a:r>
          </a:p>
        </p:txBody>
      </p:sp>
      <p:sp>
        <p:nvSpPr>
          <p:cNvPr id="26" name="Espace réservé du texte 9"/>
          <p:cNvSpPr>
            <a:spLocks noGrp="1"/>
          </p:cNvSpPr>
          <p:nvPr>
            <p:ph type="body" sz="quarter" idx="24" hasCustomPrompt="1"/>
          </p:nvPr>
        </p:nvSpPr>
        <p:spPr bwMode="gray">
          <a:xfrm>
            <a:off x="935038" y="4455488"/>
            <a:ext cx="3564000" cy="1350000"/>
          </a:xfrm>
          <a:ln w="9525">
            <a:solidFill>
              <a:schemeClr val="accent3"/>
            </a:solidFill>
          </a:ln>
        </p:spPr>
        <p:txBody>
          <a:bodyPr tIns="72000"/>
          <a:lstStyle>
            <a:lvl1pPr marL="324000" indent="-180000">
              <a:lnSpc>
                <a:spcPct val="100000"/>
              </a:lnSpc>
              <a:spcBef>
                <a:spcPts val="300"/>
              </a:spcBef>
              <a:buClr>
                <a:schemeClr val="accent3"/>
              </a:buClr>
              <a:buFont typeface="Arial" pitchFamily="34" charset="0"/>
              <a:buChar char="•"/>
              <a:defRPr sz="1800">
                <a:solidFill>
                  <a:schemeClr val="tx1"/>
                </a:solidFill>
              </a:defRPr>
            </a:lvl1pPr>
            <a:lvl2pPr marL="504000">
              <a:buClr>
                <a:schemeClr val="tx1"/>
              </a:buClr>
              <a:defRPr sz="1600" b="0"/>
            </a:lvl2pPr>
            <a:lvl3pPr indent="0">
              <a:buNone/>
              <a:defRPr/>
            </a:lvl3pPr>
            <a:lvl4pPr marL="684000" indent="-180000">
              <a:buClr>
                <a:schemeClr val="tx1"/>
              </a:buClr>
              <a:buFont typeface="Arial" pitchFamily="34" charset="0"/>
              <a:buChar char="•"/>
              <a:defRPr sz="1400"/>
            </a:lvl4pPr>
          </a:lstStyle>
          <a:p>
            <a:pPr lvl="0"/>
            <a:r>
              <a:rPr lang="en-GB" noProof="0"/>
              <a:t>Text level 2</a:t>
            </a:r>
          </a:p>
          <a:p>
            <a:pPr lvl="1"/>
            <a:r>
              <a:rPr lang="en-GB" noProof="0"/>
              <a:t>Text level 3</a:t>
            </a:r>
          </a:p>
          <a:p>
            <a:pPr lvl="2"/>
            <a:r>
              <a:rPr lang="en-GB" noProof="0"/>
              <a:t>Text level 4</a:t>
            </a:r>
          </a:p>
          <a:p>
            <a:pPr lvl="3"/>
            <a:r>
              <a:rPr lang="en-GB" noProof="0"/>
              <a:t>Text level 5</a:t>
            </a:r>
          </a:p>
        </p:txBody>
      </p:sp>
      <p:sp>
        <p:nvSpPr>
          <p:cNvPr id="27" name="Espace réservé du texte 9"/>
          <p:cNvSpPr>
            <a:spLocks noGrp="1"/>
          </p:cNvSpPr>
          <p:nvPr>
            <p:ph type="body" sz="quarter" idx="25" hasCustomPrompt="1"/>
          </p:nvPr>
        </p:nvSpPr>
        <p:spPr bwMode="gray">
          <a:xfrm>
            <a:off x="4716400" y="4131488"/>
            <a:ext cx="3564000" cy="324000"/>
          </a:xfrm>
          <a:solidFill>
            <a:schemeClr val="bg2"/>
          </a:solidFill>
          <a:ln w="9525">
            <a:solidFill>
              <a:schemeClr val="bg2"/>
            </a:solidFill>
          </a:ln>
        </p:spPr>
        <p:txBody>
          <a:bodyPr anchor="ctr" anchorCtr="0"/>
          <a:lstStyle>
            <a:lvl1pPr algn="ctr">
              <a:lnSpc>
                <a:spcPct val="100000"/>
              </a:lnSpc>
              <a:defRPr>
                <a:solidFill>
                  <a:schemeClr val="bg1"/>
                </a:solidFill>
              </a:defRPr>
            </a:lvl1pPr>
          </a:lstStyle>
          <a:p>
            <a:pPr lvl="0"/>
            <a:r>
              <a:rPr lang="en-GB" noProof="0"/>
              <a:t>Text level 1</a:t>
            </a:r>
          </a:p>
        </p:txBody>
      </p:sp>
      <p:sp>
        <p:nvSpPr>
          <p:cNvPr id="28" name="Espace réservé du texte 9"/>
          <p:cNvSpPr>
            <a:spLocks noGrp="1"/>
          </p:cNvSpPr>
          <p:nvPr>
            <p:ph type="body" sz="quarter" idx="26" hasCustomPrompt="1"/>
          </p:nvPr>
        </p:nvSpPr>
        <p:spPr bwMode="gray">
          <a:xfrm>
            <a:off x="4716400" y="4455488"/>
            <a:ext cx="3564000" cy="1350000"/>
          </a:xfrm>
          <a:ln w="9525">
            <a:solidFill>
              <a:schemeClr val="bg2"/>
            </a:solidFill>
          </a:ln>
        </p:spPr>
        <p:txBody>
          <a:bodyPr tIns="72000"/>
          <a:lstStyle>
            <a:lvl1pPr marL="324000" indent="-180000">
              <a:lnSpc>
                <a:spcPct val="100000"/>
              </a:lnSpc>
              <a:spcBef>
                <a:spcPts val="300"/>
              </a:spcBef>
              <a:buClr>
                <a:schemeClr val="accent3"/>
              </a:buClr>
              <a:buFont typeface="Arial" pitchFamily="34" charset="0"/>
              <a:buChar char="•"/>
              <a:defRPr sz="1800">
                <a:solidFill>
                  <a:schemeClr val="tx1"/>
                </a:solidFill>
              </a:defRPr>
            </a:lvl1pPr>
            <a:lvl2pPr marL="504000">
              <a:buClr>
                <a:schemeClr val="tx1"/>
              </a:buClr>
              <a:defRPr sz="1600" b="0"/>
            </a:lvl2pPr>
            <a:lvl3pPr indent="0">
              <a:buNone/>
              <a:defRPr/>
            </a:lvl3pPr>
            <a:lvl4pPr marL="684000" indent="-180000">
              <a:buClr>
                <a:schemeClr val="tx1"/>
              </a:buClr>
              <a:buFont typeface="Arial" pitchFamily="34" charset="0"/>
              <a:buChar char="•"/>
              <a:defRPr sz="1400"/>
            </a:lvl4pPr>
          </a:lstStyle>
          <a:p>
            <a:pPr lvl="0"/>
            <a:r>
              <a:rPr lang="en-GB" noProof="0"/>
              <a:t>Text level 2</a:t>
            </a:r>
          </a:p>
          <a:p>
            <a:pPr lvl="1"/>
            <a:r>
              <a:rPr lang="en-GB" noProof="0"/>
              <a:t>Text level 3</a:t>
            </a:r>
          </a:p>
          <a:p>
            <a:pPr lvl="2"/>
            <a:r>
              <a:rPr lang="en-GB" noProof="0"/>
              <a:t>Text level 4</a:t>
            </a:r>
          </a:p>
          <a:p>
            <a:pPr lvl="3"/>
            <a:r>
              <a:rPr lang="en-GB" noProof="0"/>
              <a:t>Text level 5</a:t>
            </a:r>
          </a:p>
        </p:txBody>
      </p:sp>
    </p:spTree>
    <p:extLst>
      <p:ext uri="{BB962C8B-B14F-4D97-AF65-F5344CB8AC3E}">
        <p14:creationId xmlns:p14="http://schemas.microsoft.com/office/powerpoint/2010/main" val="2024978947"/>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pic>
        <p:nvPicPr>
          <p:cNvPr id="19" name="Image 18" descr="FD_02.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gray">
          <a:xfrm>
            <a:off x="0" y="0"/>
            <a:ext cx="9144000" cy="5157788"/>
          </a:xfrm>
          <a:prstGeom prst="rect">
            <a:avLst/>
          </a:prstGeom>
        </p:spPr>
      </p:pic>
      <p:sp>
        <p:nvSpPr>
          <p:cNvPr id="22" name="Rectangle 21"/>
          <p:cNvSpPr/>
          <p:nvPr userDrawn="1"/>
        </p:nvSpPr>
        <p:spPr bwMode="gray">
          <a:xfrm>
            <a:off x="3635375" y="5265204"/>
            <a:ext cx="5508625" cy="15927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pic>
        <p:nvPicPr>
          <p:cNvPr id="20" name="Image 19" descr="Bas_couv.png"/>
          <p:cNvPicPr>
            <a:picLocks noChangeAspect="1"/>
          </p:cNvPicPr>
          <p:nvPr userDrawn="1"/>
        </p:nvPicPr>
        <p:blipFill>
          <a:blip r:embed="rId3" cstate="screen">
            <a:extLst>
              <a:ext uri="{28A0092B-C50C-407E-A947-70E740481C1C}">
                <a14:useLocalDpi xmlns:a14="http://schemas.microsoft.com/office/drawing/2010/main"/>
              </a:ext>
            </a:extLst>
          </a:blip>
          <a:srcRect/>
          <a:stretch>
            <a:fillRect/>
          </a:stretch>
        </p:blipFill>
        <p:spPr bwMode="gray">
          <a:xfrm>
            <a:off x="0" y="5172520"/>
            <a:ext cx="3635375" cy="1685480"/>
          </a:xfrm>
          <a:prstGeom prst="rect">
            <a:avLst/>
          </a:prstGeom>
        </p:spPr>
      </p:pic>
      <p:sp>
        <p:nvSpPr>
          <p:cNvPr id="9" name="Espace réservé du texte 8"/>
          <p:cNvSpPr>
            <a:spLocks noGrp="1"/>
          </p:cNvSpPr>
          <p:nvPr>
            <p:ph type="body" sz="quarter" idx="13" hasCustomPrompt="1"/>
          </p:nvPr>
        </p:nvSpPr>
        <p:spPr bwMode="gray">
          <a:xfrm>
            <a:off x="468314" y="1036800"/>
            <a:ext cx="4824412" cy="2232000"/>
          </a:xfrm>
        </p:spPr>
        <p:txBody>
          <a:bodyPr anchor="b" anchorCtr="0"/>
          <a:lstStyle>
            <a:lvl1pPr marL="0" indent="0" algn="l">
              <a:lnSpc>
                <a:spcPct val="90000"/>
              </a:lnSpc>
              <a:buNone/>
              <a:defRPr sz="2800" b="1" cap="none" baseline="0">
                <a:solidFill>
                  <a:schemeClr val="bg1"/>
                </a:solidFill>
              </a:defRPr>
            </a:lvl1pPr>
            <a:lvl2pPr marL="0" algn="ctr">
              <a:lnSpc>
                <a:spcPct val="100000"/>
              </a:lnSpc>
              <a:spcBef>
                <a:spcPts val="6900"/>
              </a:spcBef>
              <a:defRPr sz="2000" b="1">
                <a:solidFill>
                  <a:schemeClr val="bg1"/>
                </a:solidFill>
              </a:defRPr>
            </a:lvl2pPr>
          </a:lstStyle>
          <a:p>
            <a:pPr lvl="0"/>
            <a:r>
              <a:rPr lang="en-US" noProof="0"/>
              <a:t>TITLE</a:t>
            </a:r>
          </a:p>
        </p:txBody>
      </p:sp>
      <p:sp>
        <p:nvSpPr>
          <p:cNvPr id="8" name="Espace réservé du texte 8"/>
          <p:cNvSpPr>
            <a:spLocks noGrp="1"/>
          </p:cNvSpPr>
          <p:nvPr>
            <p:ph type="body" sz="quarter" idx="14" hasCustomPrompt="1"/>
          </p:nvPr>
        </p:nvSpPr>
        <p:spPr bwMode="gray">
          <a:xfrm>
            <a:off x="468314" y="3585600"/>
            <a:ext cx="4824411" cy="1479600"/>
          </a:xfrm>
        </p:spPr>
        <p:txBody>
          <a:bodyPr anchor="t" anchorCtr="0"/>
          <a:lstStyle>
            <a:lvl1pPr marL="0" indent="0" algn="l">
              <a:lnSpc>
                <a:spcPct val="90000"/>
              </a:lnSpc>
              <a:buNone/>
              <a:defRPr sz="2000" b="0" baseline="0">
                <a:solidFill>
                  <a:schemeClr val="bg1"/>
                </a:solidFill>
              </a:defRPr>
            </a:lvl1pPr>
            <a:lvl2pPr marL="0" algn="ctr">
              <a:lnSpc>
                <a:spcPct val="100000"/>
              </a:lnSpc>
              <a:spcBef>
                <a:spcPts val="6900"/>
              </a:spcBef>
              <a:defRPr sz="2000" b="1">
                <a:solidFill>
                  <a:schemeClr val="bg1"/>
                </a:solidFill>
              </a:defRPr>
            </a:lvl2pPr>
          </a:lstStyle>
          <a:p>
            <a:pPr lvl="0"/>
            <a:r>
              <a:rPr lang="en-US" noProof="0"/>
              <a:t>SUBTITLE</a:t>
            </a:r>
          </a:p>
        </p:txBody>
      </p:sp>
      <p:sp>
        <p:nvSpPr>
          <p:cNvPr id="10" name="Espace réservé de la date 9"/>
          <p:cNvSpPr>
            <a:spLocks noGrp="1"/>
          </p:cNvSpPr>
          <p:nvPr>
            <p:ph type="dt" sz="half" idx="15"/>
          </p:nvPr>
        </p:nvSpPr>
        <p:spPr bwMode="gray"/>
        <p:txBody>
          <a:bodyPr/>
          <a:lstStyle/>
          <a:p>
            <a:r>
              <a:rPr lang="en-US">
                <a:solidFill>
                  <a:prstClr val="white">
                    <a:alpha val="0"/>
                  </a:prstClr>
                </a:solidFill>
              </a:rPr>
              <a:t>Date</a:t>
            </a:r>
          </a:p>
        </p:txBody>
      </p:sp>
      <p:sp>
        <p:nvSpPr>
          <p:cNvPr id="11" name="Espace réservé du numéro de diapositive 10"/>
          <p:cNvSpPr>
            <a:spLocks noGrp="1"/>
          </p:cNvSpPr>
          <p:nvPr>
            <p:ph type="sldNum" sz="quarter" idx="16"/>
          </p:nvPr>
        </p:nvSpPr>
        <p:spPr bwMode="gray"/>
        <p:txBody>
          <a:bodyPr/>
          <a:lstStyle>
            <a:lvl1pPr>
              <a:defRPr sz="100">
                <a:solidFill>
                  <a:schemeClr val="bg1">
                    <a:alpha val="0"/>
                  </a:schemeClr>
                </a:solidFill>
              </a:defRPr>
            </a:lvl1pPr>
          </a:lstStyle>
          <a:p>
            <a:pPr algn="l"/>
            <a:r>
              <a:rPr lang="en-US">
                <a:solidFill>
                  <a:prstClr val="white">
                    <a:alpha val="0"/>
                  </a:prstClr>
                </a:solidFill>
              </a:rPr>
              <a:t>Page: </a:t>
            </a:r>
            <a:fld id="{733122C9-A0B9-462F-8757-0847AD287B63}" type="slidenum">
              <a:rPr lang="en-US" smtClean="0">
                <a:solidFill>
                  <a:prstClr val="white">
                    <a:alpha val="0"/>
                  </a:prstClr>
                </a:solidFill>
              </a:rPr>
              <a:pPr algn="l"/>
              <a:t>‹#›</a:t>
            </a:fld>
            <a:endParaRPr lang="en-US">
              <a:solidFill>
                <a:prstClr val="white">
                  <a:alpha val="0"/>
                </a:prstClr>
              </a:solidFill>
            </a:endParaRPr>
          </a:p>
        </p:txBody>
      </p:sp>
      <p:sp>
        <p:nvSpPr>
          <p:cNvPr id="12" name="Espace réservé du pied de page 11"/>
          <p:cNvSpPr>
            <a:spLocks noGrp="1"/>
          </p:cNvSpPr>
          <p:nvPr>
            <p:ph type="ftr" sz="quarter" idx="17"/>
          </p:nvPr>
        </p:nvSpPr>
        <p:spPr bwMode="gray">
          <a:xfrm>
            <a:off x="468312" y="524188"/>
            <a:ext cx="4824413" cy="360000"/>
          </a:xfrm>
        </p:spPr>
        <p:txBody>
          <a:bodyPr/>
          <a:lstStyle>
            <a:lvl1pPr algn="l">
              <a:defRPr sz="1800" b="0">
                <a:solidFill>
                  <a:schemeClr val="bg1"/>
                </a:solidFill>
              </a:defRPr>
            </a:lvl1pPr>
          </a:lstStyle>
          <a:p>
            <a:r>
              <a:rPr lang="en-US">
                <a:solidFill>
                  <a:prstClr val="white"/>
                </a:solidFill>
              </a:rPr>
              <a:t>#vaccelerate</a:t>
            </a:r>
          </a:p>
        </p:txBody>
      </p:sp>
      <p:sp>
        <p:nvSpPr>
          <p:cNvPr id="15" name="Espace réservé du texte 14"/>
          <p:cNvSpPr>
            <a:spLocks noGrp="1"/>
          </p:cNvSpPr>
          <p:nvPr>
            <p:ph type="body" sz="quarter" idx="19" hasCustomPrompt="1"/>
          </p:nvPr>
        </p:nvSpPr>
        <p:spPr bwMode="gray">
          <a:xfrm>
            <a:off x="3635376" y="6021388"/>
            <a:ext cx="5113338" cy="324000"/>
          </a:xfrm>
        </p:spPr>
        <p:txBody>
          <a:bodyPr anchor="b" anchorCtr="0"/>
          <a:lstStyle>
            <a:lvl1pPr algn="r">
              <a:lnSpc>
                <a:spcPct val="100000"/>
              </a:lnSpc>
              <a:defRPr sz="1000" b="1">
                <a:solidFill>
                  <a:schemeClr val="accent3"/>
                </a:solidFill>
              </a:defRPr>
            </a:lvl1pPr>
          </a:lstStyle>
          <a:p>
            <a:pPr lvl="0"/>
            <a:r>
              <a:rPr lang="en-US" noProof="0"/>
              <a:t>Write your claim here</a:t>
            </a:r>
          </a:p>
        </p:txBody>
      </p:sp>
      <p:sp>
        <p:nvSpPr>
          <p:cNvPr id="16" name="Rectangle 15"/>
          <p:cNvSpPr/>
          <p:nvPr userDrawn="1"/>
        </p:nvSpPr>
        <p:spPr bwMode="gray">
          <a:xfrm>
            <a:off x="3635375" y="6354202"/>
            <a:ext cx="5113338" cy="2872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r"/>
            <a:r>
              <a:rPr lang="en-US" sz="1000" err="1">
                <a:solidFill>
                  <a:srgbClr val="95D600"/>
                </a:solidFill>
              </a:rPr>
              <a:t>www.gavi.org</a:t>
            </a:r>
            <a:endParaRPr lang="en-US" sz="1000">
              <a:solidFill>
                <a:srgbClr val="95D600"/>
              </a:solidFill>
            </a:endParaRPr>
          </a:p>
        </p:txBody>
      </p:sp>
      <p:cxnSp>
        <p:nvCxnSpPr>
          <p:cNvPr id="23" name="Connecteur droit 22"/>
          <p:cNvCxnSpPr/>
          <p:nvPr userDrawn="1"/>
        </p:nvCxnSpPr>
        <p:spPr bwMode="gray">
          <a:xfrm flipH="1">
            <a:off x="468313" y="3402000"/>
            <a:ext cx="2448000" cy="0"/>
          </a:xfrm>
          <a:prstGeom prst="line">
            <a:avLst/>
          </a:prstGeom>
          <a:ln w="24130">
            <a:solidFill>
              <a:schemeClr val="accent1"/>
            </a:solidFill>
          </a:ln>
        </p:spPr>
        <p:style>
          <a:lnRef idx="1">
            <a:schemeClr val="accent1"/>
          </a:lnRef>
          <a:fillRef idx="0">
            <a:schemeClr val="accent1"/>
          </a:fillRef>
          <a:effectRef idx="0">
            <a:schemeClr val="accent1"/>
          </a:effectRef>
          <a:fontRef idx="minor">
            <a:schemeClr val="tx1"/>
          </a:fontRef>
        </p:style>
      </p:cxnSp>
      <p:sp>
        <p:nvSpPr>
          <p:cNvPr id="17" name="Espace réservé du texte 16"/>
          <p:cNvSpPr>
            <a:spLocks noGrp="1"/>
          </p:cNvSpPr>
          <p:nvPr>
            <p:ph type="body" sz="quarter" idx="20" hasCustomPrompt="1"/>
          </p:nvPr>
        </p:nvSpPr>
        <p:spPr bwMode="gray">
          <a:xfrm>
            <a:off x="0" y="5157788"/>
            <a:ext cx="9144000" cy="287337"/>
          </a:xfrm>
          <a:solidFill>
            <a:schemeClr val="bg1"/>
          </a:solidFill>
        </p:spPr>
        <p:txBody>
          <a:bodyPr/>
          <a:lstStyle>
            <a:lvl1pPr>
              <a:defRPr sz="100" b="0">
                <a:solidFill>
                  <a:schemeClr val="bg1">
                    <a:alpha val="0"/>
                  </a:schemeClr>
                </a:solidFill>
              </a:defRPr>
            </a:lvl1pPr>
          </a:lstStyle>
          <a:p>
            <a:pPr lvl="0"/>
            <a:r>
              <a:rPr lang="en-US" noProof="0"/>
              <a:t> </a:t>
            </a:r>
          </a:p>
        </p:txBody>
      </p:sp>
    </p:spTree>
    <p:extLst>
      <p:ext uri="{BB962C8B-B14F-4D97-AF65-F5344CB8AC3E}">
        <p14:creationId xmlns:p14="http://schemas.microsoft.com/office/powerpoint/2010/main" val="1131418275"/>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Cover_Picture_1">
    <p:spTree>
      <p:nvGrpSpPr>
        <p:cNvPr id="1" name=""/>
        <p:cNvGrpSpPr/>
        <p:nvPr/>
      </p:nvGrpSpPr>
      <p:grpSpPr>
        <a:xfrm>
          <a:off x="0" y="0"/>
          <a:ext cx="0" cy="0"/>
          <a:chOff x="0" y="0"/>
          <a:chExt cx="0" cy="0"/>
        </a:xfrm>
      </p:grpSpPr>
      <p:pic>
        <p:nvPicPr>
          <p:cNvPr id="21" name="Image 20" descr="FD_1_L254.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gray">
          <a:xfrm>
            <a:off x="0" y="0"/>
            <a:ext cx="9144000" cy="5157788"/>
          </a:xfrm>
          <a:prstGeom prst="rect">
            <a:avLst/>
          </a:prstGeom>
        </p:spPr>
      </p:pic>
      <p:sp>
        <p:nvSpPr>
          <p:cNvPr id="22" name="Rectangle 21"/>
          <p:cNvSpPr/>
          <p:nvPr userDrawn="1"/>
        </p:nvSpPr>
        <p:spPr bwMode="gray">
          <a:xfrm>
            <a:off x="3635375" y="5265204"/>
            <a:ext cx="5508625" cy="15927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pic>
        <p:nvPicPr>
          <p:cNvPr id="20" name="Image 19" descr="Bas_couv.png"/>
          <p:cNvPicPr>
            <a:picLocks noChangeAspect="1"/>
          </p:cNvPicPr>
          <p:nvPr userDrawn="1"/>
        </p:nvPicPr>
        <p:blipFill>
          <a:blip r:embed="rId3" cstate="screen">
            <a:extLst>
              <a:ext uri="{28A0092B-C50C-407E-A947-70E740481C1C}">
                <a14:useLocalDpi xmlns:a14="http://schemas.microsoft.com/office/drawing/2010/main"/>
              </a:ext>
            </a:extLst>
          </a:blip>
          <a:srcRect/>
          <a:stretch>
            <a:fillRect/>
          </a:stretch>
        </p:blipFill>
        <p:spPr bwMode="gray">
          <a:xfrm>
            <a:off x="0" y="5172520"/>
            <a:ext cx="3635375" cy="1685480"/>
          </a:xfrm>
          <a:prstGeom prst="rect">
            <a:avLst/>
          </a:prstGeom>
        </p:spPr>
      </p:pic>
      <p:sp>
        <p:nvSpPr>
          <p:cNvPr id="9" name="Espace réservé du texte 8"/>
          <p:cNvSpPr>
            <a:spLocks noGrp="1"/>
          </p:cNvSpPr>
          <p:nvPr>
            <p:ph type="body" sz="quarter" idx="13" hasCustomPrompt="1"/>
          </p:nvPr>
        </p:nvSpPr>
        <p:spPr bwMode="gray">
          <a:xfrm>
            <a:off x="468314" y="1036638"/>
            <a:ext cx="4824412" cy="2231392"/>
          </a:xfrm>
        </p:spPr>
        <p:txBody>
          <a:bodyPr anchor="b" anchorCtr="0"/>
          <a:lstStyle>
            <a:lvl1pPr marL="0" indent="0" algn="l">
              <a:lnSpc>
                <a:spcPct val="90000"/>
              </a:lnSpc>
              <a:buNone/>
              <a:defRPr sz="2800" b="1" cap="none" baseline="0">
                <a:solidFill>
                  <a:schemeClr val="bg1"/>
                </a:solidFill>
              </a:defRPr>
            </a:lvl1pPr>
            <a:lvl2pPr marL="0" algn="ctr">
              <a:lnSpc>
                <a:spcPct val="100000"/>
              </a:lnSpc>
              <a:spcBef>
                <a:spcPts val="6900"/>
              </a:spcBef>
              <a:defRPr sz="2000" b="1">
                <a:solidFill>
                  <a:schemeClr val="bg1"/>
                </a:solidFill>
              </a:defRPr>
            </a:lvl2pPr>
          </a:lstStyle>
          <a:p>
            <a:pPr lvl="0"/>
            <a:r>
              <a:rPr lang="en-US" noProof="0"/>
              <a:t>TITLE</a:t>
            </a:r>
          </a:p>
        </p:txBody>
      </p:sp>
      <p:sp>
        <p:nvSpPr>
          <p:cNvPr id="8" name="Espace réservé du texte 8"/>
          <p:cNvSpPr>
            <a:spLocks noGrp="1"/>
          </p:cNvSpPr>
          <p:nvPr>
            <p:ph type="body" sz="quarter" idx="14" hasCustomPrompt="1"/>
          </p:nvPr>
        </p:nvSpPr>
        <p:spPr bwMode="gray">
          <a:xfrm>
            <a:off x="468314" y="3584637"/>
            <a:ext cx="3592800" cy="1477788"/>
          </a:xfrm>
        </p:spPr>
        <p:txBody>
          <a:bodyPr anchor="t" anchorCtr="0"/>
          <a:lstStyle>
            <a:lvl1pPr marL="0" indent="0" algn="l">
              <a:lnSpc>
                <a:spcPct val="90000"/>
              </a:lnSpc>
              <a:buNone/>
              <a:defRPr sz="2000" b="0" baseline="0">
                <a:solidFill>
                  <a:schemeClr val="bg1"/>
                </a:solidFill>
              </a:defRPr>
            </a:lvl1pPr>
            <a:lvl2pPr marL="0" algn="ctr">
              <a:lnSpc>
                <a:spcPct val="100000"/>
              </a:lnSpc>
              <a:spcBef>
                <a:spcPts val="6900"/>
              </a:spcBef>
              <a:defRPr sz="2000" b="1">
                <a:solidFill>
                  <a:schemeClr val="bg1"/>
                </a:solidFill>
              </a:defRPr>
            </a:lvl2pPr>
          </a:lstStyle>
          <a:p>
            <a:pPr lvl="0"/>
            <a:r>
              <a:rPr lang="en-US" noProof="0"/>
              <a:t>SUBTITLE</a:t>
            </a:r>
          </a:p>
        </p:txBody>
      </p:sp>
      <p:sp>
        <p:nvSpPr>
          <p:cNvPr id="10" name="Espace réservé de la date 9"/>
          <p:cNvSpPr>
            <a:spLocks noGrp="1"/>
          </p:cNvSpPr>
          <p:nvPr>
            <p:ph type="dt" sz="half" idx="15"/>
          </p:nvPr>
        </p:nvSpPr>
        <p:spPr bwMode="gray"/>
        <p:txBody>
          <a:bodyPr/>
          <a:lstStyle/>
          <a:p>
            <a:r>
              <a:rPr lang="en-US">
                <a:solidFill>
                  <a:prstClr val="white">
                    <a:alpha val="0"/>
                  </a:prstClr>
                </a:solidFill>
              </a:rPr>
              <a:t>Date</a:t>
            </a:r>
          </a:p>
        </p:txBody>
      </p:sp>
      <p:sp>
        <p:nvSpPr>
          <p:cNvPr id="11" name="Espace réservé du numéro de diapositive 10"/>
          <p:cNvSpPr>
            <a:spLocks noGrp="1"/>
          </p:cNvSpPr>
          <p:nvPr>
            <p:ph type="sldNum" sz="quarter" idx="16"/>
          </p:nvPr>
        </p:nvSpPr>
        <p:spPr bwMode="gray"/>
        <p:txBody>
          <a:bodyPr/>
          <a:lstStyle>
            <a:lvl1pPr>
              <a:defRPr sz="100">
                <a:solidFill>
                  <a:schemeClr val="bg1">
                    <a:alpha val="0"/>
                  </a:schemeClr>
                </a:solidFill>
              </a:defRPr>
            </a:lvl1pPr>
          </a:lstStyle>
          <a:p>
            <a:pPr algn="l"/>
            <a:r>
              <a:rPr lang="en-US">
                <a:solidFill>
                  <a:prstClr val="white">
                    <a:alpha val="0"/>
                  </a:prstClr>
                </a:solidFill>
              </a:rPr>
              <a:t>Page: </a:t>
            </a:r>
            <a:fld id="{733122C9-A0B9-462F-8757-0847AD287B63}" type="slidenum">
              <a:rPr lang="en-US" smtClean="0">
                <a:solidFill>
                  <a:prstClr val="white">
                    <a:alpha val="0"/>
                  </a:prstClr>
                </a:solidFill>
              </a:rPr>
              <a:pPr algn="l"/>
              <a:t>‹#›</a:t>
            </a:fld>
            <a:endParaRPr lang="en-US">
              <a:solidFill>
                <a:prstClr val="white">
                  <a:alpha val="0"/>
                </a:prstClr>
              </a:solidFill>
            </a:endParaRPr>
          </a:p>
        </p:txBody>
      </p:sp>
      <p:sp>
        <p:nvSpPr>
          <p:cNvPr id="12" name="Espace réservé du pied de page 11"/>
          <p:cNvSpPr>
            <a:spLocks noGrp="1"/>
          </p:cNvSpPr>
          <p:nvPr>
            <p:ph type="ftr" sz="quarter" idx="17"/>
          </p:nvPr>
        </p:nvSpPr>
        <p:spPr bwMode="gray">
          <a:xfrm>
            <a:off x="468312" y="524188"/>
            <a:ext cx="4824413" cy="360000"/>
          </a:xfrm>
        </p:spPr>
        <p:txBody>
          <a:bodyPr/>
          <a:lstStyle>
            <a:lvl1pPr algn="l">
              <a:defRPr sz="1800" b="0">
                <a:solidFill>
                  <a:schemeClr val="bg1"/>
                </a:solidFill>
              </a:defRPr>
            </a:lvl1pPr>
          </a:lstStyle>
          <a:p>
            <a:r>
              <a:rPr lang="en-US">
                <a:solidFill>
                  <a:prstClr val="white"/>
                </a:solidFill>
              </a:rPr>
              <a:t>#</a:t>
            </a:r>
            <a:r>
              <a:rPr lang="en-US" err="1">
                <a:solidFill>
                  <a:prstClr val="white"/>
                </a:solidFill>
              </a:rPr>
              <a:t>vaccineswork</a:t>
            </a:r>
            <a:endParaRPr lang="en-US">
              <a:solidFill>
                <a:prstClr val="white"/>
              </a:solidFill>
            </a:endParaRPr>
          </a:p>
          <a:p>
            <a:endParaRPr lang="en-US">
              <a:solidFill>
                <a:prstClr val="white"/>
              </a:solidFill>
            </a:endParaRPr>
          </a:p>
        </p:txBody>
      </p:sp>
      <p:sp>
        <p:nvSpPr>
          <p:cNvPr id="15" name="Espace réservé du texte 14"/>
          <p:cNvSpPr>
            <a:spLocks noGrp="1"/>
          </p:cNvSpPr>
          <p:nvPr>
            <p:ph type="body" sz="quarter" idx="19" hasCustomPrompt="1"/>
          </p:nvPr>
        </p:nvSpPr>
        <p:spPr bwMode="gray">
          <a:xfrm>
            <a:off x="3635376" y="6021388"/>
            <a:ext cx="5113338" cy="324000"/>
          </a:xfrm>
        </p:spPr>
        <p:txBody>
          <a:bodyPr anchor="b" anchorCtr="0"/>
          <a:lstStyle>
            <a:lvl1pPr algn="r">
              <a:lnSpc>
                <a:spcPct val="100000"/>
              </a:lnSpc>
              <a:defRPr sz="1000" b="1">
                <a:solidFill>
                  <a:schemeClr val="accent3"/>
                </a:solidFill>
              </a:defRPr>
            </a:lvl1pPr>
          </a:lstStyle>
          <a:p>
            <a:pPr lvl="0"/>
            <a:r>
              <a:rPr lang="en-US" noProof="0"/>
              <a:t>Write your claim here</a:t>
            </a:r>
          </a:p>
        </p:txBody>
      </p:sp>
      <p:sp>
        <p:nvSpPr>
          <p:cNvPr id="16" name="Rectangle 15"/>
          <p:cNvSpPr/>
          <p:nvPr userDrawn="1"/>
        </p:nvSpPr>
        <p:spPr bwMode="gray">
          <a:xfrm>
            <a:off x="3635375" y="6354202"/>
            <a:ext cx="5113338" cy="2872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r"/>
            <a:r>
              <a:rPr lang="en-US" sz="1000" err="1">
                <a:solidFill>
                  <a:srgbClr val="95D600"/>
                </a:solidFill>
              </a:rPr>
              <a:t>www.gavi.org</a:t>
            </a:r>
            <a:endParaRPr lang="en-US" sz="1000">
              <a:solidFill>
                <a:srgbClr val="95D600"/>
              </a:solidFill>
            </a:endParaRPr>
          </a:p>
        </p:txBody>
      </p:sp>
      <p:cxnSp>
        <p:nvCxnSpPr>
          <p:cNvPr id="23" name="Connecteur droit 22"/>
          <p:cNvCxnSpPr/>
          <p:nvPr userDrawn="1"/>
        </p:nvCxnSpPr>
        <p:spPr bwMode="gray">
          <a:xfrm flipH="1">
            <a:off x="468313" y="3402521"/>
            <a:ext cx="2448000" cy="0"/>
          </a:xfrm>
          <a:prstGeom prst="line">
            <a:avLst/>
          </a:prstGeom>
          <a:ln w="24130">
            <a:solidFill>
              <a:schemeClr val="accent1"/>
            </a:solidFill>
          </a:ln>
        </p:spPr>
        <p:style>
          <a:lnRef idx="1">
            <a:schemeClr val="accent1"/>
          </a:lnRef>
          <a:fillRef idx="0">
            <a:schemeClr val="accent1"/>
          </a:fillRef>
          <a:effectRef idx="0">
            <a:schemeClr val="accent1"/>
          </a:effectRef>
          <a:fontRef idx="minor">
            <a:schemeClr val="tx1"/>
          </a:fontRef>
        </p:style>
      </p:cxnSp>
      <p:sp>
        <p:nvSpPr>
          <p:cNvPr id="17" name="Espace réservé du texte 16"/>
          <p:cNvSpPr>
            <a:spLocks noGrp="1"/>
          </p:cNvSpPr>
          <p:nvPr>
            <p:ph type="body" sz="quarter" idx="20" hasCustomPrompt="1"/>
          </p:nvPr>
        </p:nvSpPr>
        <p:spPr bwMode="gray">
          <a:xfrm>
            <a:off x="0" y="5157788"/>
            <a:ext cx="9144000" cy="287337"/>
          </a:xfrm>
          <a:solidFill>
            <a:schemeClr val="bg1"/>
          </a:solidFill>
        </p:spPr>
        <p:txBody>
          <a:bodyPr/>
          <a:lstStyle>
            <a:lvl1pPr>
              <a:defRPr sz="100" b="0">
                <a:solidFill>
                  <a:schemeClr val="bg1">
                    <a:alpha val="0"/>
                  </a:schemeClr>
                </a:solidFill>
              </a:defRPr>
            </a:lvl1pPr>
          </a:lstStyle>
          <a:p>
            <a:pPr lvl="0"/>
            <a:r>
              <a:rPr lang="en-US" noProof="0"/>
              <a:t> </a:t>
            </a:r>
          </a:p>
        </p:txBody>
      </p:sp>
      <p:sp>
        <p:nvSpPr>
          <p:cNvPr id="24" name="Espace réservé pour une image  17"/>
          <p:cNvSpPr>
            <a:spLocks noGrp="1"/>
          </p:cNvSpPr>
          <p:nvPr>
            <p:ph type="pic" sz="quarter" idx="18" hasCustomPrompt="1"/>
          </p:nvPr>
        </p:nvSpPr>
        <p:spPr bwMode="gray">
          <a:xfrm>
            <a:off x="4192588" y="0"/>
            <a:ext cx="4951412" cy="5162400"/>
          </a:xfrm>
          <a:custGeom>
            <a:avLst/>
            <a:gdLst>
              <a:gd name="connsiteX0" fmla="*/ 0 w 3851275"/>
              <a:gd name="connsiteY0" fmla="*/ 0 h 5157788"/>
              <a:gd name="connsiteX1" fmla="*/ 3851275 w 3851275"/>
              <a:gd name="connsiteY1" fmla="*/ 0 h 5157788"/>
              <a:gd name="connsiteX2" fmla="*/ 3851275 w 3851275"/>
              <a:gd name="connsiteY2" fmla="*/ 5157788 h 5157788"/>
              <a:gd name="connsiteX3" fmla="*/ 0 w 3851275"/>
              <a:gd name="connsiteY3" fmla="*/ 5157788 h 5157788"/>
              <a:gd name="connsiteX4" fmla="*/ 0 w 3851275"/>
              <a:gd name="connsiteY4"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0 w 3851275"/>
              <a:gd name="connsiteY3" fmla="*/ 5157788 h 5157788"/>
              <a:gd name="connsiteX4" fmla="*/ 1692275 w 3851275"/>
              <a:gd name="connsiteY4" fmla="*/ 0 h 5157788"/>
              <a:gd name="connsiteX0" fmla="*/ 0 w 2159000"/>
              <a:gd name="connsiteY0" fmla="*/ 0 h 5157788"/>
              <a:gd name="connsiteX1" fmla="*/ 2159000 w 2159000"/>
              <a:gd name="connsiteY1" fmla="*/ 0 h 5157788"/>
              <a:gd name="connsiteX2" fmla="*/ 2159000 w 2159000"/>
              <a:gd name="connsiteY2" fmla="*/ 5157788 h 5157788"/>
              <a:gd name="connsiteX3" fmla="*/ 0 w 2159000"/>
              <a:gd name="connsiteY3" fmla="*/ 5157788 h 5157788"/>
              <a:gd name="connsiteX4" fmla="*/ 0 w 2159000"/>
              <a:gd name="connsiteY4" fmla="*/ 0 h 5157788"/>
              <a:gd name="connsiteX0" fmla="*/ 2625271 w 4784271"/>
              <a:gd name="connsiteY0" fmla="*/ 0 h 5157788"/>
              <a:gd name="connsiteX1" fmla="*/ 4784271 w 4784271"/>
              <a:gd name="connsiteY1" fmla="*/ 0 h 5157788"/>
              <a:gd name="connsiteX2" fmla="*/ 4784271 w 4784271"/>
              <a:gd name="connsiteY2" fmla="*/ 5157788 h 5157788"/>
              <a:gd name="connsiteX3" fmla="*/ 2625271 w 4784271"/>
              <a:gd name="connsiteY3" fmla="*/ 5157788 h 5157788"/>
              <a:gd name="connsiteX4" fmla="*/ 2625271 w 4784271"/>
              <a:gd name="connsiteY4" fmla="*/ 0 h 5157788"/>
              <a:gd name="connsiteX0" fmla="*/ 2625271 w 4784271"/>
              <a:gd name="connsiteY0" fmla="*/ 0 h 5157788"/>
              <a:gd name="connsiteX1" fmla="*/ 4784271 w 4784271"/>
              <a:gd name="connsiteY1" fmla="*/ 0 h 5157788"/>
              <a:gd name="connsiteX2" fmla="*/ 4784271 w 4784271"/>
              <a:gd name="connsiteY2" fmla="*/ 5157788 h 5157788"/>
              <a:gd name="connsiteX3" fmla="*/ 2625271 w 4784271"/>
              <a:gd name="connsiteY3" fmla="*/ 5157788 h 5157788"/>
              <a:gd name="connsiteX4" fmla="*/ 2625271 w 4784271"/>
              <a:gd name="connsiteY4" fmla="*/ 0 h 5157788"/>
              <a:gd name="connsiteX0" fmla="*/ 3568576 w 5727576"/>
              <a:gd name="connsiteY0" fmla="*/ 0 h 5157788"/>
              <a:gd name="connsiteX1" fmla="*/ 5727576 w 5727576"/>
              <a:gd name="connsiteY1" fmla="*/ 0 h 5157788"/>
              <a:gd name="connsiteX2" fmla="*/ 5727576 w 5727576"/>
              <a:gd name="connsiteY2" fmla="*/ 5157788 h 5157788"/>
              <a:gd name="connsiteX3" fmla="*/ 3568576 w 5727576"/>
              <a:gd name="connsiteY3" fmla="*/ 5157788 h 5157788"/>
              <a:gd name="connsiteX4" fmla="*/ 3568576 w 5727576"/>
              <a:gd name="connsiteY4" fmla="*/ 0 h 5157788"/>
              <a:gd name="connsiteX0" fmla="*/ 3306355 w 5465355"/>
              <a:gd name="connsiteY0" fmla="*/ 0 h 5157788"/>
              <a:gd name="connsiteX1" fmla="*/ 5465355 w 5465355"/>
              <a:gd name="connsiteY1" fmla="*/ 0 h 5157788"/>
              <a:gd name="connsiteX2" fmla="*/ 5465355 w 5465355"/>
              <a:gd name="connsiteY2" fmla="*/ 5157788 h 5157788"/>
              <a:gd name="connsiteX3" fmla="*/ 3306355 w 5465355"/>
              <a:gd name="connsiteY3" fmla="*/ 5157788 h 5157788"/>
              <a:gd name="connsiteX4" fmla="*/ 3306355 w 5465355"/>
              <a:gd name="connsiteY4" fmla="*/ 0 h 5157788"/>
              <a:gd name="connsiteX0" fmla="*/ 1416957 w 3575957"/>
              <a:gd name="connsiteY0" fmla="*/ 0 h 5157788"/>
              <a:gd name="connsiteX1" fmla="*/ 3575957 w 3575957"/>
              <a:gd name="connsiteY1" fmla="*/ 0 h 5157788"/>
              <a:gd name="connsiteX2" fmla="*/ 3575957 w 3575957"/>
              <a:gd name="connsiteY2" fmla="*/ 5157788 h 5157788"/>
              <a:gd name="connsiteX3" fmla="*/ 1416957 w 3575957"/>
              <a:gd name="connsiteY3" fmla="*/ 5157788 h 5157788"/>
              <a:gd name="connsiteX4" fmla="*/ 0 w 3575957"/>
              <a:gd name="connsiteY4" fmla="*/ 3339193 h 5157788"/>
              <a:gd name="connsiteX5" fmla="*/ 1416957 w 3575957"/>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6017419"/>
              <a:gd name="connsiteX1" fmla="*/ 3851275 w 3851275"/>
              <a:gd name="connsiteY1" fmla="*/ 0 h 6017419"/>
              <a:gd name="connsiteX2" fmla="*/ 3851275 w 3851275"/>
              <a:gd name="connsiteY2" fmla="*/ 5157788 h 6017419"/>
              <a:gd name="connsiteX3" fmla="*/ 1692275 w 3851275"/>
              <a:gd name="connsiteY3" fmla="*/ 5157788 h 6017419"/>
              <a:gd name="connsiteX4" fmla="*/ 0 w 3851275"/>
              <a:gd name="connsiteY4" fmla="*/ 3284984 h 6017419"/>
              <a:gd name="connsiteX5" fmla="*/ 1692275 w 3851275"/>
              <a:gd name="connsiteY5" fmla="*/ 0 h 6017419"/>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429000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429000 h 5157788"/>
              <a:gd name="connsiteX5" fmla="*/ 1710871 w 3869871"/>
              <a:gd name="connsiteY5" fmla="*/ 0 h 5157788"/>
              <a:gd name="connsiteX0" fmla="*/ 1704975 w 3863975"/>
              <a:gd name="connsiteY0" fmla="*/ 0 h 5157788"/>
              <a:gd name="connsiteX1" fmla="*/ 3863975 w 3863975"/>
              <a:gd name="connsiteY1" fmla="*/ 0 h 5157788"/>
              <a:gd name="connsiteX2" fmla="*/ 3863975 w 3863975"/>
              <a:gd name="connsiteY2" fmla="*/ 5157788 h 5157788"/>
              <a:gd name="connsiteX3" fmla="*/ 1704975 w 3863975"/>
              <a:gd name="connsiteY3" fmla="*/ 5157788 h 5157788"/>
              <a:gd name="connsiteX4" fmla="*/ 12700 w 3863975"/>
              <a:gd name="connsiteY4" fmla="*/ 3429000 h 5157788"/>
              <a:gd name="connsiteX5" fmla="*/ 1704975 w 3863975"/>
              <a:gd name="connsiteY5" fmla="*/ 0 h 5157788"/>
              <a:gd name="connsiteX0" fmla="*/ 1707243 w 3866243"/>
              <a:gd name="connsiteY0" fmla="*/ 0 h 5157788"/>
              <a:gd name="connsiteX1" fmla="*/ 3866243 w 3866243"/>
              <a:gd name="connsiteY1" fmla="*/ 0 h 5157788"/>
              <a:gd name="connsiteX2" fmla="*/ 3866243 w 3866243"/>
              <a:gd name="connsiteY2" fmla="*/ 5157788 h 5157788"/>
              <a:gd name="connsiteX3" fmla="*/ 1707243 w 3866243"/>
              <a:gd name="connsiteY3" fmla="*/ 5157788 h 5157788"/>
              <a:gd name="connsiteX4" fmla="*/ 14968 w 3866243"/>
              <a:gd name="connsiteY4" fmla="*/ 3429000 h 5157788"/>
              <a:gd name="connsiteX5" fmla="*/ 1707243 w 3866243"/>
              <a:gd name="connsiteY5" fmla="*/ 0 h 5157788"/>
              <a:gd name="connsiteX0" fmla="*/ 1130447 w 3866243"/>
              <a:gd name="connsiteY0" fmla="*/ 0 h 5157788"/>
              <a:gd name="connsiteX1" fmla="*/ 3866243 w 3866243"/>
              <a:gd name="connsiteY1" fmla="*/ 0 h 5157788"/>
              <a:gd name="connsiteX2" fmla="*/ 3866243 w 3866243"/>
              <a:gd name="connsiteY2" fmla="*/ 5157788 h 5157788"/>
              <a:gd name="connsiteX3" fmla="*/ 1707243 w 3866243"/>
              <a:gd name="connsiteY3" fmla="*/ 5157788 h 5157788"/>
              <a:gd name="connsiteX4" fmla="*/ 14968 w 3866243"/>
              <a:gd name="connsiteY4" fmla="*/ 3429000 h 5157788"/>
              <a:gd name="connsiteX5" fmla="*/ 1130447 w 3866243"/>
              <a:gd name="connsiteY5" fmla="*/ 0 h 5157788"/>
              <a:gd name="connsiteX0" fmla="*/ 2746143 w 5481939"/>
              <a:gd name="connsiteY0" fmla="*/ 0 h 5157788"/>
              <a:gd name="connsiteX1" fmla="*/ 5481939 w 5481939"/>
              <a:gd name="connsiteY1" fmla="*/ 0 h 5157788"/>
              <a:gd name="connsiteX2" fmla="*/ 5481939 w 5481939"/>
              <a:gd name="connsiteY2" fmla="*/ 5157788 h 5157788"/>
              <a:gd name="connsiteX3" fmla="*/ 585903 w 5481939"/>
              <a:gd name="connsiteY3" fmla="*/ 5153180 h 5157788"/>
              <a:gd name="connsiteX4" fmla="*/ 1630664 w 5481939"/>
              <a:gd name="connsiteY4" fmla="*/ 3429000 h 5157788"/>
              <a:gd name="connsiteX5" fmla="*/ 2746143 w 5481939"/>
              <a:gd name="connsiteY5" fmla="*/ 0 h 5157788"/>
              <a:gd name="connsiteX0" fmla="*/ 2746143 w 5481939"/>
              <a:gd name="connsiteY0" fmla="*/ 0 h 5157788"/>
              <a:gd name="connsiteX1" fmla="*/ 5481939 w 5481939"/>
              <a:gd name="connsiteY1" fmla="*/ 0 h 5157788"/>
              <a:gd name="connsiteX2" fmla="*/ 5481939 w 5481939"/>
              <a:gd name="connsiteY2" fmla="*/ 5157788 h 5157788"/>
              <a:gd name="connsiteX3" fmla="*/ 585903 w 5481939"/>
              <a:gd name="connsiteY3" fmla="*/ 5153180 h 5157788"/>
              <a:gd name="connsiteX4" fmla="*/ 1630664 w 5481939"/>
              <a:gd name="connsiteY4" fmla="*/ 3429000 h 5157788"/>
              <a:gd name="connsiteX5" fmla="*/ 2746143 w 548193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3574235 w 6310031"/>
              <a:gd name="connsiteY0" fmla="*/ 0 h 5157788"/>
              <a:gd name="connsiteX1" fmla="*/ 6310031 w 6310031"/>
              <a:gd name="connsiteY1" fmla="*/ 0 h 5157788"/>
              <a:gd name="connsiteX2" fmla="*/ 6310031 w 6310031"/>
              <a:gd name="connsiteY2" fmla="*/ 5157788 h 5157788"/>
              <a:gd name="connsiteX3" fmla="*/ 585903 w 6310031"/>
              <a:gd name="connsiteY3" fmla="*/ 5153180 h 5157788"/>
              <a:gd name="connsiteX4" fmla="*/ 1738031 w 6310031"/>
              <a:gd name="connsiteY4" fmla="*/ 3389965 h 5157788"/>
              <a:gd name="connsiteX5" fmla="*/ 3574235 w 6310031"/>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296143 w 5724128"/>
              <a:gd name="connsiteY4" fmla="*/ 3461908 h 5157788"/>
              <a:gd name="connsiteX5" fmla="*/ 2988332 w 5724128"/>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1188132 w 5760132"/>
              <a:gd name="connsiteY4" fmla="*/ 3425937 h 5157788"/>
              <a:gd name="connsiteX5" fmla="*/ 3024336 w 5760132"/>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2736304 w 5760132"/>
              <a:gd name="connsiteY4" fmla="*/ 3461908 h 5157788"/>
              <a:gd name="connsiteX5" fmla="*/ 3024336 w 5760132"/>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2736304 w 5760132"/>
              <a:gd name="connsiteY4" fmla="*/ 3461908 h 5157788"/>
              <a:gd name="connsiteX5" fmla="*/ 3024336 w 5760132"/>
              <a:gd name="connsiteY5" fmla="*/ 0 h 5157788"/>
              <a:gd name="connsiteX0" fmla="*/ 2160240 w 4896036"/>
              <a:gd name="connsiteY0" fmla="*/ 0 h 5157788"/>
              <a:gd name="connsiteX1" fmla="*/ 4896036 w 4896036"/>
              <a:gd name="connsiteY1" fmla="*/ 0 h 5157788"/>
              <a:gd name="connsiteX2" fmla="*/ 4896036 w 4896036"/>
              <a:gd name="connsiteY2" fmla="*/ 5157788 h 5157788"/>
              <a:gd name="connsiteX3" fmla="*/ 0 w 4896036"/>
              <a:gd name="connsiteY3" fmla="*/ 5153180 h 5157788"/>
              <a:gd name="connsiteX4" fmla="*/ 1872208 w 4896036"/>
              <a:gd name="connsiteY4" fmla="*/ 3461908 h 5157788"/>
              <a:gd name="connsiteX5" fmla="*/ 2160240 w 4896036"/>
              <a:gd name="connsiteY5" fmla="*/ 0 h 5157788"/>
              <a:gd name="connsiteX0" fmla="*/ 2232248 w 4968044"/>
              <a:gd name="connsiteY0" fmla="*/ 0 h 5157788"/>
              <a:gd name="connsiteX1" fmla="*/ 4968044 w 4968044"/>
              <a:gd name="connsiteY1" fmla="*/ 0 h 5157788"/>
              <a:gd name="connsiteX2" fmla="*/ 4968044 w 4968044"/>
              <a:gd name="connsiteY2" fmla="*/ 5157788 h 5157788"/>
              <a:gd name="connsiteX3" fmla="*/ 0 w 4968044"/>
              <a:gd name="connsiteY3" fmla="*/ 5153180 h 5157788"/>
              <a:gd name="connsiteX4" fmla="*/ 1944216 w 4968044"/>
              <a:gd name="connsiteY4" fmla="*/ 3461908 h 5157788"/>
              <a:gd name="connsiteX5" fmla="*/ 2232248 w 4968044"/>
              <a:gd name="connsiteY5" fmla="*/ 0 h 5157788"/>
              <a:gd name="connsiteX0" fmla="*/ 2207679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207679 w 4943475"/>
              <a:gd name="connsiteY5" fmla="*/ 0 h 5157788"/>
              <a:gd name="connsiteX0" fmla="*/ 2963763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963763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092200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71575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343583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675731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675731 w 4943475"/>
              <a:gd name="connsiteY5" fmla="*/ 0 h 5157788"/>
              <a:gd name="connsiteX0" fmla="*/ 2675731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675731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9672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19672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51412" h="5157788">
                <a:moveTo>
                  <a:pt x="2706687" y="0"/>
                </a:moveTo>
                <a:lnTo>
                  <a:pt x="4951412" y="0"/>
                </a:lnTo>
                <a:lnTo>
                  <a:pt x="4951412" y="5157788"/>
                </a:lnTo>
                <a:lnTo>
                  <a:pt x="0" y="5153180"/>
                </a:lnTo>
                <a:cubicBezTo>
                  <a:pt x="84411" y="4542509"/>
                  <a:pt x="183041" y="4024723"/>
                  <a:pt x="1243508" y="2562613"/>
                </a:cubicBezTo>
                <a:cubicBezTo>
                  <a:pt x="1867447" y="1704780"/>
                  <a:pt x="2665955" y="709265"/>
                  <a:pt x="2706687" y="0"/>
                </a:cubicBezTo>
                <a:close/>
              </a:path>
            </a:pathLst>
          </a:custGeom>
          <a:solidFill>
            <a:schemeClr val="bg2"/>
          </a:solidFill>
          <a:ln w="3175">
            <a:noFill/>
          </a:ln>
        </p:spPr>
        <p:txBody>
          <a:bodyPr tIns="720000" anchor="ctr" anchorCtr="0"/>
          <a:lstStyle>
            <a:lvl1pPr algn="ctr">
              <a:defRPr sz="1500">
                <a:solidFill>
                  <a:schemeClr val="bg1"/>
                </a:solidFill>
              </a:defRPr>
            </a:lvl1pPr>
          </a:lstStyle>
          <a:p>
            <a:r>
              <a:rPr lang="en-US" noProof="0"/>
              <a:t>Select your own photo</a:t>
            </a:r>
          </a:p>
        </p:txBody>
      </p:sp>
    </p:spTree>
    <p:extLst>
      <p:ext uri="{BB962C8B-B14F-4D97-AF65-F5344CB8AC3E}">
        <p14:creationId xmlns:p14="http://schemas.microsoft.com/office/powerpoint/2010/main" val="1780416964"/>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Cover_Picture_2">
    <p:spTree>
      <p:nvGrpSpPr>
        <p:cNvPr id="1" name=""/>
        <p:cNvGrpSpPr/>
        <p:nvPr/>
      </p:nvGrpSpPr>
      <p:grpSpPr>
        <a:xfrm>
          <a:off x="0" y="0"/>
          <a:ext cx="0" cy="0"/>
          <a:chOff x="0" y="0"/>
          <a:chExt cx="0" cy="0"/>
        </a:xfrm>
      </p:grpSpPr>
      <p:pic>
        <p:nvPicPr>
          <p:cNvPr id="21" name="Image 20" descr="FD_1_L254.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gray">
          <a:xfrm>
            <a:off x="1" y="0"/>
            <a:ext cx="9144000" cy="5157788"/>
          </a:xfrm>
          <a:prstGeom prst="rect">
            <a:avLst/>
          </a:prstGeom>
        </p:spPr>
      </p:pic>
      <p:sp>
        <p:nvSpPr>
          <p:cNvPr id="22" name="Rectangle 21"/>
          <p:cNvSpPr/>
          <p:nvPr userDrawn="1"/>
        </p:nvSpPr>
        <p:spPr bwMode="gray">
          <a:xfrm>
            <a:off x="3635375" y="5265204"/>
            <a:ext cx="5508625" cy="15927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pic>
        <p:nvPicPr>
          <p:cNvPr id="20" name="Image 19" descr="Bas_couv.png"/>
          <p:cNvPicPr>
            <a:picLocks noChangeAspect="1"/>
          </p:cNvPicPr>
          <p:nvPr userDrawn="1"/>
        </p:nvPicPr>
        <p:blipFill>
          <a:blip r:embed="rId3" cstate="screen">
            <a:extLst>
              <a:ext uri="{28A0092B-C50C-407E-A947-70E740481C1C}">
                <a14:useLocalDpi xmlns:a14="http://schemas.microsoft.com/office/drawing/2010/main"/>
              </a:ext>
            </a:extLst>
          </a:blip>
          <a:srcRect/>
          <a:stretch>
            <a:fillRect/>
          </a:stretch>
        </p:blipFill>
        <p:spPr bwMode="gray">
          <a:xfrm>
            <a:off x="0" y="5172520"/>
            <a:ext cx="3635375" cy="1685480"/>
          </a:xfrm>
          <a:prstGeom prst="rect">
            <a:avLst/>
          </a:prstGeom>
        </p:spPr>
      </p:pic>
      <p:sp>
        <p:nvSpPr>
          <p:cNvPr id="9" name="Espace réservé du texte 8"/>
          <p:cNvSpPr>
            <a:spLocks noGrp="1"/>
          </p:cNvSpPr>
          <p:nvPr>
            <p:ph type="body" sz="quarter" idx="13" hasCustomPrompt="1"/>
          </p:nvPr>
        </p:nvSpPr>
        <p:spPr bwMode="gray">
          <a:xfrm>
            <a:off x="468000" y="1036800"/>
            <a:ext cx="4824412" cy="2232000"/>
          </a:xfrm>
        </p:spPr>
        <p:txBody>
          <a:bodyPr anchor="b" anchorCtr="0"/>
          <a:lstStyle>
            <a:lvl1pPr marL="0" indent="0" algn="l">
              <a:lnSpc>
                <a:spcPct val="90000"/>
              </a:lnSpc>
              <a:buNone/>
              <a:defRPr sz="2800" b="1" cap="none" baseline="0">
                <a:solidFill>
                  <a:schemeClr val="bg1"/>
                </a:solidFill>
              </a:defRPr>
            </a:lvl1pPr>
            <a:lvl2pPr marL="0" algn="ctr">
              <a:lnSpc>
                <a:spcPct val="100000"/>
              </a:lnSpc>
              <a:spcBef>
                <a:spcPts val="6900"/>
              </a:spcBef>
              <a:defRPr sz="2000" b="1">
                <a:solidFill>
                  <a:schemeClr val="bg1"/>
                </a:solidFill>
              </a:defRPr>
            </a:lvl2pPr>
          </a:lstStyle>
          <a:p>
            <a:pPr lvl="0"/>
            <a:r>
              <a:rPr lang="en-US" noProof="0"/>
              <a:t>TITLE</a:t>
            </a:r>
          </a:p>
        </p:txBody>
      </p:sp>
      <p:sp>
        <p:nvSpPr>
          <p:cNvPr id="8" name="Espace réservé du texte 8"/>
          <p:cNvSpPr>
            <a:spLocks noGrp="1"/>
          </p:cNvSpPr>
          <p:nvPr>
            <p:ph type="body" sz="quarter" idx="14" hasCustomPrompt="1"/>
          </p:nvPr>
        </p:nvSpPr>
        <p:spPr bwMode="gray">
          <a:xfrm>
            <a:off x="468314" y="3585600"/>
            <a:ext cx="3592800" cy="1479600"/>
          </a:xfrm>
        </p:spPr>
        <p:txBody>
          <a:bodyPr anchor="t" anchorCtr="0"/>
          <a:lstStyle>
            <a:lvl1pPr marL="0" indent="0" algn="l">
              <a:lnSpc>
                <a:spcPct val="90000"/>
              </a:lnSpc>
              <a:buNone/>
              <a:defRPr sz="2000" b="0" baseline="0">
                <a:solidFill>
                  <a:schemeClr val="bg1"/>
                </a:solidFill>
              </a:defRPr>
            </a:lvl1pPr>
            <a:lvl2pPr marL="0" algn="ctr">
              <a:lnSpc>
                <a:spcPct val="100000"/>
              </a:lnSpc>
              <a:spcBef>
                <a:spcPts val="6900"/>
              </a:spcBef>
              <a:defRPr sz="2000" b="1">
                <a:solidFill>
                  <a:schemeClr val="bg1"/>
                </a:solidFill>
              </a:defRPr>
            </a:lvl2pPr>
          </a:lstStyle>
          <a:p>
            <a:pPr lvl="0"/>
            <a:r>
              <a:rPr lang="en-US" noProof="0"/>
              <a:t>SUBTITLE</a:t>
            </a:r>
          </a:p>
        </p:txBody>
      </p:sp>
      <p:sp>
        <p:nvSpPr>
          <p:cNvPr id="10" name="Espace réservé de la date 9"/>
          <p:cNvSpPr>
            <a:spLocks noGrp="1"/>
          </p:cNvSpPr>
          <p:nvPr>
            <p:ph type="dt" sz="half" idx="15"/>
          </p:nvPr>
        </p:nvSpPr>
        <p:spPr bwMode="gray"/>
        <p:txBody>
          <a:bodyPr/>
          <a:lstStyle/>
          <a:p>
            <a:r>
              <a:rPr lang="en-US">
                <a:solidFill>
                  <a:prstClr val="white">
                    <a:alpha val="0"/>
                  </a:prstClr>
                </a:solidFill>
              </a:rPr>
              <a:t>Date</a:t>
            </a:r>
          </a:p>
        </p:txBody>
      </p:sp>
      <p:sp>
        <p:nvSpPr>
          <p:cNvPr id="11" name="Espace réservé du numéro de diapositive 10"/>
          <p:cNvSpPr>
            <a:spLocks noGrp="1"/>
          </p:cNvSpPr>
          <p:nvPr>
            <p:ph type="sldNum" sz="quarter" idx="16"/>
          </p:nvPr>
        </p:nvSpPr>
        <p:spPr bwMode="gray"/>
        <p:txBody>
          <a:bodyPr/>
          <a:lstStyle>
            <a:lvl1pPr>
              <a:defRPr sz="100">
                <a:solidFill>
                  <a:schemeClr val="bg1">
                    <a:alpha val="0"/>
                  </a:schemeClr>
                </a:solidFill>
              </a:defRPr>
            </a:lvl1pPr>
          </a:lstStyle>
          <a:p>
            <a:pPr algn="l"/>
            <a:r>
              <a:rPr lang="en-US">
                <a:solidFill>
                  <a:prstClr val="white">
                    <a:alpha val="0"/>
                  </a:prstClr>
                </a:solidFill>
              </a:rPr>
              <a:t>Page: </a:t>
            </a:r>
            <a:fld id="{733122C9-A0B9-462F-8757-0847AD287B63}" type="slidenum">
              <a:rPr lang="en-US" smtClean="0">
                <a:solidFill>
                  <a:prstClr val="white">
                    <a:alpha val="0"/>
                  </a:prstClr>
                </a:solidFill>
              </a:rPr>
              <a:pPr algn="l"/>
              <a:t>‹#›</a:t>
            </a:fld>
            <a:endParaRPr lang="en-US">
              <a:solidFill>
                <a:prstClr val="white">
                  <a:alpha val="0"/>
                </a:prstClr>
              </a:solidFill>
            </a:endParaRPr>
          </a:p>
        </p:txBody>
      </p:sp>
      <p:sp>
        <p:nvSpPr>
          <p:cNvPr id="12" name="Espace réservé du pied de page 11"/>
          <p:cNvSpPr>
            <a:spLocks noGrp="1"/>
          </p:cNvSpPr>
          <p:nvPr>
            <p:ph type="ftr" sz="quarter" idx="17"/>
          </p:nvPr>
        </p:nvSpPr>
        <p:spPr bwMode="gray">
          <a:xfrm>
            <a:off x="468312" y="524188"/>
            <a:ext cx="4824413" cy="360000"/>
          </a:xfrm>
        </p:spPr>
        <p:txBody>
          <a:bodyPr/>
          <a:lstStyle>
            <a:lvl1pPr algn="l">
              <a:defRPr sz="1800" b="0">
                <a:solidFill>
                  <a:schemeClr val="bg1"/>
                </a:solidFill>
              </a:defRPr>
            </a:lvl1pPr>
          </a:lstStyle>
          <a:p>
            <a:r>
              <a:rPr lang="en-US">
                <a:solidFill>
                  <a:prstClr val="white"/>
                </a:solidFill>
              </a:rPr>
              <a:t>#</a:t>
            </a:r>
            <a:r>
              <a:rPr lang="en-US" err="1">
                <a:solidFill>
                  <a:prstClr val="white"/>
                </a:solidFill>
              </a:rPr>
              <a:t>vaccineswork</a:t>
            </a:r>
            <a:endParaRPr lang="en-US">
              <a:solidFill>
                <a:prstClr val="white"/>
              </a:solidFill>
            </a:endParaRPr>
          </a:p>
        </p:txBody>
      </p:sp>
      <p:sp>
        <p:nvSpPr>
          <p:cNvPr id="15" name="Espace réservé du texte 14"/>
          <p:cNvSpPr>
            <a:spLocks noGrp="1"/>
          </p:cNvSpPr>
          <p:nvPr>
            <p:ph type="body" sz="quarter" idx="19" hasCustomPrompt="1"/>
          </p:nvPr>
        </p:nvSpPr>
        <p:spPr bwMode="gray">
          <a:xfrm>
            <a:off x="3635376" y="6021388"/>
            <a:ext cx="5113338" cy="324000"/>
          </a:xfrm>
        </p:spPr>
        <p:txBody>
          <a:bodyPr anchor="b" anchorCtr="0"/>
          <a:lstStyle>
            <a:lvl1pPr algn="r">
              <a:lnSpc>
                <a:spcPct val="100000"/>
              </a:lnSpc>
              <a:defRPr sz="1000" b="1">
                <a:solidFill>
                  <a:schemeClr val="accent3"/>
                </a:solidFill>
              </a:defRPr>
            </a:lvl1pPr>
          </a:lstStyle>
          <a:p>
            <a:pPr lvl="0"/>
            <a:r>
              <a:rPr lang="en-US" noProof="0"/>
              <a:t>Write your claim here</a:t>
            </a:r>
          </a:p>
        </p:txBody>
      </p:sp>
      <p:sp>
        <p:nvSpPr>
          <p:cNvPr id="16" name="Rectangle 15"/>
          <p:cNvSpPr/>
          <p:nvPr userDrawn="1"/>
        </p:nvSpPr>
        <p:spPr bwMode="gray">
          <a:xfrm>
            <a:off x="3635375" y="6354202"/>
            <a:ext cx="5113338" cy="2872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r"/>
            <a:r>
              <a:rPr lang="en-US" sz="1000" err="1">
                <a:solidFill>
                  <a:srgbClr val="95D600"/>
                </a:solidFill>
              </a:rPr>
              <a:t>www.gavi.org</a:t>
            </a:r>
            <a:endParaRPr lang="en-US" sz="1000">
              <a:solidFill>
                <a:srgbClr val="95D600"/>
              </a:solidFill>
            </a:endParaRPr>
          </a:p>
        </p:txBody>
      </p:sp>
      <p:cxnSp>
        <p:nvCxnSpPr>
          <p:cNvPr id="14" name="Connecteur droit 13"/>
          <p:cNvCxnSpPr/>
          <p:nvPr userDrawn="1"/>
        </p:nvCxnSpPr>
        <p:spPr bwMode="gray">
          <a:xfrm flipH="1">
            <a:off x="468313" y="3402000"/>
            <a:ext cx="2448000" cy="0"/>
          </a:xfrm>
          <a:prstGeom prst="line">
            <a:avLst/>
          </a:prstGeom>
          <a:ln w="24130">
            <a:solidFill>
              <a:schemeClr val="accent1"/>
            </a:solidFill>
          </a:ln>
        </p:spPr>
        <p:style>
          <a:lnRef idx="1">
            <a:schemeClr val="accent1"/>
          </a:lnRef>
          <a:fillRef idx="0">
            <a:schemeClr val="accent1"/>
          </a:fillRef>
          <a:effectRef idx="0">
            <a:schemeClr val="accent1"/>
          </a:effectRef>
          <a:fontRef idx="minor">
            <a:schemeClr val="tx1"/>
          </a:fontRef>
        </p:style>
      </p:cxnSp>
      <p:sp>
        <p:nvSpPr>
          <p:cNvPr id="17" name="Espace réservé du texte 16"/>
          <p:cNvSpPr>
            <a:spLocks noGrp="1"/>
          </p:cNvSpPr>
          <p:nvPr>
            <p:ph type="body" sz="quarter" idx="20" hasCustomPrompt="1"/>
          </p:nvPr>
        </p:nvSpPr>
        <p:spPr bwMode="gray">
          <a:xfrm>
            <a:off x="0" y="5157788"/>
            <a:ext cx="9144000" cy="287337"/>
          </a:xfrm>
          <a:solidFill>
            <a:schemeClr val="bg1"/>
          </a:solidFill>
        </p:spPr>
        <p:txBody>
          <a:bodyPr/>
          <a:lstStyle>
            <a:lvl1pPr>
              <a:defRPr sz="100" b="0">
                <a:solidFill>
                  <a:schemeClr val="bg1">
                    <a:alpha val="0"/>
                  </a:schemeClr>
                </a:solidFill>
              </a:defRPr>
            </a:lvl1pPr>
          </a:lstStyle>
          <a:p>
            <a:pPr lvl="0"/>
            <a:r>
              <a:rPr lang="en-US" noProof="0"/>
              <a:t> </a:t>
            </a:r>
          </a:p>
        </p:txBody>
      </p:sp>
      <p:sp>
        <p:nvSpPr>
          <p:cNvPr id="18" name="Espace réservé pour une image  17"/>
          <p:cNvSpPr>
            <a:spLocks noGrp="1"/>
          </p:cNvSpPr>
          <p:nvPr>
            <p:ph type="pic" sz="quarter" idx="18" hasCustomPrompt="1"/>
          </p:nvPr>
        </p:nvSpPr>
        <p:spPr bwMode="gray">
          <a:xfrm>
            <a:off x="4192588" y="0"/>
            <a:ext cx="4951412" cy="5162400"/>
          </a:xfrm>
          <a:custGeom>
            <a:avLst/>
            <a:gdLst>
              <a:gd name="connsiteX0" fmla="*/ 0 w 3851275"/>
              <a:gd name="connsiteY0" fmla="*/ 0 h 5157788"/>
              <a:gd name="connsiteX1" fmla="*/ 3851275 w 3851275"/>
              <a:gd name="connsiteY1" fmla="*/ 0 h 5157788"/>
              <a:gd name="connsiteX2" fmla="*/ 3851275 w 3851275"/>
              <a:gd name="connsiteY2" fmla="*/ 5157788 h 5157788"/>
              <a:gd name="connsiteX3" fmla="*/ 0 w 3851275"/>
              <a:gd name="connsiteY3" fmla="*/ 5157788 h 5157788"/>
              <a:gd name="connsiteX4" fmla="*/ 0 w 3851275"/>
              <a:gd name="connsiteY4"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0 w 3851275"/>
              <a:gd name="connsiteY3" fmla="*/ 5157788 h 5157788"/>
              <a:gd name="connsiteX4" fmla="*/ 1692275 w 3851275"/>
              <a:gd name="connsiteY4" fmla="*/ 0 h 5157788"/>
              <a:gd name="connsiteX0" fmla="*/ 0 w 2159000"/>
              <a:gd name="connsiteY0" fmla="*/ 0 h 5157788"/>
              <a:gd name="connsiteX1" fmla="*/ 2159000 w 2159000"/>
              <a:gd name="connsiteY1" fmla="*/ 0 h 5157788"/>
              <a:gd name="connsiteX2" fmla="*/ 2159000 w 2159000"/>
              <a:gd name="connsiteY2" fmla="*/ 5157788 h 5157788"/>
              <a:gd name="connsiteX3" fmla="*/ 0 w 2159000"/>
              <a:gd name="connsiteY3" fmla="*/ 5157788 h 5157788"/>
              <a:gd name="connsiteX4" fmla="*/ 0 w 2159000"/>
              <a:gd name="connsiteY4" fmla="*/ 0 h 5157788"/>
              <a:gd name="connsiteX0" fmla="*/ 2625271 w 4784271"/>
              <a:gd name="connsiteY0" fmla="*/ 0 h 5157788"/>
              <a:gd name="connsiteX1" fmla="*/ 4784271 w 4784271"/>
              <a:gd name="connsiteY1" fmla="*/ 0 h 5157788"/>
              <a:gd name="connsiteX2" fmla="*/ 4784271 w 4784271"/>
              <a:gd name="connsiteY2" fmla="*/ 5157788 h 5157788"/>
              <a:gd name="connsiteX3" fmla="*/ 2625271 w 4784271"/>
              <a:gd name="connsiteY3" fmla="*/ 5157788 h 5157788"/>
              <a:gd name="connsiteX4" fmla="*/ 2625271 w 4784271"/>
              <a:gd name="connsiteY4" fmla="*/ 0 h 5157788"/>
              <a:gd name="connsiteX0" fmla="*/ 2625271 w 4784271"/>
              <a:gd name="connsiteY0" fmla="*/ 0 h 5157788"/>
              <a:gd name="connsiteX1" fmla="*/ 4784271 w 4784271"/>
              <a:gd name="connsiteY1" fmla="*/ 0 h 5157788"/>
              <a:gd name="connsiteX2" fmla="*/ 4784271 w 4784271"/>
              <a:gd name="connsiteY2" fmla="*/ 5157788 h 5157788"/>
              <a:gd name="connsiteX3" fmla="*/ 2625271 w 4784271"/>
              <a:gd name="connsiteY3" fmla="*/ 5157788 h 5157788"/>
              <a:gd name="connsiteX4" fmla="*/ 2625271 w 4784271"/>
              <a:gd name="connsiteY4" fmla="*/ 0 h 5157788"/>
              <a:gd name="connsiteX0" fmla="*/ 3568576 w 5727576"/>
              <a:gd name="connsiteY0" fmla="*/ 0 h 5157788"/>
              <a:gd name="connsiteX1" fmla="*/ 5727576 w 5727576"/>
              <a:gd name="connsiteY1" fmla="*/ 0 h 5157788"/>
              <a:gd name="connsiteX2" fmla="*/ 5727576 w 5727576"/>
              <a:gd name="connsiteY2" fmla="*/ 5157788 h 5157788"/>
              <a:gd name="connsiteX3" fmla="*/ 3568576 w 5727576"/>
              <a:gd name="connsiteY3" fmla="*/ 5157788 h 5157788"/>
              <a:gd name="connsiteX4" fmla="*/ 3568576 w 5727576"/>
              <a:gd name="connsiteY4" fmla="*/ 0 h 5157788"/>
              <a:gd name="connsiteX0" fmla="*/ 3306355 w 5465355"/>
              <a:gd name="connsiteY0" fmla="*/ 0 h 5157788"/>
              <a:gd name="connsiteX1" fmla="*/ 5465355 w 5465355"/>
              <a:gd name="connsiteY1" fmla="*/ 0 h 5157788"/>
              <a:gd name="connsiteX2" fmla="*/ 5465355 w 5465355"/>
              <a:gd name="connsiteY2" fmla="*/ 5157788 h 5157788"/>
              <a:gd name="connsiteX3" fmla="*/ 3306355 w 5465355"/>
              <a:gd name="connsiteY3" fmla="*/ 5157788 h 5157788"/>
              <a:gd name="connsiteX4" fmla="*/ 3306355 w 5465355"/>
              <a:gd name="connsiteY4" fmla="*/ 0 h 5157788"/>
              <a:gd name="connsiteX0" fmla="*/ 1416957 w 3575957"/>
              <a:gd name="connsiteY0" fmla="*/ 0 h 5157788"/>
              <a:gd name="connsiteX1" fmla="*/ 3575957 w 3575957"/>
              <a:gd name="connsiteY1" fmla="*/ 0 h 5157788"/>
              <a:gd name="connsiteX2" fmla="*/ 3575957 w 3575957"/>
              <a:gd name="connsiteY2" fmla="*/ 5157788 h 5157788"/>
              <a:gd name="connsiteX3" fmla="*/ 1416957 w 3575957"/>
              <a:gd name="connsiteY3" fmla="*/ 5157788 h 5157788"/>
              <a:gd name="connsiteX4" fmla="*/ 0 w 3575957"/>
              <a:gd name="connsiteY4" fmla="*/ 3339193 h 5157788"/>
              <a:gd name="connsiteX5" fmla="*/ 1416957 w 3575957"/>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6017419"/>
              <a:gd name="connsiteX1" fmla="*/ 3851275 w 3851275"/>
              <a:gd name="connsiteY1" fmla="*/ 0 h 6017419"/>
              <a:gd name="connsiteX2" fmla="*/ 3851275 w 3851275"/>
              <a:gd name="connsiteY2" fmla="*/ 5157788 h 6017419"/>
              <a:gd name="connsiteX3" fmla="*/ 1692275 w 3851275"/>
              <a:gd name="connsiteY3" fmla="*/ 5157788 h 6017419"/>
              <a:gd name="connsiteX4" fmla="*/ 0 w 3851275"/>
              <a:gd name="connsiteY4" fmla="*/ 3284984 h 6017419"/>
              <a:gd name="connsiteX5" fmla="*/ 1692275 w 3851275"/>
              <a:gd name="connsiteY5" fmla="*/ 0 h 6017419"/>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429000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429000 h 5157788"/>
              <a:gd name="connsiteX5" fmla="*/ 1710871 w 3869871"/>
              <a:gd name="connsiteY5" fmla="*/ 0 h 5157788"/>
              <a:gd name="connsiteX0" fmla="*/ 1704975 w 3863975"/>
              <a:gd name="connsiteY0" fmla="*/ 0 h 5157788"/>
              <a:gd name="connsiteX1" fmla="*/ 3863975 w 3863975"/>
              <a:gd name="connsiteY1" fmla="*/ 0 h 5157788"/>
              <a:gd name="connsiteX2" fmla="*/ 3863975 w 3863975"/>
              <a:gd name="connsiteY2" fmla="*/ 5157788 h 5157788"/>
              <a:gd name="connsiteX3" fmla="*/ 1704975 w 3863975"/>
              <a:gd name="connsiteY3" fmla="*/ 5157788 h 5157788"/>
              <a:gd name="connsiteX4" fmla="*/ 12700 w 3863975"/>
              <a:gd name="connsiteY4" fmla="*/ 3429000 h 5157788"/>
              <a:gd name="connsiteX5" fmla="*/ 1704975 w 3863975"/>
              <a:gd name="connsiteY5" fmla="*/ 0 h 5157788"/>
              <a:gd name="connsiteX0" fmla="*/ 1707243 w 3866243"/>
              <a:gd name="connsiteY0" fmla="*/ 0 h 5157788"/>
              <a:gd name="connsiteX1" fmla="*/ 3866243 w 3866243"/>
              <a:gd name="connsiteY1" fmla="*/ 0 h 5157788"/>
              <a:gd name="connsiteX2" fmla="*/ 3866243 w 3866243"/>
              <a:gd name="connsiteY2" fmla="*/ 5157788 h 5157788"/>
              <a:gd name="connsiteX3" fmla="*/ 1707243 w 3866243"/>
              <a:gd name="connsiteY3" fmla="*/ 5157788 h 5157788"/>
              <a:gd name="connsiteX4" fmla="*/ 14968 w 3866243"/>
              <a:gd name="connsiteY4" fmla="*/ 3429000 h 5157788"/>
              <a:gd name="connsiteX5" fmla="*/ 1707243 w 3866243"/>
              <a:gd name="connsiteY5" fmla="*/ 0 h 5157788"/>
              <a:gd name="connsiteX0" fmla="*/ 1130447 w 3866243"/>
              <a:gd name="connsiteY0" fmla="*/ 0 h 5157788"/>
              <a:gd name="connsiteX1" fmla="*/ 3866243 w 3866243"/>
              <a:gd name="connsiteY1" fmla="*/ 0 h 5157788"/>
              <a:gd name="connsiteX2" fmla="*/ 3866243 w 3866243"/>
              <a:gd name="connsiteY2" fmla="*/ 5157788 h 5157788"/>
              <a:gd name="connsiteX3" fmla="*/ 1707243 w 3866243"/>
              <a:gd name="connsiteY3" fmla="*/ 5157788 h 5157788"/>
              <a:gd name="connsiteX4" fmla="*/ 14968 w 3866243"/>
              <a:gd name="connsiteY4" fmla="*/ 3429000 h 5157788"/>
              <a:gd name="connsiteX5" fmla="*/ 1130447 w 3866243"/>
              <a:gd name="connsiteY5" fmla="*/ 0 h 5157788"/>
              <a:gd name="connsiteX0" fmla="*/ 2746143 w 5481939"/>
              <a:gd name="connsiteY0" fmla="*/ 0 h 5157788"/>
              <a:gd name="connsiteX1" fmla="*/ 5481939 w 5481939"/>
              <a:gd name="connsiteY1" fmla="*/ 0 h 5157788"/>
              <a:gd name="connsiteX2" fmla="*/ 5481939 w 5481939"/>
              <a:gd name="connsiteY2" fmla="*/ 5157788 h 5157788"/>
              <a:gd name="connsiteX3" fmla="*/ 585903 w 5481939"/>
              <a:gd name="connsiteY3" fmla="*/ 5153180 h 5157788"/>
              <a:gd name="connsiteX4" fmla="*/ 1630664 w 5481939"/>
              <a:gd name="connsiteY4" fmla="*/ 3429000 h 5157788"/>
              <a:gd name="connsiteX5" fmla="*/ 2746143 w 5481939"/>
              <a:gd name="connsiteY5" fmla="*/ 0 h 5157788"/>
              <a:gd name="connsiteX0" fmla="*/ 2746143 w 5481939"/>
              <a:gd name="connsiteY0" fmla="*/ 0 h 5157788"/>
              <a:gd name="connsiteX1" fmla="*/ 5481939 w 5481939"/>
              <a:gd name="connsiteY1" fmla="*/ 0 h 5157788"/>
              <a:gd name="connsiteX2" fmla="*/ 5481939 w 5481939"/>
              <a:gd name="connsiteY2" fmla="*/ 5157788 h 5157788"/>
              <a:gd name="connsiteX3" fmla="*/ 585903 w 5481939"/>
              <a:gd name="connsiteY3" fmla="*/ 5153180 h 5157788"/>
              <a:gd name="connsiteX4" fmla="*/ 1630664 w 5481939"/>
              <a:gd name="connsiteY4" fmla="*/ 3429000 h 5157788"/>
              <a:gd name="connsiteX5" fmla="*/ 2746143 w 548193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3574235 w 6310031"/>
              <a:gd name="connsiteY0" fmla="*/ 0 h 5157788"/>
              <a:gd name="connsiteX1" fmla="*/ 6310031 w 6310031"/>
              <a:gd name="connsiteY1" fmla="*/ 0 h 5157788"/>
              <a:gd name="connsiteX2" fmla="*/ 6310031 w 6310031"/>
              <a:gd name="connsiteY2" fmla="*/ 5157788 h 5157788"/>
              <a:gd name="connsiteX3" fmla="*/ 585903 w 6310031"/>
              <a:gd name="connsiteY3" fmla="*/ 5153180 h 5157788"/>
              <a:gd name="connsiteX4" fmla="*/ 1738031 w 6310031"/>
              <a:gd name="connsiteY4" fmla="*/ 3389965 h 5157788"/>
              <a:gd name="connsiteX5" fmla="*/ 3574235 w 6310031"/>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296143 w 5724128"/>
              <a:gd name="connsiteY4" fmla="*/ 3461908 h 5157788"/>
              <a:gd name="connsiteX5" fmla="*/ 2988332 w 5724128"/>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1188132 w 5760132"/>
              <a:gd name="connsiteY4" fmla="*/ 3425937 h 5157788"/>
              <a:gd name="connsiteX5" fmla="*/ 3024336 w 5760132"/>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2736304 w 5760132"/>
              <a:gd name="connsiteY4" fmla="*/ 3461908 h 5157788"/>
              <a:gd name="connsiteX5" fmla="*/ 3024336 w 5760132"/>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2736304 w 5760132"/>
              <a:gd name="connsiteY4" fmla="*/ 3461908 h 5157788"/>
              <a:gd name="connsiteX5" fmla="*/ 3024336 w 5760132"/>
              <a:gd name="connsiteY5" fmla="*/ 0 h 5157788"/>
              <a:gd name="connsiteX0" fmla="*/ 2160240 w 4896036"/>
              <a:gd name="connsiteY0" fmla="*/ 0 h 5157788"/>
              <a:gd name="connsiteX1" fmla="*/ 4896036 w 4896036"/>
              <a:gd name="connsiteY1" fmla="*/ 0 h 5157788"/>
              <a:gd name="connsiteX2" fmla="*/ 4896036 w 4896036"/>
              <a:gd name="connsiteY2" fmla="*/ 5157788 h 5157788"/>
              <a:gd name="connsiteX3" fmla="*/ 0 w 4896036"/>
              <a:gd name="connsiteY3" fmla="*/ 5153180 h 5157788"/>
              <a:gd name="connsiteX4" fmla="*/ 1872208 w 4896036"/>
              <a:gd name="connsiteY4" fmla="*/ 3461908 h 5157788"/>
              <a:gd name="connsiteX5" fmla="*/ 2160240 w 4896036"/>
              <a:gd name="connsiteY5" fmla="*/ 0 h 5157788"/>
              <a:gd name="connsiteX0" fmla="*/ 2232248 w 4968044"/>
              <a:gd name="connsiteY0" fmla="*/ 0 h 5157788"/>
              <a:gd name="connsiteX1" fmla="*/ 4968044 w 4968044"/>
              <a:gd name="connsiteY1" fmla="*/ 0 h 5157788"/>
              <a:gd name="connsiteX2" fmla="*/ 4968044 w 4968044"/>
              <a:gd name="connsiteY2" fmla="*/ 5157788 h 5157788"/>
              <a:gd name="connsiteX3" fmla="*/ 0 w 4968044"/>
              <a:gd name="connsiteY3" fmla="*/ 5153180 h 5157788"/>
              <a:gd name="connsiteX4" fmla="*/ 1944216 w 4968044"/>
              <a:gd name="connsiteY4" fmla="*/ 3461908 h 5157788"/>
              <a:gd name="connsiteX5" fmla="*/ 2232248 w 4968044"/>
              <a:gd name="connsiteY5" fmla="*/ 0 h 5157788"/>
              <a:gd name="connsiteX0" fmla="*/ 2207679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207679 w 4943475"/>
              <a:gd name="connsiteY5" fmla="*/ 0 h 5157788"/>
              <a:gd name="connsiteX0" fmla="*/ 2963763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963763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092200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71575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343583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675731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675731 w 4943475"/>
              <a:gd name="connsiteY5" fmla="*/ 0 h 5157788"/>
              <a:gd name="connsiteX0" fmla="*/ 2675731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675731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9672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19672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51412" h="5157788">
                <a:moveTo>
                  <a:pt x="2706687" y="0"/>
                </a:moveTo>
                <a:lnTo>
                  <a:pt x="4951412" y="0"/>
                </a:lnTo>
                <a:lnTo>
                  <a:pt x="4951412" y="5157788"/>
                </a:lnTo>
                <a:lnTo>
                  <a:pt x="0" y="5153180"/>
                </a:lnTo>
                <a:cubicBezTo>
                  <a:pt x="84411" y="4542509"/>
                  <a:pt x="183041" y="4024723"/>
                  <a:pt x="1243508" y="2562613"/>
                </a:cubicBezTo>
                <a:cubicBezTo>
                  <a:pt x="1867447" y="1704780"/>
                  <a:pt x="2665955" y="709265"/>
                  <a:pt x="2706687" y="0"/>
                </a:cubicBezTo>
                <a:close/>
              </a:path>
            </a:pathLst>
          </a:custGeom>
          <a:solidFill>
            <a:schemeClr val="bg2"/>
          </a:solidFill>
          <a:ln w="3175">
            <a:noFill/>
          </a:ln>
        </p:spPr>
        <p:txBody>
          <a:bodyPr tIns="720000" anchor="ctr" anchorCtr="0"/>
          <a:lstStyle>
            <a:lvl1pPr algn="ctr">
              <a:defRPr sz="1500">
                <a:solidFill>
                  <a:schemeClr val="bg1"/>
                </a:solidFill>
              </a:defRPr>
            </a:lvl1pPr>
          </a:lstStyle>
          <a:p>
            <a:r>
              <a:rPr lang="en-US" noProof="0"/>
              <a:t>Select your own photo</a:t>
            </a:r>
          </a:p>
        </p:txBody>
      </p:sp>
    </p:spTree>
    <p:extLst>
      <p:ext uri="{BB962C8B-B14F-4D97-AF65-F5344CB8AC3E}">
        <p14:creationId xmlns:p14="http://schemas.microsoft.com/office/powerpoint/2010/main" val="2556339405"/>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Chapter_Layout">
    <p:spTree>
      <p:nvGrpSpPr>
        <p:cNvPr id="1" name=""/>
        <p:cNvGrpSpPr/>
        <p:nvPr/>
      </p:nvGrpSpPr>
      <p:grpSpPr>
        <a:xfrm>
          <a:off x="0" y="0"/>
          <a:ext cx="0" cy="0"/>
          <a:chOff x="0" y="0"/>
          <a:chExt cx="0" cy="0"/>
        </a:xfrm>
      </p:grpSpPr>
      <p:pic>
        <p:nvPicPr>
          <p:cNvPr id="16" name="Image 17" descr="FD_03_chap_110x190,5.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gray">
          <a:xfrm>
            <a:off x="0" y="0"/>
            <a:ext cx="3959352" cy="6858000"/>
          </a:xfrm>
          <a:prstGeom prst="rect">
            <a:avLst/>
          </a:prstGeom>
        </p:spPr>
      </p:pic>
      <p:sp>
        <p:nvSpPr>
          <p:cNvPr id="2" name="Titre 1"/>
          <p:cNvSpPr>
            <a:spLocks noGrp="1"/>
          </p:cNvSpPr>
          <p:nvPr>
            <p:ph type="title" hasCustomPrompt="1"/>
          </p:nvPr>
        </p:nvSpPr>
        <p:spPr bwMode="gray">
          <a:xfrm>
            <a:off x="3635374" y="1036638"/>
            <a:ext cx="3263901" cy="1268759"/>
          </a:xfrm>
        </p:spPr>
        <p:txBody>
          <a:bodyPr/>
          <a:lstStyle/>
          <a:p>
            <a:r>
              <a:rPr lang="en-US" noProof="0"/>
              <a:t>TITLE</a:t>
            </a:r>
          </a:p>
        </p:txBody>
      </p:sp>
      <p:sp>
        <p:nvSpPr>
          <p:cNvPr id="10" name="Espace réservé du texte 9"/>
          <p:cNvSpPr>
            <a:spLocks noGrp="1"/>
          </p:cNvSpPr>
          <p:nvPr>
            <p:ph type="body" sz="quarter" idx="13" hasCustomPrompt="1"/>
          </p:nvPr>
        </p:nvSpPr>
        <p:spPr bwMode="gray">
          <a:xfrm>
            <a:off x="3635376" y="2574000"/>
            <a:ext cx="3263900" cy="3447388"/>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noProof="0"/>
              <a:t>Text level 1</a:t>
            </a:r>
          </a:p>
          <a:p>
            <a:pPr lvl="1"/>
            <a:r>
              <a:rPr lang="en-US" noProof="0"/>
              <a:t>Text level 2</a:t>
            </a:r>
          </a:p>
          <a:p>
            <a:pPr lvl="2"/>
            <a:r>
              <a:rPr lang="en-US" noProof="0"/>
              <a:t>Text level 3</a:t>
            </a:r>
          </a:p>
          <a:p>
            <a:pPr lvl="3"/>
            <a:r>
              <a:rPr lang="en-US" noProof="0"/>
              <a:t>Text level 4</a:t>
            </a:r>
          </a:p>
          <a:p>
            <a:pPr lvl="4"/>
            <a:r>
              <a:rPr lang="en-US" noProof="0"/>
              <a:t>Text level 5</a:t>
            </a:r>
          </a:p>
        </p:txBody>
      </p:sp>
      <p:sp>
        <p:nvSpPr>
          <p:cNvPr id="14" name="Espace réservé du texte 9"/>
          <p:cNvSpPr>
            <a:spLocks noGrp="1"/>
          </p:cNvSpPr>
          <p:nvPr>
            <p:ph type="body" sz="quarter" idx="14" hasCustomPrompt="1"/>
          </p:nvPr>
        </p:nvSpPr>
        <p:spPr bwMode="gray">
          <a:xfrm>
            <a:off x="0" y="139974"/>
            <a:ext cx="2628000" cy="5017814"/>
          </a:xfrm>
        </p:spPr>
        <p:txBody>
          <a:bodyPr/>
          <a:lstStyle>
            <a:lvl1pPr algn="r">
              <a:defRPr sz="16600" b="1">
                <a:solidFill>
                  <a:schemeClr val="bg1"/>
                </a:solidFill>
              </a:defRPr>
            </a:lvl1pPr>
          </a:lstStyle>
          <a:p>
            <a:pPr lvl="0"/>
            <a:r>
              <a:rPr lang="en-US" noProof="0"/>
              <a:t>0</a:t>
            </a:r>
          </a:p>
        </p:txBody>
      </p:sp>
      <p:sp>
        <p:nvSpPr>
          <p:cNvPr id="11" name="Espace réservé de la date 10"/>
          <p:cNvSpPr>
            <a:spLocks noGrp="1"/>
          </p:cNvSpPr>
          <p:nvPr>
            <p:ph type="dt" sz="half" idx="15"/>
          </p:nvPr>
        </p:nvSpPr>
        <p:spPr bwMode="gray"/>
        <p:txBody>
          <a:bodyPr/>
          <a:lstStyle/>
          <a:p>
            <a:r>
              <a:rPr lang="en-US">
                <a:solidFill>
                  <a:prstClr val="white">
                    <a:alpha val="0"/>
                  </a:prstClr>
                </a:solidFill>
              </a:rPr>
              <a:t>Date</a:t>
            </a:r>
          </a:p>
        </p:txBody>
      </p:sp>
      <p:sp>
        <p:nvSpPr>
          <p:cNvPr id="12" name="Espace réservé du numéro de diapositive 11"/>
          <p:cNvSpPr>
            <a:spLocks noGrp="1"/>
          </p:cNvSpPr>
          <p:nvPr>
            <p:ph type="sldNum" sz="quarter" idx="16"/>
          </p:nvPr>
        </p:nvSpPr>
        <p:spPr bwMode="gray"/>
        <p:txBody>
          <a:bodyPr/>
          <a:lstStyle/>
          <a:p>
            <a:pPr algn="l"/>
            <a:fld id="{733122C9-A0B9-462F-8757-0847AD287B63}" type="slidenum">
              <a:rPr lang="en-US" smtClean="0">
                <a:solidFill>
                  <a:srgbClr val="343434"/>
                </a:solidFill>
              </a:rPr>
              <a:pPr algn="l"/>
              <a:t>‹#›</a:t>
            </a:fld>
            <a:endParaRPr lang="en-US">
              <a:solidFill>
                <a:srgbClr val="343434"/>
              </a:solidFill>
            </a:endParaRPr>
          </a:p>
        </p:txBody>
      </p:sp>
      <p:sp>
        <p:nvSpPr>
          <p:cNvPr id="13" name="Espace réservé du pied de page 12"/>
          <p:cNvSpPr>
            <a:spLocks noGrp="1"/>
          </p:cNvSpPr>
          <p:nvPr>
            <p:ph type="ftr" sz="quarter" idx="17"/>
          </p:nvPr>
        </p:nvSpPr>
        <p:spPr bwMode="gray"/>
        <p:txBody>
          <a:bodyPr/>
          <a:lstStyle/>
          <a:p>
            <a:r>
              <a:rPr lang="en-US">
                <a:solidFill>
                  <a:srgbClr val="005CB9"/>
                </a:solidFill>
              </a:rPr>
              <a:t>#</a:t>
            </a:r>
            <a:r>
              <a:rPr lang="en-US" err="1">
                <a:solidFill>
                  <a:srgbClr val="005CB9"/>
                </a:solidFill>
              </a:rPr>
              <a:t>vaccineswork</a:t>
            </a:r>
            <a:endParaRPr lang="en-US">
              <a:solidFill>
                <a:srgbClr val="005CB9"/>
              </a:solidFill>
            </a:endParaRPr>
          </a:p>
        </p:txBody>
      </p:sp>
      <p:cxnSp>
        <p:nvCxnSpPr>
          <p:cNvPr id="15" name="Connecteur droit 14"/>
          <p:cNvCxnSpPr/>
          <p:nvPr userDrawn="1"/>
        </p:nvCxnSpPr>
        <p:spPr bwMode="gray">
          <a:xfrm flipH="1">
            <a:off x="3635375" y="2389356"/>
            <a:ext cx="1584000" cy="0"/>
          </a:xfrm>
          <a:prstGeom prst="line">
            <a:avLst/>
          </a:prstGeom>
          <a:ln w="24130">
            <a:solidFill>
              <a:schemeClr val="accent1"/>
            </a:solidFill>
          </a:ln>
        </p:spPr>
        <p:style>
          <a:lnRef idx="1">
            <a:schemeClr val="accent1"/>
          </a:lnRef>
          <a:fillRef idx="0">
            <a:schemeClr val="accent1"/>
          </a:fillRef>
          <a:effectRef idx="0">
            <a:schemeClr val="accent1"/>
          </a:effectRef>
          <a:fontRef idx="minor">
            <a:schemeClr val="tx1"/>
          </a:fontRef>
        </p:style>
      </p:cxnSp>
      <p:sp>
        <p:nvSpPr>
          <p:cNvPr id="19" name="Espace réservé pour une image  17"/>
          <p:cNvSpPr>
            <a:spLocks noGrp="1"/>
          </p:cNvSpPr>
          <p:nvPr>
            <p:ph type="pic" sz="quarter" idx="18" hasCustomPrompt="1"/>
          </p:nvPr>
        </p:nvSpPr>
        <p:spPr bwMode="gray">
          <a:xfrm>
            <a:off x="7254332" y="132082"/>
            <a:ext cx="1899827" cy="5812641"/>
          </a:xfrm>
          <a:custGeom>
            <a:avLst/>
            <a:gdLst>
              <a:gd name="connsiteX0" fmla="*/ 0 w 3851275"/>
              <a:gd name="connsiteY0" fmla="*/ 0 h 5157788"/>
              <a:gd name="connsiteX1" fmla="*/ 3851275 w 3851275"/>
              <a:gd name="connsiteY1" fmla="*/ 0 h 5157788"/>
              <a:gd name="connsiteX2" fmla="*/ 3851275 w 3851275"/>
              <a:gd name="connsiteY2" fmla="*/ 5157788 h 5157788"/>
              <a:gd name="connsiteX3" fmla="*/ 0 w 3851275"/>
              <a:gd name="connsiteY3" fmla="*/ 5157788 h 5157788"/>
              <a:gd name="connsiteX4" fmla="*/ 0 w 3851275"/>
              <a:gd name="connsiteY4"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0 w 3851275"/>
              <a:gd name="connsiteY3" fmla="*/ 5157788 h 5157788"/>
              <a:gd name="connsiteX4" fmla="*/ 1692275 w 3851275"/>
              <a:gd name="connsiteY4" fmla="*/ 0 h 5157788"/>
              <a:gd name="connsiteX0" fmla="*/ 0 w 2159000"/>
              <a:gd name="connsiteY0" fmla="*/ 0 h 5157788"/>
              <a:gd name="connsiteX1" fmla="*/ 2159000 w 2159000"/>
              <a:gd name="connsiteY1" fmla="*/ 0 h 5157788"/>
              <a:gd name="connsiteX2" fmla="*/ 2159000 w 2159000"/>
              <a:gd name="connsiteY2" fmla="*/ 5157788 h 5157788"/>
              <a:gd name="connsiteX3" fmla="*/ 0 w 2159000"/>
              <a:gd name="connsiteY3" fmla="*/ 5157788 h 5157788"/>
              <a:gd name="connsiteX4" fmla="*/ 0 w 2159000"/>
              <a:gd name="connsiteY4" fmla="*/ 0 h 5157788"/>
              <a:gd name="connsiteX0" fmla="*/ 2625271 w 4784271"/>
              <a:gd name="connsiteY0" fmla="*/ 0 h 5157788"/>
              <a:gd name="connsiteX1" fmla="*/ 4784271 w 4784271"/>
              <a:gd name="connsiteY1" fmla="*/ 0 h 5157788"/>
              <a:gd name="connsiteX2" fmla="*/ 4784271 w 4784271"/>
              <a:gd name="connsiteY2" fmla="*/ 5157788 h 5157788"/>
              <a:gd name="connsiteX3" fmla="*/ 2625271 w 4784271"/>
              <a:gd name="connsiteY3" fmla="*/ 5157788 h 5157788"/>
              <a:gd name="connsiteX4" fmla="*/ 2625271 w 4784271"/>
              <a:gd name="connsiteY4" fmla="*/ 0 h 5157788"/>
              <a:gd name="connsiteX0" fmla="*/ 2625271 w 4784271"/>
              <a:gd name="connsiteY0" fmla="*/ 0 h 5157788"/>
              <a:gd name="connsiteX1" fmla="*/ 4784271 w 4784271"/>
              <a:gd name="connsiteY1" fmla="*/ 0 h 5157788"/>
              <a:gd name="connsiteX2" fmla="*/ 4784271 w 4784271"/>
              <a:gd name="connsiteY2" fmla="*/ 5157788 h 5157788"/>
              <a:gd name="connsiteX3" fmla="*/ 2625271 w 4784271"/>
              <a:gd name="connsiteY3" fmla="*/ 5157788 h 5157788"/>
              <a:gd name="connsiteX4" fmla="*/ 2625271 w 4784271"/>
              <a:gd name="connsiteY4" fmla="*/ 0 h 5157788"/>
              <a:gd name="connsiteX0" fmla="*/ 3568576 w 5727576"/>
              <a:gd name="connsiteY0" fmla="*/ 0 h 5157788"/>
              <a:gd name="connsiteX1" fmla="*/ 5727576 w 5727576"/>
              <a:gd name="connsiteY1" fmla="*/ 0 h 5157788"/>
              <a:gd name="connsiteX2" fmla="*/ 5727576 w 5727576"/>
              <a:gd name="connsiteY2" fmla="*/ 5157788 h 5157788"/>
              <a:gd name="connsiteX3" fmla="*/ 3568576 w 5727576"/>
              <a:gd name="connsiteY3" fmla="*/ 5157788 h 5157788"/>
              <a:gd name="connsiteX4" fmla="*/ 3568576 w 5727576"/>
              <a:gd name="connsiteY4" fmla="*/ 0 h 5157788"/>
              <a:gd name="connsiteX0" fmla="*/ 3306355 w 5465355"/>
              <a:gd name="connsiteY0" fmla="*/ 0 h 5157788"/>
              <a:gd name="connsiteX1" fmla="*/ 5465355 w 5465355"/>
              <a:gd name="connsiteY1" fmla="*/ 0 h 5157788"/>
              <a:gd name="connsiteX2" fmla="*/ 5465355 w 5465355"/>
              <a:gd name="connsiteY2" fmla="*/ 5157788 h 5157788"/>
              <a:gd name="connsiteX3" fmla="*/ 3306355 w 5465355"/>
              <a:gd name="connsiteY3" fmla="*/ 5157788 h 5157788"/>
              <a:gd name="connsiteX4" fmla="*/ 3306355 w 5465355"/>
              <a:gd name="connsiteY4" fmla="*/ 0 h 5157788"/>
              <a:gd name="connsiteX0" fmla="*/ 1416957 w 3575957"/>
              <a:gd name="connsiteY0" fmla="*/ 0 h 5157788"/>
              <a:gd name="connsiteX1" fmla="*/ 3575957 w 3575957"/>
              <a:gd name="connsiteY1" fmla="*/ 0 h 5157788"/>
              <a:gd name="connsiteX2" fmla="*/ 3575957 w 3575957"/>
              <a:gd name="connsiteY2" fmla="*/ 5157788 h 5157788"/>
              <a:gd name="connsiteX3" fmla="*/ 1416957 w 3575957"/>
              <a:gd name="connsiteY3" fmla="*/ 5157788 h 5157788"/>
              <a:gd name="connsiteX4" fmla="*/ 0 w 3575957"/>
              <a:gd name="connsiteY4" fmla="*/ 3339193 h 5157788"/>
              <a:gd name="connsiteX5" fmla="*/ 1416957 w 3575957"/>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6017419"/>
              <a:gd name="connsiteX1" fmla="*/ 3851275 w 3851275"/>
              <a:gd name="connsiteY1" fmla="*/ 0 h 6017419"/>
              <a:gd name="connsiteX2" fmla="*/ 3851275 w 3851275"/>
              <a:gd name="connsiteY2" fmla="*/ 5157788 h 6017419"/>
              <a:gd name="connsiteX3" fmla="*/ 1692275 w 3851275"/>
              <a:gd name="connsiteY3" fmla="*/ 5157788 h 6017419"/>
              <a:gd name="connsiteX4" fmla="*/ 0 w 3851275"/>
              <a:gd name="connsiteY4" fmla="*/ 3284984 h 6017419"/>
              <a:gd name="connsiteX5" fmla="*/ 1692275 w 3851275"/>
              <a:gd name="connsiteY5" fmla="*/ 0 h 6017419"/>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429000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429000 h 5157788"/>
              <a:gd name="connsiteX5" fmla="*/ 1710871 w 3869871"/>
              <a:gd name="connsiteY5" fmla="*/ 0 h 5157788"/>
              <a:gd name="connsiteX0" fmla="*/ 1704975 w 3863975"/>
              <a:gd name="connsiteY0" fmla="*/ 0 h 5157788"/>
              <a:gd name="connsiteX1" fmla="*/ 3863975 w 3863975"/>
              <a:gd name="connsiteY1" fmla="*/ 0 h 5157788"/>
              <a:gd name="connsiteX2" fmla="*/ 3863975 w 3863975"/>
              <a:gd name="connsiteY2" fmla="*/ 5157788 h 5157788"/>
              <a:gd name="connsiteX3" fmla="*/ 1704975 w 3863975"/>
              <a:gd name="connsiteY3" fmla="*/ 5157788 h 5157788"/>
              <a:gd name="connsiteX4" fmla="*/ 12700 w 3863975"/>
              <a:gd name="connsiteY4" fmla="*/ 3429000 h 5157788"/>
              <a:gd name="connsiteX5" fmla="*/ 1704975 w 3863975"/>
              <a:gd name="connsiteY5" fmla="*/ 0 h 5157788"/>
              <a:gd name="connsiteX0" fmla="*/ 1707243 w 3866243"/>
              <a:gd name="connsiteY0" fmla="*/ 0 h 5157788"/>
              <a:gd name="connsiteX1" fmla="*/ 3866243 w 3866243"/>
              <a:gd name="connsiteY1" fmla="*/ 0 h 5157788"/>
              <a:gd name="connsiteX2" fmla="*/ 3866243 w 3866243"/>
              <a:gd name="connsiteY2" fmla="*/ 5157788 h 5157788"/>
              <a:gd name="connsiteX3" fmla="*/ 1707243 w 3866243"/>
              <a:gd name="connsiteY3" fmla="*/ 5157788 h 5157788"/>
              <a:gd name="connsiteX4" fmla="*/ 14968 w 3866243"/>
              <a:gd name="connsiteY4" fmla="*/ 3429000 h 5157788"/>
              <a:gd name="connsiteX5" fmla="*/ 1707243 w 3866243"/>
              <a:gd name="connsiteY5" fmla="*/ 0 h 5157788"/>
              <a:gd name="connsiteX0" fmla="*/ 1130447 w 3866243"/>
              <a:gd name="connsiteY0" fmla="*/ 0 h 5157788"/>
              <a:gd name="connsiteX1" fmla="*/ 3866243 w 3866243"/>
              <a:gd name="connsiteY1" fmla="*/ 0 h 5157788"/>
              <a:gd name="connsiteX2" fmla="*/ 3866243 w 3866243"/>
              <a:gd name="connsiteY2" fmla="*/ 5157788 h 5157788"/>
              <a:gd name="connsiteX3" fmla="*/ 1707243 w 3866243"/>
              <a:gd name="connsiteY3" fmla="*/ 5157788 h 5157788"/>
              <a:gd name="connsiteX4" fmla="*/ 14968 w 3866243"/>
              <a:gd name="connsiteY4" fmla="*/ 3429000 h 5157788"/>
              <a:gd name="connsiteX5" fmla="*/ 1130447 w 3866243"/>
              <a:gd name="connsiteY5" fmla="*/ 0 h 5157788"/>
              <a:gd name="connsiteX0" fmla="*/ 2746143 w 5481939"/>
              <a:gd name="connsiteY0" fmla="*/ 0 h 5157788"/>
              <a:gd name="connsiteX1" fmla="*/ 5481939 w 5481939"/>
              <a:gd name="connsiteY1" fmla="*/ 0 h 5157788"/>
              <a:gd name="connsiteX2" fmla="*/ 5481939 w 5481939"/>
              <a:gd name="connsiteY2" fmla="*/ 5157788 h 5157788"/>
              <a:gd name="connsiteX3" fmla="*/ 585903 w 5481939"/>
              <a:gd name="connsiteY3" fmla="*/ 5153180 h 5157788"/>
              <a:gd name="connsiteX4" fmla="*/ 1630664 w 5481939"/>
              <a:gd name="connsiteY4" fmla="*/ 3429000 h 5157788"/>
              <a:gd name="connsiteX5" fmla="*/ 2746143 w 5481939"/>
              <a:gd name="connsiteY5" fmla="*/ 0 h 5157788"/>
              <a:gd name="connsiteX0" fmla="*/ 2746143 w 5481939"/>
              <a:gd name="connsiteY0" fmla="*/ 0 h 5157788"/>
              <a:gd name="connsiteX1" fmla="*/ 5481939 w 5481939"/>
              <a:gd name="connsiteY1" fmla="*/ 0 h 5157788"/>
              <a:gd name="connsiteX2" fmla="*/ 5481939 w 5481939"/>
              <a:gd name="connsiteY2" fmla="*/ 5157788 h 5157788"/>
              <a:gd name="connsiteX3" fmla="*/ 585903 w 5481939"/>
              <a:gd name="connsiteY3" fmla="*/ 5153180 h 5157788"/>
              <a:gd name="connsiteX4" fmla="*/ 1630664 w 5481939"/>
              <a:gd name="connsiteY4" fmla="*/ 3429000 h 5157788"/>
              <a:gd name="connsiteX5" fmla="*/ 2746143 w 548193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3574235 w 6310031"/>
              <a:gd name="connsiteY0" fmla="*/ 0 h 5157788"/>
              <a:gd name="connsiteX1" fmla="*/ 6310031 w 6310031"/>
              <a:gd name="connsiteY1" fmla="*/ 0 h 5157788"/>
              <a:gd name="connsiteX2" fmla="*/ 6310031 w 6310031"/>
              <a:gd name="connsiteY2" fmla="*/ 5157788 h 5157788"/>
              <a:gd name="connsiteX3" fmla="*/ 585903 w 6310031"/>
              <a:gd name="connsiteY3" fmla="*/ 5153180 h 5157788"/>
              <a:gd name="connsiteX4" fmla="*/ 1738031 w 6310031"/>
              <a:gd name="connsiteY4" fmla="*/ 3389965 h 5157788"/>
              <a:gd name="connsiteX5" fmla="*/ 3574235 w 6310031"/>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296143 w 5724128"/>
              <a:gd name="connsiteY4" fmla="*/ 3461908 h 5157788"/>
              <a:gd name="connsiteX5" fmla="*/ 2988332 w 5724128"/>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1188132 w 5760132"/>
              <a:gd name="connsiteY4" fmla="*/ 3425937 h 5157788"/>
              <a:gd name="connsiteX5" fmla="*/ 3024336 w 5760132"/>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2736304 w 5760132"/>
              <a:gd name="connsiteY4" fmla="*/ 3461908 h 5157788"/>
              <a:gd name="connsiteX5" fmla="*/ 3024336 w 5760132"/>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2736304 w 5760132"/>
              <a:gd name="connsiteY4" fmla="*/ 3461908 h 5157788"/>
              <a:gd name="connsiteX5" fmla="*/ 3024336 w 5760132"/>
              <a:gd name="connsiteY5" fmla="*/ 0 h 5157788"/>
              <a:gd name="connsiteX0" fmla="*/ 2160240 w 4896036"/>
              <a:gd name="connsiteY0" fmla="*/ 0 h 5157788"/>
              <a:gd name="connsiteX1" fmla="*/ 4896036 w 4896036"/>
              <a:gd name="connsiteY1" fmla="*/ 0 h 5157788"/>
              <a:gd name="connsiteX2" fmla="*/ 4896036 w 4896036"/>
              <a:gd name="connsiteY2" fmla="*/ 5157788 h 5157788"/>
              <a:gd name="connsiteX3" fmla="*/ 0 w 4896036"/>
              <a:gd name="connsiteY3" fmla="*/ 5153180 h 5157788"/>
              <a:gd name="connsiteX4" fmla="*/ 1872208 w 4896036"/>
              <a:gd name="connsiteY4" fmla="*/ 3461908 h 5157788"/>
              <a:gd name="connsiteX5" fmla="*/ 2160240 w 4896036"/>
              <a:gd name="connsiteY5" fmla="*/ 0 h 5157788"/>
              <a:gd name="connsiteX0" fmla="*/ 2232248 w 4968044"/>
              <a:gd name="connsiteY0" fmla="*/ 0 h 5157788"/>
              <a:gd name="connsiteX1" fmla="*/ 4968044 w 4968044"/>
              <a:gd name="connsiteY1" fmla="*/ 0 h 5157788"/>
              <a:gd name="connsiteX2" fmla="*/ 4968044 w 4968044"/>
              <a:gd name="connsiteY2" fmla="*/ 5157788 h 5157788"/>
              <a:gd name="connsiteX3" fmla="*/ 0 w 4968044"/>
              <a:gd name="connsiteY3" fmla="*/ 5153180 h 5157788"/>
              <a:gd name="connsiteX4" fmla="*/ 1944216 w 4968044"/>
              <a:gd name="connsiteY4" fmla="*/ 3461908 h 5157788"/>
              <a:gd name="connsiteX5" fmla="*/ 2232248 w 4968044"/>
              <a:gd name="connsiteY5" fmla="*/ 0 h 5157788"/>
              <a:gd name="connsiteX0" fmla="*/ 2207679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207679 w 4943475"/>
              <a:gd name="connsiteY5" fmla="*/ 0 h 5157788"/>
              <a:gd name="connsiteX0" fmla="*/ 2963763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963763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092200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71575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343583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675731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675731 w 4943475"/>
              <a:gd name="connsiteY5" fmla="*/ 0 h 5157788"/>
              <a:gd name="connsiteX0" fmla="*/ 2675731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675731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9672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19672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1668519 w 3913244"/>
              <a:gd name="connsiteY0" fmla="*/ 0 h 5183692"/>
              <a:gd name="connsiteX1" fmla="*/ 3913244 w 3913244"/>
              <a:gd name="connsiteY1" fmla="*/ 0 h 5183692"/>
              <a:gd name="connsiteX2" fmla="*/ 3913244 w 3913244"/>
              <a:gd name="connsiteY2" fmla="*/ 5157788 h 5183692"/>
              <a:gd name="connsiteX3" fmla="*/ 2456872 w 3913244"/>
              <a:gd name="connsiteY3" fmla="*/ 5183633 h 5183692"/>
              <a:gd name="connsiteX4" fmla="*/ 205340 w 3913244"/>
              <a:gd name="connsiteY4" fmla="*/ 2562613 h 5183692"/>
              <a:gd name="connsiteX5" fmla="*/ 1668519 w 3913244"/>
              <a:gd name="connsiteY5" fmla="*/ 0 h 5183692"/>
              <a:gd name="connsiteX0" fmla="*/ 1668519 w 3923404"/>
              <a:gd name="connsiteY0" fmla="*/ 0 h 5939409"/>
              <a:gd name="connsiteX1" fmla="*/ 3913244 w 3923404"/>
              <a:gd name="connsiteY1" fmla="*/ 0 h 5939409"/>
              <a:gd name="connsiteX2" fmla="*/ 3923404 w 3923404"/>
              <a:gd name="connsiteY2" fmla="*/ 5939409 h 5939409"/>
              <a:gd name="connsiteX3" fmla="*/ 2456872 w 3923404"/>
              <a:gd name="connsiteY3" fmla="*/ 5183633 h 5939409"/>
              <a:gd name="connsiteX4" fmla="*/ 205340 w 3923404"/>
              <a:gd name="connsiteY4" fmla="*/ 2562613 h 5939409"/>
              <a:gd name="connsiteX5" fmla="*/ 1668519 w 3923404"/>
              <a:gd name="connsiteY5" fmla="*/ 0 h 5939409"/>
              <a:gd name="connsiteX0" fmla="*/ 1668519 w 3923404"/>
              <a:gd name="connsiteY0" fmla="*/ 0 h 5939409"/>
              <a:gd name="connsiteX1" fmla="*/ 3913244 w 3923404"/>
              <a:gd name="connsiteY1" fmla="*/ 0 h 5939409"/>
              <a:gd name="connsiteX2" fmla="*/ 3923404 w 3923404"/>
              <a:gd name="connsiteY2" fmla="*/ 5939409 h 5939409"/>
              <a:gd name="connsiteX3" fmla="*/ 2456872 w 3923404"/>
              <a:gd name="connsiteY3" fmla="*/ 5183633 h 5939409"/>
              <a:gd name="connsiteX4" fmla="*/ 205340 w 3923404"/>
              <a:gd name="connsiteY4" fmla="*/ 2562613 h 5939409"/>
              <a:gd name="connsiteX5" fmla="*/ 1668519 w 3923404"/>
              <a:gd name="connsiteY5" fmla="*/ 0 h 5939409"/>
              <a:gd name="connsiteX0" fmla="*/ 1696047 w 3950932"/>
              <a:gd name="connsiteY0" fmla="*/ 0 h 5939409"/>
              <a:gd name="connsiteX1" fmla="*/ 3940772 w 3950932"/>
              <a:gd name="connsiteY1" fmla="*/ 0 h 5939409"/>
              <a:gd name="connsiteX2" fmla="*/ 3950932 w 3950932"/>
              <a:gd name="connsiteY2" fmla="*/ 5939409 h 5939409"/>
              <a:gd name="connsiteX3" fmla="*/ 2484400 w 3950932"/>
              <a:gd name="connsiteY3" fmla="*/ 5183633 h 5939409"/>
              <a:gd name="connsiteX4" fmla="*/ 232868 w 3950932"/>
              <a:gd name="connsiteY4" fmla="*/ 2562613 h 5939409"/>
              <a:gd name="connsiteX5" fmla="*/ 1696047 w 3950932"/>
              <a:gd name="connsiteY5" fmla="*/ 0 h 5939409"/>
              <a:gd name="connsiteX0" fmla="*/ 1463179 w 3718064"/>
              <a:gd name="connsiteY0" fmla="*/ 0 h 5983194"/>
              <a:gd name="connsiteX1" fmla="*/ 3707904 w 3718064"/>
              <a:gd name="connsiteY1" fmla="*/ 0 h 5983194"/>
              <a:gd name="connsiteX2" fmla="*/ 3718064 w 3718064"/>
              <a:gd name="connsiteY2" fmla="*/ 5939409 h 5983194"/>
              <a:gd name="connsiteX3" fmla="*/ 0 w 3718064"/>
              <a:gd name="connsiteY3" fmla="*/ 2562613 h 5983194"/>
              <a:gd name="connsiteX4" fmla="*/ 1463179 w 3718064"/>
              <a:gd name="connsiteY4" fmla="*/ 0 h 5983194"/>
              <a:gd name="connsiteX0" fmla="*/ 1464005 w 3718890"/>
              <a:gd name="connsiteY0" fmla="*/ 0 h 5987401"/>
              <a:gd name="connsiteX1" fmla="*/ 3708730 w 3718890"/>
              <a:gd name="connsiteY1" fmla="*/ 0 h 5987401"/>
              <a:gd name="connsiteX2" fmla="*/ 3718890 w 3718890"/>
              <a:gd name="connsiteY2" fmla="*/ 5939409 h 5987401"/>
              <a:gd name="connsiteX3" fmla="*/ 826 w 3718890"/>
              <a:gd name="connsiteY3" fmla="*/ 2562613 h 5987401"/>
              <a:gd name="connsiteX4" fmla="*/ 1464005 w 3718890"/>
              <a:gd name="connsiteY4" fmla="*/ 0 h 5987401"/>
              <a:gd name="connsiteX0" fmla="*/ 1267 w 2256152"/>
              <a:gd name="connsiteY0" fmla="*/ 0 h 6002954"/>
              <a:gd name="connsiteX1" fmla="*/ 2245992 w 2256152"/>
              <a:gd name="connsiteY1" fmla="*/ 0 h 6002954"/>
              <a:gd name="connsiteX2" fmla="*/ 2256152 w 2256152"/>
              <a:gd name="connsiteY2" fmla="*/ 5939409 h 6002954"/>
              <a:gd name="connsiteX3" fmla="*/ 956168 w 2256152"/>
              <a:gd name="connsiteY3" fmla="*/ 3273178 h 6002954"/>
              <a:gd name="connsiteX4" fmla="*/ 1267 w 2256152"/>
              <a:gd name="connsiteY4" fmla="*/ 0 h 6002954"/>
              <a:gd name="connsiteX0" fmla="*/ 2 w 1299986"/>
              <a:gd name="connsiteY0" fmla="*/ 3321709 h 6044422"/>
              <a:gd name="connsiteX1" fmla="*/ 1289826 w 1299986"/>
              <a:gd name="connsiteY1" fmla="*/ 48531 h 6044422"/>
              <a:gd name="connsiteX2" fmla="*/ 1299986 w 1299986"/>
              <a:gd name="connsiteY2" fmla="*/ 5987940 h 6044422"/>
              <a:gd name="connsiteX3" fmla="*/ 2 w 1299986"/>
              <a:gd name="connsiteY3" fmla="*/ 3321709 h 6044422"/>
              <a:gd name="connsiteX0" fmla="*/ 2 w 1299986"/>
              <a:gd name="connsiteY0" fmla="*/ 3273178 h 5995891"/>
              <a:gd name="connsiteX1" fmla="*/ 1289826 w 1299986"/>
              <a:gd name="connsiteY1" fmla="*/ 0 h 5995891"/>
              <a:gd name="connsiteX2" fmla="*/ 1299986 w 1299986"/>
              <a:gd name="connsiteY2" fmla="*/ 5939409 h 5995891"/>
              <a:gd name="connsiteX3" fmla="*/ 2 w 1299986"/>
              <a:gd name="connsiteY3" fmla="*/ 3273178 h 5995891"/>
              <a:gd name="connsiteX0" fmla="*/ 2 w 1299986"/>
              <a:gd name="connsiteY0" fmla="*/ 3273178 h 5995891"/>
              <a:gd name="connsiteX1" fmla="*/ 1289826 w 1299986"/>
              <a:gd name="connsiteY1" fmla="*/ 0 h 5995891"/>
              <a:gd name="connsiteX2" fmla="*/ 1299986 w 1299986"/>
              <a:gd name="connsiteY2" fmla="*/ 5939409 h 5995891"/>
              <a:gd name="connsiteX3" fmla="*/ 2 w 1299986"/>
              <a:gd name="connsiteY3" fmla="*/ 3273178 h 5995891"/>
              <a:gd name="connsiteX0" fmla="*/ 2 w 1299986"/>
              <a:gd name="connsiteY0" fmla="*/ 3273178 h 5995891"/>
              <a:gd name="connsiteX1" fmla="*/ 1289826 w 1299986"/>
              <a:gd name="connsiteY1" fmla="*/ 0 h 5995891"/>
              <a:gd name="connsiteX2" fmla="*/ 1299986 w 1299986"/>
              <a:gd name="connsiteY2" fmla="*/ 5939409 h 5995891"/>
              <a:gd name="connsiteX3" fmla="*/ 2 w 1299986"/>
              <a:gd name="connsiteY3" fmla="*/ 3273178 h 5995891"/>
              <a:gd name="connsiteX0" fmla="*/ 2 w 1299986"/>
              <a:gd name="connsiteY0" fmla="*/ 2725028 h 5445777"/>
              <a:gd name="connsiteX1" fmla="*/ 1289826 w 1299986"/>
              <a:gd name="connsiteY1" fmla="*/ 0 h 5445777"/>
              <a:gd name="connsiteX2" fmla="*/ 1299986 w 1299986"/>
              <a:gd name="connsiteY2" fmla="*/ 5391259 h 5445777"/>
              <a:gd name="connsiteX3" fmla="*/ 2 w 1299986"/>
              <a:gd name="connsiteY3" fmla="*/ 2725028 h 5445777"/>
              <a:gd name="connsiteX0" fmla="*/ 2 w 1299986"/>
              <a:gd name="connsiteY0" fmla="*/ 3141216 h 5863443"/>
              <a:gd name="connsiteX1" fmla="*/ 1289826 w 1299986"/>
              <a:gd name="connsiteY1" fmla="*/ 0 h 5863443"/>
              <a:gd name="connsiteX2" fmla="*/ 1299986 w 1299986"/>
              <a:gd name="connsiteY2" fmla="*/ 5807447 h 5863443"/>
              <a:gd name="connsiteX3" fmla="*/ 2 w 1299986"/>
              <a:gd name="connsiteY3" fmla="*/ 3141216 h 5863443"/>
              <a:gd name="connsiteX0" fmla="*/ 2 w 1299986"/>
              <a:gd name="connsiteY0" fmla="*/ 3141216 h 5863444"/>
              <a:gd name="connsiteX1" fmla="*/ 1289826 w 1299986"/>
              <a:gd name="connsiteY1" fmla="*/ 0 h 5863444"/>
              <a:gd name="connsiteX2" fmla="*/ 1299986 w 1299986"/>
              <a:gd name="connsiteY2" fmla="*/ 5807447 h 5863444"/>
              <a:gd name="connsiteX3" fmla="*/ 2 w 1299986"/>
              <a:gd name="connsiteY3" fmla="*/ 3141216 h 5863444"/>
              <a:gd name="connsiteX0" fmla="*/ 1 w 1889265"/>
              <a:gd name="connsiteY0" fmla="*/ 3851780 h 5885741"/>
              <a:gd name="connsiteX1" fmla="*/ 1879105 w 1889265"/>
              <a:gd name="connsiteY1" fmla="*/ 0 h 5885741"/>
              <a:gd name="connsiteX2" fmla="*/ 1889265 w 1889265"/>
              <a:gd name="connsiteY2" fmla="*/ 5807447 h 5885741"/>
              <a:gd name="connsiteX3" fmla="*/ 1 w 1889265"/>
              <a:gd name="connsiteY3" fmla="*/ 3851780 h 5885741"/>
              <a:gd name="connsiteX0" fmla="*/ 694 w 1889958"/>
              <a:gd name="connsiteY0" fmla="*/ 3851780 h 5898819"/>
              <a:gd name="connsiteX1" fmla="*/ 1879798 w 1889958"/>
              <a:gd name="connsiteY1" fmla="*/ 0 h 5898819"/>
              <a:gd name="connsiteX2" fmla="*/ 1889958 w 1889958"/>
              <a:gd name="connsiteY2" fmla="*/ 5807447 h 5898819"/>
              <a:gd name="connsiteX3" fmla="*/ 694 w 1889958"/>
              <a:gd name="connsiteY3" fmla="*/ 3851780 h 5898819"/>
              <a:gd name="connsiteX0" fmla="*/ 694 w 1889958"/>
              <a:gd name="connsiteY0" fmla="*/ 3740120 h 5892762"/>
              <a:gd name="connsiteX1" fmla="*/ 1879798 w 1889958"/>
              <a:gd name="connsiteY1" fmla="*/ 0 h 5892762"/>
              <a:gd name="connsiteX2" fmla="*/ 1889958 w 1889958"/>
              <a:gd name="connsiteY2" fmla="*/ 5807447 h 5892762"/>
              <a:gd name="connsiteX3" fmla="*/ 694 w 1889958"/>
              <a:gd name="connsiteY3" fmla="*/ 3740120 h 5892762"/>
              <a:gd name="connsiteX0" fmla="*/ 690 w 1900114"/>
              <a:gd name="connsiteY0" fmla="*/ 3811177 h 5896524"/>
              <a:gd name="connsiteX1" fmla="*/ 1889954 w 1900114"/>
              <a:gd name="connsiteY1" fmla="*/ 0 h 5896524"/>
              <a:gd name="connsiteX2" fmla="*/ 1900114 w 1900114"/>
              <a:gd name="connsiteY2" fmla="*/ 5807447 h 5896524"/>
              <a:gd name="connsiteX3" fmla="*/ 690 w 1900114"/>
              <a:gd name="connsiteY3" fmla="*/ 3811177 h 5896524"/>
              <a:gd name="connsiteX0" fmla="*/ 690 w 1900114"/>
              <a:gd name="connsiteY0" fmla="*/ 3811177 h 5807447"/>
              <a:gd name="connsiteX1" fmla="*/ 1889954 w 1900114"/>
              <a:gd name="connsiteY1" fmla="*/ 0 h 5807447"/>
              <a:gd name="connsiteX2" fmla="*/ 1900114 w 1900114"/>
              <a:gd name="connsiteY2" fmla="*/ 5807447 h 5807447"/>
              <a:gd name="connsiteX3" fmla="*/ 690 w 1900114"/>
              <a:gd name="connsiteY3" fmla="*/ 3811177 h 5807447"/>
              <a:gd name="connsiteX0" fmla="*/ 690 w 1900114"/>
              <a:gd name="connsiteY0" fmla="*/ 3811177 h 5807447"/>
              <a:gd name="connsiteX1" fmla="*/ 1889954 w 1900114"/>
              <a:gd name="connsiteY1" fmla="*/ 0 h 5807447"/>
              <a:gd name="connsiteX2" fmla="*/ 1900114 w 1900114"/>
              <a:gd name="connsiteY2" fmla="*/ 5807447 h 5807447"/>
              <a:gd name="connsiteX3" fmla="*/ 690 w 1900114"/>
              <a:gd name="connsiteY3" fmla="*/ 3811177 h 5807447"/>
              <a:gd name="connsiteX0" fmla="*/ 403 w 1899827"/>
              <a:gd name="connsiteY0" fmla="*/ 3811177 h 5807447"/>
              <a:gd name="connsiteX1" fmla="*/ 1889667 w 1899827"/>
              <a:gd name="connsiteY1" fmla="*/ 0 h 5807447"/>
              <a:gd name="connsiteX2" fmla="*/ 1899827 w 1899827"/>
              <a:gd name="connsiteY2" fmla="*/ 5807447 h 5807447"/>
              <a:gd name="connsiteX3" fmla="*/ 403 w 1899827"/>
              <a:gd name="connsiteY3" fmla="*/ 3811177 h 5807447"/>
            </a:gdLst>
            <a:ahLst/>
            <a:cxnLst>
              <a:cxn ang="0">
                <a:pos x="connsiteX0" y="connsiteY0"/>
              </a:cxn>
              <a:cxn ang="0">
                <a:pos x="connsiteX1" y="connsiteY1"/>
              </a:cxn>
              <a:cxn ang="0">
                <a:pos x="connsiteX2" y="connsiteY2"/>
              </a:cxn>
              <a:cxn ang="0">
                <a:pos x="connsiteX3" y="connsiteY3"/>
              </a:cxn>
            </a:cxnLst>
            <a:rect l="l" t="t" r="r" b="b"/>
            <a:pathLst>
              <a:path w="1899827" h="5807447">
                <a:moveTo>
                  <a:pt x="403" y="3811177"/>
                </a:moveTo>
                <a:cubicBezTo>
                  <a:pt x="-31770" y="2467685"/>
                  <a:pt x="1876203" y="854946"/>
                  <a:pt x="1889667" y="0"/>
                </a:cubicBezTo>
                <a:cubicBezTo>
                  <a:pt x="1893054" y="1979803"/>
                  <a:pt x="1896440" y="3827644"/>
                  <a:pt x="1899827" y="5807447"/>
                </a:cubicBezTo>
                <a:cubicBezTo>
                  <a:pt x="1007523" y="5706703"/>
                  <a:pt x="32576" y="5154669"/>
                  <a:pt x="403" y="3811177"/>
                </a:cubicBezTo>
                <a:close/>
              </a:path>
            </a:pathLst>
          </a:custGeom>
          <a:solidFill>
            <a:schemeClr val="bg2"/>
          </a:solidFill>
          <a:ln w="3175">
            <a:noFill/>
          </a:ln>
        </p:spPr>
        <p:txBody>
          <a:bodyPr tIns="720000" anchor="ctr" anchorCtr="0"/>
          <a:lstStyle>
            <a:lvl1pPr algn="ctr">
              <a:defRPr sz="1500">
                <a:solidFill>
                  <a:schemeClr val="bg1"/>
                </a:solidFill>
              </a:defRPr>
            </a:lvl1pPr>
          </a:lstStyle>
          <a:p>
            <a:r>
              <a:rPr lang="en-US" noProof="0"/>
              <a:t>Select your own photo</a:t>
            </a:r>
          </a:p>
        </p:txBody>
      </p:sp>
    </p:spTree>
    <p:extLst>
      <p:ext uri="{BB962C8B-B14F-4D97-AF65-F5344CB8AC3E}">
        <p14:creationId xmlns:p14="http://schemas.microsoft.com/office/powerpoint/2010/main" val="779085603"/>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type="obj">
  <p:cSld name="Content_Layout">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p:txBody>
          <a:bodyPr/>
          <a:lstStyle/>
          <a:p>
            <a:r>
              <a:rPr lang="en-US" noProof="0"/>
              <a:t>TITLE</a:t>
            </a:r>
          </a:p>
        </p:txBody>
      </p:sp>
      <p:sp>
        <p:nvSpPr>
          <p:cNvPr id="3" name="Espace réservé du contenu 2"/>
          <p:cNvSpPr>
            <a:spLocks noGrp="1"/>
          </p:cNvSpPr>
          <p:nvPr>
            <p:ph idx="1" hasCustomPrompt="1"/>
          </p:nvPr>
        </p:nvSpPr>
        <p:spPr bwMode="gray"/>
        <p:txBody>
          <a:bodyPr/>
          <a:lstStyle>
            <a:lvl2pPr>
              <a:defRPr/>
            </a:lvl2pPr>
            <a:lvl3pPr>
              <a:defRPr/>
            </a:lvl3pPr>
            <a:lvl4pPr>
              <a:defRPr baseline="0"/>
            </a:lvl4pPr>
            <a:lvl5pPr>
              <a:defRPr/>
            </a:lvl5pPr>
          </a:lstStyle>
          <a:p>
            <a:pPr lvl="0"/>
            <a:r>
              <a:rPr lang="en-US" noProof="0"/>
              <a:t>Text level 1</a:t>
            </a:r>
          </a:p>
          <a:p>
            <a:pPr lvl="1"/>
            <a:r>
              <a:rPr lang="en-US" noProof="0"/>
              <a:t>Text level 2</a:t>
            </a:r>
          </a:p>
          <a:p>
            <a:pPr lvl="2"/>
            <a:r>
              <a:rPr lang="en-US" noProof="0"/>
              <a:t>Text level 3</a:t>
            </a:r>
          </a:p>
          <a:p>
            <a:pPr lvl="3"/>
            <a:r>
              <a:rPr lang="en-US" noProof="0"/>
              <a:t>Text level 4</a:t>
            </a:r>
          </a:p>
          <a:p>
            <a:pPr lvl="4"/>
            <a:r>
              <a:rPr lang="en-US" noProof="0"/>
              <a:t>Text level 5</a:t>
            </a:r>
          </a:p>
        </p:txBody>
      </p:sp>
      <p:sp>
        <p:nvSpPr>
          <p:cNvPr id="7" name="Espace réservé de la date 6"/>
          <p:cNvSpPr>
            <a:spLocks noGrp="1"/>
          </p:cNvSpPr>
          <p:nvPr>
            <p:ph type="dt" sz="half" idx="10"/>
          </p:nvPr>
        </p:nvSpPr>
        <p:spPr bwMode="gray"/>
        <p:txBody>
          <a:bodyPr/>
          <a:lstStyle/>
          <a:p>
            <a:r>
              <a:rPr lang="en-US">
                <a:solidFill>
                  <a:prstClr val="white">
                    <a:alpha val="0"/>
                  </a:prstClr>
                </a:solidFill>
              </a:rPr>
              <a:t>Date</a:t>
            </a:r>
          </a:p>
        </p:txBody>
      </p:sp>
      <p:sp>
        <p:nvSpPr>
          <p:cNvPr id="8" name="Espace réservé du numéro de diapositive 7"/>
          <p:cNvSpPr>
            <a:spLocks noGrp="1"/>
          </p:cNvSpPr>
          <p:nvPr>
            <p:ph type="sldNum" sz="quarter" idx="11"/>
          </p:nvPr>
        </p:nvSpPr>
        <p:spPr bwMode="gray"/>
        <p:txBody>
          <a:bodyPr/>
          <a:lstStyle/>
          <a:p>
            <a:pPr algn="l"/>
            <a:fld id="{733122C9-A0B9-462F-8757-0847AD287B63}" type="slidenum">
              <a:rPr lang="en-US" smtClean="0">
                <a:solidFill>
                  <a:srgbClr val="343434"/>
                </a:solidFill>
              </a:rPr>
              <a:pPr algn="l"/>
              <a:t>‹#›</a:t>
            </a:fld>
            <a:endParaRPr lang="en-US">
              <a:solidFill>
                <a:srgbClr val="343434"/>
              </a:solidFill>
            </a:endParaRPr>
          </a:p>
        </p:txBody>
      </p:sp>
      <p:sp>
        <p:nvSpPr>
          <p:cNvPr id="11" name="Espace réservé du pied de page 10"/>
          <p:cNvSpPr>
            <a:spLocks noGrp="1"/>
          </p:cNvSpPr>
          <p:nvPr>
            <p:ph type="ftr" sz="quarter" idx="12"/>
          </p:nvPr>
        </p:nvSpPr>
        <p:spPr bwMode="gray"/>
        <p:txBody>
          <a:bodyPr/>
          <a:lstStyle/>
          <a:p>
            <a:r>
              <a:rPr lang="en-US">
                <a:solidFill>
                  <a:srgbClr val="005CB9"/>
                </a:solidFill>
              </a:rPr>
              <a:t>#</a:t>
            </a:r>
            <a:r>
              <a:rPr lang="en-US" err="1">
                <a:solidFill>
                  <a:srgbClr val="005CB9"/>
                </a:solidFill>
              </a:rPr>
              <a:t>vaccineswork</a:t>
            </a:r>
            <a:endParaRPr lang="en-US">
              <a:solidFill>
                <a:srgbClr val="005CB9"/>
              </a:solidFill>
            </a:endParaRPr>
          </a:p>
        </p:txBody>
      </p:sp>
    </p:spTree>
    <p:extLst>
      <p:ext uri="{BB962C8B-B14F-4D97-AF65-F5344CB8AC3E}">
        <p14:creationId xmlns:p14="http://schemas.microsoft.com/office/powerpoint/2010/main" val="83488071"/>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Picture_Layout">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p:txBody>
          <a:bodyPr/>
          <a:lstStyle/>
          <a:p>
            <a:r>
              <a:rPr lang="en-US" noProof="0"/>
              <a:t>TITLE</a:t>
            </a:r>
          </a:p>
        </p:txBody>
      </p:sp>
      <p:sp>
        <p:nvSpPr>
          <p:cNvPr id="3" name="Espace réservé du contenu 2"/>
          <p:cNvSpPr>
            <a:spLocks noGrp="1"/>
          </p:cNvSpPr>
          <p:nvPr>
            <p:ph idx="1" hasCustomPrompt="1"/>
          </p:nvPr>
        </p:nvSpPr>
        <p:spPr bwMode="gray">
          <a:xfrm>
            <a:off x="3635896" y="1304925"/>
            <a:ext cx="4644504" cy="4716463"/>
          </a:xfrm>
        </p:spPr>
        <p:txBody>
          <a:bodyPr/>
          <a:lstStyle>
            <a:lvl2pPr>
              <a:defRPr/>
            </a:lvl2pPr>
            <a:lvl3pPr>
              <a:defRPr/>
            </a:lvl3pPr>
            <a:lvl4pPr>
              <a:defRPr baseline="0"/>
            </a:lvl4pPr>
            <a:lvl5pPr>
              <a:defRPr/>
            </a:lvl5pPr>
          </a:lstStyle>
          <a:p>
            <a:pPr lvl="0"/>
            <a:r>
              <a:rPr lang="en-US" noProof="0"/>
              <a:t>Text level 1</a:t>
            </a:r>
          </a:p>
          <a:p>
            <a:pPr lvl="1"/>
            <a:r>
              <a:rPr lang="en-US" noProof="0"/>
              <a:t>Text level 2</a:t>
            </a:r>
          </a:p>
          <a:p>
            <a:pPr lvl="2"/>
            <a:r>
              <a:rPr lang="en-US" noProof="0"/>
              <a:t>Text level 3</a:t>
            </a:r>
          </a:p>
          <a:p>
            <a:pPr lvl="3"/>
            <a:r>
              <a:rPr lang="en-US" noProof="0"/>
              <a:t>Text level 4</a:t>
            </a:r>
          </a:p>
          <a:p>
            <a:pPr lvl="4"/>
            <a:r>
              <a:rPr lang="en-US" noProof="0"/>
              <a:t>Text level 5</a:t>
            </a:r>
          </a:p>
        </p:txBody>
      </p:sp>
      <p:sp>
        <p:nvSpPr>
          <p:cNvPr id="9" name="Espace réservé pour une image  8"/>
          <p:cNvSpPr>
            <a:spLocks noGrp="1"/>
          </p:cNvSpPr>
          <p:nvPr>
            <p:ph type="pic" sz="quarter" idx="13" hasCustomPrompt="1"/>
          </p:nvPr>
        </p:nvSpPr>
        <p:spPr bwMode="gray">
          <a:xfrm>
            <a:off x="0" y="1341438"/>
            <a:ext cx="3419038" cy="4679950"/>
          </a:xfrm>
        </p:spPr>
        <p:txBody>
          <a:bodyPr tIns="1008000" anchor="ctr" anchorCtr="0"/>
          <a:lstStyle>
            <a:lvl1pPr algn="ctr">
              <a:defRPr/>
            </a:lvl1pPr>
          </a:lstStyle>
          <a:p>
            <a:r>
              <a:rPr lang="en-US" noProof="0"/>
              <a:t>Select your own photo</a:t>
            </a:r>
          </a:p>
        </p:txBody>
      </p:sp>
      <p:sp>
        <p:nvSpPr>
          <p:cNvPr id="8" name="Espace réservé de la date 7"/>
          <p:cNvSpPr>
            <a:spLocks noGrp="1"/>
          </p:cNvSpPr>
          <p:nvPr>
            <p:ph type="dt" sz="half" idx="14"/>
          </p:nvPr>
        </p:nvSpPr>
        <p:spPr bwMode="gray"/>
        <p:txBody>
          <a:bodyPr/>
          <a:lstStyle/>
          <a:p>
            <a:r>
              <a:rPr lang="en-US">
                <a:solidFill>
                  <a:prstClr val="white">
                    <a:alpha val="0"/>
                  </a:prstClr>
                </a:solidFill>
              </a:rPr>
              <a:t>Date</a:t>
            </a:r>
          </a:p>
        </p:txBody>
      </p:sp>
      <p:sp>
        <p:nvSpPr>
          <p:cNvPr id="11" name="Espace réservé du numéro de diapositive 10"/>
          <p:cNvSpPr>
            <a:spLocks noGrp="1"/>
          </p:cNvSpPr>
          <p:nvPr>
            <p:ph type="sldNum" sz="quarter" idx="15"/>
          </p:nvPr>
        </p:nvSpPr>
        <p:spPr bwMode="gray"/>
        <p:txBody>
          <a:bodyPr/>
          <a:lstStyle/>
          <a:p>
            <a:pPr algn="l"/>
            <a:fld id="{733122C9-A0B9-462F-8757-0847AD287B63}" type="slidenum">
              <a:rPr lang="en-US" smtClean="0">
                <a:solidFill>
                  <a:srgbClr val="343434"/>
                </a:solidFill>
              </a:rPr>
              <a:pPr algn="l"/>
              <a:t>‹#›</a:t>
            </a:fld>
            <a:endParaRPr lang="en-US">
              <a:solidFill>
                <a:srgbClr val="343434"/>
              </a:solidFill>
            </a:endParaRPr>
          </a:p>
        </p:txBody>
      </p:sp>
      <p:sp>
        <p:nvSpPr>
          <p:cNvPr id="12" name="Espace réservé du pied de page 11"/>
          <p:cNvSpPr>
            <a:spLocks noGrp="1"/>
          </p:cNvSpPr>
          <p:nvPr>
            <p:ph type="ftr" sz="quarter" idx="16"/>
          </p:nvPr>
        </p:nvSpPr>
        <p:spPr bwMode="gray"/>
        <p:txBody>
          <a:bodyPr/>
          <a:lstStyle/>
          <a:p>
            <a:r>
              <a:rPr lang="en-US">
                <a:solidFill>
                  <a:srgbClr val="005CB9"/>
                </a:solidFill>
              </a:rPr>
              <a:t>#</a:t>
            </a:r>
            <a:r>
              <a:rPr lang="en-US" err="1">
                <a:solidFill>
                  <a:srgbClr val="005CB9"/>
                </a:solidFill>
              </a:rPr>
              <a:t>vaccineswork</a:t>
            </a:r>
            <a:endParaRPr lang="en-US">
              <a:solidFill>
                <a:srgbClr val="005CB9"/>
              </a:solidFill>
            </a:endParaRPr>
          </a:p>
        </p:txBody>
      </p:sp>
    </p:spTree>
    <p:extLst>
      <p:ext uri="{BB962C8B-B14F-4D97-AF65-F5344CB8AC3E}">
        <p14:creationId xmlns:p14="http://schemas.microsoft.com/office/powerpoint/2010/main" val="821183167"/>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Text&amp;Content_Layout">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p:txBody>
          <a:bodyPr/>
          <a:lstStyle/>
          <a:p>
            <a:r>
              <a:rPr lang="en-US" noProof="0"/>
              <a:t>TITLE</a:t>
            </a:r>
          </a:p>
        </p:txBody>
      </p:sp>
      <p:sp>
        <p:nvSpPr>
          <p:cNvPr id="3" name="Espace réservé du contenu 2"/>
          <p:cNvSpPr>
            <a:spLocks noGrp="1"/>
          </p:cNvSpPr>
          <p:nvPr>
            <p:ph idx="1" hasCustomPrompt="1"/>
          </p:nvPr>
        </p:nvSpPr>
        <p:spPr bwMode="gray">
          <a:xfrm>
            <a:off x="935038" y="2781388"/>
            <a:ext cx="7345362" cy="3240000"/>
          </a:xfrm>
        </p:spPr>
        <p:txBody>
          <a:bodyPr/>
          <a:lstStyle>
            <a:lvl2pPr>
              <a:defRPr/>
            </a:lvl2pPr>
            <a:lvl3pPr>
              <a:defRPr/>
            </a:lvl3pPr>
            <a:lvl4pPr>
              <a:defRPr baseline="0"/>
            </a:lvl4pPr>
            <a:lvl5pPr>
              <a:defRPr/>
            </a:lvl5pPr>
          </a:lstStyle>
          <a:p>
            <a:pPr lvl="0"/>
            <a:r>
              <a:rPr lang="en-US" noProof="0"/>
              <a:t>Text level 1</a:t>
            </a:r>
          </a:p>
          <a:p>
            <a:pPr lvl="1"/>
            <a:r>
              <a:rPr lang="en-US" noProof="0"/>
              <a:t>Text level 2</a:t>
            </a:r>
          </a:p>
          <a:p>
            <a:pPr lvl="2"/>
            <a:r>
              <a:rPr lang="en-US" noProof="0"/>
              <a:t>Text level 3</a:t>
            </a:r>
          </a:p>
          <a:p>
            <a:pPr lvl="3"/>
            <a:r>
              <a:rPr lang="en-US" noProof="0"/>
              <a:t>Text level 4</a:t>
            </a:r>
          </a:p>
          <a:p>
            <a:pPr lvl="4"/>
            <a:r>
              <a:rPr lang="en-US" noProof="0"/>
              <a:t>Text level 5</a:t>
            </a:r>
          </a:p>
        </p:txBody>
      </p:sp>
      <p:sp>
        <p:nvSpPr>
          <p:cNvPr id="10" name="Espace réservé du texte 9"/>
          <p:cNvSpPr>
            <a:spLocks noGrp="1"/>
          </p:cNvSpPr>
          <p:nvPr>
            <p:ph type="body" sz="quarter" idx="13" hasCustomPrompt="1"/>
          </p:nvPr>
        </p:nvSpPr>
        <p:spPr bwMode="gray">
          <a:xfrm>
            <a:off x="935038" y="1304924"/>
            <a:ext cx="7345362" cy="1260000"/>
          </a:xfrm>
        </p:spPr>
        <p:txBody>
          <a:bodyPr/>
          <a:lstStyle/>
          <a:p>
            <a:pPr lvl="0"/>
            <a:r>
              <a:rPr lang="en-US" noProof="0"/>
              <a:t>Text level 1</a:t>
            </a:r>
          </a:p>
          <a:p>
            <a:pPr lvl="1"/>
            <a:r>
              <a:rPr lang="en-US" noProof="0"/>
              <a:t>Text level 2</a:t>
            </a:r>
          </a:p>
          <a:p>
            <a:pPr lvl="2"/>
            <a:r>
              <a:rPr lang="en-US" noProof="0"/>
              <a:t>Text level 3</a:t>
            </a:r>
          </a:p>
          <a:p>
            <a:pPr lvl="3"/>
            <a:r>
              <a:rPr lang="en-US" noProof="0"/>
              <a:t>Text level 4</a:t>
            </a:r>
          </a:p>
          <a:p>
            <a:pPr lvl="4"/>
            <a:r>
              <a:rPr lang="en-US" noProof="0"/>
              <a:t>Text level 5</a:t>
            </a:r>
          </a:p>
        </p:txBody>
      </p:sp>
      <p:sp>
        <p:nvSpPr>
          <p:cNvPr id="8" name="Espace réservé de la date 7"/>
          <p:cNvSpPr>
            <a:spLocks noGrp="1"/>
          </p:cNvSpPr>
          <p:nvPr>
            <p:ph type="dt" sz="half" idx="14"/>
          </p:nvPr>
        </p:nvSpPr>
        <p:spPr bwMode="gray"/>
        <p:txBody>
          <a:bodyPr/>
          <a:lstStyle/>
          <a:p>
            <a:r>
              <a:rPr lang="en-US">
                <a:solidFill>
                  <a:prstClr val="white">
                    <a:alpha val="0"/>
                  </a:prstClr>
                </a:solidFill>
              </a:rPr>
              <a:t>Date</a:t>
            </a:r>
          </a:p>
        </p:txBody>
      </p:sp>
      <p:sp>
        <p:nvSpPr>
          <p:cNvPr id="9" name="Espace réservé du numéro de diapositive 8"/>
          <p:cNvSpPr>
            <a:spLocks noGrp="1"/>
          </p:cNvSpPr>
          <p:nvPr>
            <p:ph type="sldNum" sz="quarter" idx="15"/>
          </p:nvPr>
        </p:nvSpPr>
        <p:spPr bwMode="gray"/>
        <p:txBody>
          <a:bodyPr/>
          <a:lstStyle/>
          <a:p>
            <a:pPr algn="l"/>
            <a:fld id="{733122C9-A0B9-462F-8757-0847AD287B63}" type="slidenum">
              <a:rPr lang="en-US" smtClean="0">
                <a:solidFill>
                  <a:srgbClr val="343434"/>
                </a:solidFill>
              </a:rPr>
              <a:pPr algn="l"/>
              <a:t>‹#›</a:t>
            </a:fld>
            <a:endParaRPr lang="en-US">
              <a:solidFill>
                <a:srgbClr val="343434"/>
              </a:solidFill>
            </a:endParaRPr>
          </a:p>
        </p:txBody>
      </p:sp>
      <p:sp>
        <p:nvSpPr>
          <p:cNvPr id="11" name="Espace réservé du pied de page 10"/>
          <p:cNvSpPr>
            <a:spLocks noGrp="1"/>
          </p:cNvSpPr>
          <p:nvPr>
            <p:ph type="ftr" sz="quarter" idx="16"/>
          </p:nvPr>
        </p:nvSpPr>
        <p:spPr bwMode="gray"/>
        <p:txBody>
          <a:bodyPr/>
          <a:lstStyle/>
          <a:p>
            <a:r>
              <a:rPr lang="en-US">
                <a:solidFill>
                  <a:srgbClr val="005CB9"/>
                </a:solidFill>
              </a:rPr>
              <a:t>#</a:t>
            </a:r>
            <a:r>
              <a:rPr lang="en-US" err="1">
                <a:solidFill>
                  <a:srgbClr val="005CB9"/>
                </a:solidFill>
              </a:rPr>
              <a:t>vaccineswork</a:t>
            </a:r>
            <a:endParaRPr lang="en-US">
              <a:solidFill>
                <a:srgbClr val="005CB9"/>
              </a:solidFill>
            </a:endParaRPr>
          </a:p>
        </p:txBody>
      </p:sp>
    </p:spTree>
    <p:extLst>
      <p:ext uri="{BB962C8B-B14F-4D97-AF65-F5344CB8AC3E}">
        <p14:creationId xmlns:p14="http://schemas.microsoft.com/office/powerpoint/2010/main" val="120666665"/>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Thank_you_1">
    <p:spTree>
      <p:nvGrpSpPr>
        <p:cNvPr id="1" name=""/>
        <p:cNvGrpSpPr/>
        <p:nvPr/>
      </p:nvGrpSpPr>
      <p:grpSpPr>
        <a:xfrm>
          <a:off x="0" y="0"/>
          <a:ext cx="0" cy="0"/>
          <a:chOff x="0" y="0"/>
          <a:chExt cx="0" cy="0"/>
        </a:xfrm>
      </p:grpSpPr>
      <p:pic>
        <p:nvPicPr>
          <p:cNvPr id="19" name="Image 18" descr="FD_1_L254.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gray">
          <a:xfrm>
            <a:off x="0" y="0"/>
            <a:ext cx="9144000" cy="5157788"/>
          </a:xfrm>
          <a:prstGeom prst="rect">
            <a:avLst/>
          </a:prstGeom>
        </p:spPr>
      </p:pic>
      <p:sp>
        <p:nvSpPr>
          <p:cNvPr id="22" name="Rectangle 21"/>
          <p:cNvSpPr/>
          <p:nvPr userDrawn="1"/>
        </p:nvSpPr>
        <p:spPr bwMode="gray">
          <a:xfrm>
            <a:off x="3635375" y="5265204"/>
            <a:ext cx="5508625" cy="15927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pic>
        <p:nvPicPr>
          <p:cNvPr id="20" name="Image 19" descr="Bas_couv.png"/>
          <p:cNvPicPr>
            <a:picLocks noChangeAspect="1"/>
          </p:cNvPicPr>
          <p:nvPr userDrawn="1"/>
        </p:nvPicPr>
        <p:blipFill>
          <a:blip r:embed="rId3" cstate="screen">
            <a:extLst>
              <a:ext uri="{28A0092B-C50C-407E-A947-70E740481C1C}">
                <a14:useLocalDpi xmlns:a14="http://schemas.microsoft.com/office/drawing/2010/main"/>
              </a:ext>
            </a:extLst>
          </a:blip>
          <a:srcRect/>
          <a:stretch>
            <a:fillRect/>
          </a:stretch>
        </p:blipFill>
        <p:spPr bwMode="gray">
          <a:xfrm>
            <a:off x="0" y="5172520"/>
            <a:ext cx="3635375" cy="1685480"/>
          </a:xfrm>
          <a:prstGeom prst="rect">
            <a:avLst/>
          </a:prstGeom>
        </p:spPr>
      </p:pic>
      <p:sp>
        <p:nvSpPr>
          <p:cNvPr id="9" name="Espace réservé du texte 8"/>
          <p:cNvSpPr>
            <a:spLocks noGrp="1"/>
          </p:cNvSpPr>
          <p:nvPr>
            <p:ph type="body" sz="quarter" idx="13" hasCustomPrompt="1"/>
          </p:nvPr>
        </p:nvSpPr>
        <p:spPr bwMode="gray">
          <a:xfrm>
            <a:off x="468314" y="1036638"/>
            <a:ext cx="4824412" cy="2242966"/>
          </a:xfrm>
        </p:spPr>
        <p:txBody>
          <a:bodyPr anchor="b" anchorCtr="0"/>
          <a:lstStyle>
            <a:lvl1pPr marL="0" indent="0" algn="l">
              <a:lnSpc>
                <a:spcPct val="90000"/>
              </a:lnSpc>
              <a:buNone/>
              <a:defRPr sz="2800" b="1" cap="none" baseline="0">
                <a:solidFill>
                  <a:schemeClr val="bg1"/>
                </a:solidFill>
              </a:defRPr>
            </a:lvl1pPr>
            <a:lvl2pPr marL="0" algn="ctr">
              <a:lnSpc>
                <a:spcPct val="100000"/>
              </a:lnSpc>
              <a:spcBef>
                <a:spcPts val="6900"/>
              </a:spcBef>
              <a:defRPr sz="2000" b="1">
                <a:solidFill>
                  <a:schemeClr val="bg1"/>
                </a:solidFill>
              </a:defRPr>
            </a:lvl2pPr>
          </a:lstStyle>
          <a:p>
            <a:pPr lvl="0"/>
            <a:r>
              <a:rPr lang="en-US" noProof="0"/>
              <a:t>TITLE</a:t>
            </a:r>
          </a:p>
        </p:txBody>
      </p:sp>
      <p:sp>
        <p:nvSpPr>
          <p:cNvPr id="10" name="Espace réservé de la date 9"/>
          <p:cNvSpPr>
            <a:spLocks noGrp="1"/>
          </p:cNvSpPr>
          <p:nvPr>
            <p:ph type="dt" sz="half" idx="15"/>
          </p:nvPr>
        </p:nvSpPr>
        <p:spPr bwMode="gray"/>
        <p:txBody>
          <a:bodyPr/>
          <a:lstStyle/>
          <a:p>
            <a:r>
              <a:rPr lang="en-US">
                <a:solidFill>
                  <a:prstClr val="white">
                    <a:alpha val="0"/>
                  </a:prstClr>
                </a:solidFill>
              </a:rPr>
              <a:t>Date</a:t>
            </a:r>
          </a:p>
        </p:txBody>
      </p:sp>
      <p:sp>
        <p:nvSpPr>
          <p:cNvPr id="11" name="Espace réservé du numéro de diapositive 10"/>
          <p:cNvSpPr>
            <a:spLocks noGrp="1"/>
          </p:cNvSpPr>
          <p:nvPr>
            <p:ph type="sldNum" sz="quarter" idx="16"/>
          </p:nvPr>
        </p:nvSpPr>
        <p:spPr bwMode="gray"/>
        <p:txBody>
          <a:bodyPr/>
          <a:lstStyle>
            <a:lvl1pPr>
              <a:defRPr sz="100">
                <a:solidFill>
                  <a:schemeClr val="bg1">
                    <a:alpha val="0"/>
                  </a:schemeClr>
                </a:solidFill>
              </a:defRPr>
            </a:lvl1pPr>
          </a:lstStyle>
          <a:p>
            <a:pPr algn="l"/>
            <a:r>
              <a:rPr lang="en-US">
                <a:solidFill>
                  <a:prstClr val="white">
                    <a:alpha val="0"/>
                  </a:prstClr>
                </a:solidFill>
              </a:rPr>
              <a:t>Page: </a:t>
            </a:r>
            <a:fld id="{733122C9-A0B9-462F-8757-0847AD287B63}" type="slidenum">
              <a:rPr lang="en-US" smtClean="0">
                <a:solidFill>
                  <a:prstClr val="white">
                    <a:alpha val="0"/>
                  </a:prstClr>
                </a:solidFill>
              </a:rPr>
              <a:pPr algn="l"/>
              <a:t>‹#›</a:t>
            </a:fld>
            <a:endParaRPr lang="en-US">
              <a:solidFill>
                <a:prstClr val="white">
                  <a:alpha val="0"/>
                </a:prstClr>
              </a:solidFill>
            </a:endParaRPr>
          </a:p>
        </p:txBody>
      </p:sp>
      <p:sp>
        <p:nvSpPr>
          <p:cNvPr id="12" name="Espace réservé du pied de page 11"/>
          <p:cNvSpPr>
            <a:spLocks noGrp="1"/>
          </p:cNvSpPr>
          <p:nvPr>
            <p:ph type="ftr" sz="quarter" idx="17"/>
          </p:nvPr>
        </p:nvSpPr>
        <p:spPr bwMode="gray">
          <a:xfrm>
            <a:off x="468312" y="524188"/>
            <a:ext cx="4824413" cy="360000"/>
          </a:xfrm>
        </p:spPr>
        <p:txBody>
          <a:bodyPr/>
          <a:lstStyle>
            <a:lvl1pPr algn="l">
              <a:defRPr sz="1800" b="0">
                <a:solidFill>
                  <a:schemeClr val="bg1"/>
                </a:solidFill>
              </a:defRPr>
            </a:lvl1pPr>
          </a:lstStyle>
          <a:p>
            <a:r>
              <a:rPr lang="en-US">
                <a:solidFill>
                  <a:prstClr val="white"/>
                </a:solidFill>
              </a:rPr>
              <a:t>#</a:t>
            </a:r>
            <a:r>
              <a:rPr lang="en-US" err="1">
                <a:solidFill>
                  <a:prstClr val="white"/>
                </a:solidFill>
              </a:rPr>
              <a:t>vaccineswork</a:t>
            </a:r>
            <a:endParaRPr lang="en-US">
              <a:solidFill>
                <a:prstClr val="white"/>
              </a:solidFill>
            </a:endParaRPr>
          </a:p>
        </p:txBody>
      </p:sp>
      <p:sp>
        <p:nvSpPr>
          <p:cNvPr id="15" name="Espace réservé du texte 14"/>
          <p:cNvSpPr>
            <a:spLocks noGrp="1"/>
          </p:cNvSpPr>
          <p:nvPr>
            <p:ph type="body" sz="quarter" idx="19" hasCustomPrompt="1"/>
          </p:nvPr>
        </p:nvSpPr>
        <p:spPr bwMode="gray">
          <a:xfrm>
            <a:off x="3635376" y="6021388"/>
            <a:ext cx="5113338" cy="324000"/>
          </a:xfrm>
        </p:spPr>
        <p:txBody>
          <a:bodyPr anchor="b" anchorCtr="0"/>
          <a:lstStyle>
            <a:lvl1pPr algn="r">
              <a:lnSpc>
                <a:spcPct val="100000"/>
              </a:lnSpc>
              <a:defRPr sz="1000" b="1">
                <a:solidFill>
                  <a:schemeClr val="accent3"/>
                </a:solidFill>
              </a:defRPr>
            </a:lvl1pPr>
          </a:lstStyle>
          <a:p>
            <a:pPr lvl="0"/>
            <a:r>
              <a:rPr lang="en-US" noProof="0"/>
              <a:t>Write your claim here</a:t>
            </a:r>
          </a:p>
        </p:txBody>
      </p:sp>
      <p:sp>
        <p:nvSpPr>
          <p:cNvPr id="16" name="Rectangle 15"/>
          <p:cNvSpPr/>
          <p:nvPr userDrawn="1"/>
        </p:nvSpPr>
        <p:spPr bwMode="gray">
          <a:xfrm>
            <a:off x="3635375" y="6354202"/>
            <a:ext cx="5113338" cy="2872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r"/>
            <a:r>
              <a:rPr lang="en-US" sz="1000" err="1">
                <a:solidFill>
                  <a:srgbClr val="95D600"/>
                </a:solidFill>
              </a:rPr>
              <a:t>www.gavi.org</a:t>
            </a:r>
            <a:endParaRPr lang="en-US" sz="1000">
              <a:solidFill>
                <a:srgbClr val="95D600"/>
              </a:solidFill>
            </a:endParaRPr>
          </a:p>
        </p:txBody>
      </p:sp>
      <p:cxnSp>
        <p:nvCxnSpPr>
          <p:cNvPr id="14" name="Connecteur droit 13"/>
          <p:cNvCxnSpPr/>
          <p:nvPr userDrawn="1"/>
        </p:nvCxnSpPr>
        <p:spPr bwMode="gray">
          <a:xfrm flipH="1">
            <a:off x="468313" y="3400425"/>
            <a:ext cx="2448000" cy="0"/>
          </a:xfrm>
          <a:prstGeom prst="line">
            <a:avLst/>
          </a:prstGeom>
          <a:ln w="24130">
            <a:solidFill>
              <a:schemeClr val="accent1"/>
            </a:solidFill>
          </a:ln>
        </p:spPr>
        <p:style>
          <a:lnRef idx="1">
            <a:schemeClr val="accent1"/>
          </a:lnRef>
          <a:fillRef idx="0">
            <a:schemeClr val="accent1"/>
          </a:fillRef>
          <a:effectRef idx="0">
            <a:schemeClr val="accent1"/>
          </a:effectRef>
          <a:fontRef idx="minor">
            <a:schemeClr val="tx1"/>
          </a:fontRef>
        </p:style>
      </p:cxnSp>
      <p:sp>
        <p:nvSpPr>
          <p:cNvPr id="13" name="Espace réservé pour une image  17"/>
          <p:cNvSpPr>
            <a:spLocks noGrp="1"/>
          </p:cNvSpPr>
          <p:nvPr>
            <p:ph type="pic" sz="quarter" idx="18" hasCustomPrompt="1"/>
          </p:nvPr>
        </p:nvSpPr>
        <p:spPr bwMode="gray">
          <a:xfrm>
            <a:off x="4192588" y="0"/>
            <a:ext cx="4951412" cy="5162400"/>
          </a:xfrm>
          <a:custGeom>
            <a:avLst/>
            <a:gdLst>
              <a:gd name="connsiteX0" fmla="*/ 0 w 3851275"/>
              <a:gd name="connsiteY0" fmla="*/ 0 h 5157788"/>
              <a:gd name="connsiteX1" fmla="*/ 3851275 w 3851275"/>
              <a:gd name="connsiteY1" fmla="*/ 0 h 5157788"/>
              <a:gd name="connsiteX2" fmla="*/ 3851275 w 3851275"/>
              <a:gd name="connsiteY2" fmla="*/ 5157788 h 5157788"/>
              <a:gd name="connsiteX3" fmla="*/ 0 w 3851275"/>
              <a:gd name="connsiteY3" fmla="*/ 5157788 h 5157788"/>
              <a:gd name="connsiteX4" fmla="*/ 0 w 3851275"/>
              <a:gd name="connsiteY4"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0 w 3851275"/>
              <a:gd name="connsiteY3" fmla="*/ 5157788 h 5157788"/>
              <a:gd name="connsiteX4" fmla="*/ 1692275 w 3851275"/>
              <a:gd name="connsiteY4" fmla="*/ 0 h 5157788"/>
              <a:gd name="connsiteX0" fmla="*/ 0 w 2159000"/>
              <a:gd name="connsiteY0" fmla="*/ 0 h 5157788"/>
              <a:gd name="connsiteX1" fmla="*/ 2159000 w 2159000"/>
              <a:gd name="connsiteY1" fmla="*/ 0 h 5157788"/>
              <a:gd name="connsiteX2" fmla="*/ 2159000 w 2159000"/>
              <a:gd name="connsiteY2" fmla="*/ 5157788 h 5157788"/>
              <a:gd name="connsiteX3" fmla="*/ 0 w 2159000"/>
              <a:gd name="connsiteY3" fmla="*/ 5157788 h 5157788"/>
              <a:gd name="connsiteX4" fmla="*/ 0 w 2159000"/>
              <a:gd name="connsiteY4" fmla="*/ 0 h 5157788"/>
              <a:gd name="connsiteX0" fmla="*/ 2625271 w 4784271"/>
              <a:gd name="connsiteY0" fmla="*/ 0 h 5157788"/>
              <a:gd name="connsiteX1" fmla="*/ 4784271 w 4784271"/>
              <a:gd name="connsiteY1" fmla="*/ 0 h 5157788"/>
              <a:gd name="connsiteX2" fmla="*/ 4784271 w 4784271"/>
              <a:gd name="connsiteY2" fmla="*/ 5157788 h 5157788"/>
              <a:gd name="connsiteX3" fmla="*/ 2625271 w 4784271"/>
              <a:gd name="connsiteY3" fmla="*/ 5157788 h 5157788"/>
              <a:gd name="connsiteX4" fmla="*/ 2625271 w 4784271"/>
              <a:gd name="connsiteY4" fmla="*/ 0 h 5157788"/>
              <a:gd name="connsiteX0" fmla="*/ 2625271 w 4784271"/>
              <a:gd name="connsiteY0" fmla="*/ 0 h 5157788"/>
              <a:gd name="connsiteX1" fmla="*/ 4784271 w 4784271"/>
              <a:gd name="connsiteY1" fmla="*/ 0 h 5157788"/>
              <a:gd name="connsiteX2" fmla="*/ 4784271 w 4784271"/>
              <a:gd name="connsiteY2" fmla="*/ 5157788 h 5157788"/>
              <a:gd name="connsiteX3" fmla="*/ 2625271 w 4784271"/>
              <a:gd name="connsiteY3" fmla="*/ 5157788 h 5157788"/>
              <a:gd name="connsiteX4" fmla="*/ 2625271 w 4784271"/>
              <a:gd name="connsiteY4" fmla="*/ 0 h 5157788"/>
              <a:gd name="connsiteX0" fmla="*/ 3568576 w 5727576"/>
              <a:gd name="connsiteY0" fmla="*/ 0 h 5157788"/>
              <a:gd name="connsiteX1" fmla="*/ 5727576 w 5727576"/>
              <a:gd name="connsiteY1" fmla="*/ 0 h 5157788"/>
              <a:gd name="connsiteX2" fmla="*/ 5727576 w 5727576"/>
              <a:gd name="connsiteY2" fmla="*/ 5157788 h 5157788"/>
              <a:gd name="connsiteX3" fmla="*/ 3568576 w 5727576"/>
              <a:gd name="connsiteY3" fmla="*/ 5157788 h 5157788"/>
              <a:gd name="connsiteX4" fmla="*/ 3568576 w 5727576"/>
              <a:gd name="connsiteY4" fmla="*/ 0 h 5157788"/>
              <a:gd name="connsiteX0" fmla="*/ 3306355 w 5465355"/>
              <a:gd name="connsiteY0" fmla="*/ 0 h 5157788"/>
              <a:gd name="connsiteX1" fmla="*/ 5465355 w 5465355"/>
              <a:gd name="connsiteY1" fmla="*/ 0 h 5157788"/>
              <a:gd name="connsiteX2" fmla="*/ 5465355 w 5465355"/>
              <a:gd name="connsiteY2" fmla="*/ 5157788 h 5157788"/>
              <a:gd name="connsiteX3" fmla="*/ 3306355 w 5465355"/>
              <a:gd name="connsiteY3" fmla="*/ 5157788 h 5157788"/>
              <a:gd name="connsiteX4" fmla="*/ 3306355 w 5465355"/>
              <a:gd name="connsiteY4" fmla="*/ 0 h 5157788"/>
              <a:gd name="connsiteX0" fmla="*/ 1416957 w 3575957"/>
              <a:gd name="connsiteY0" fmla="*/ 0 h 5157788"/>
              <a:gd name="connsiteX1" fmla="*/ 3575957 w 3575957"/>
              <a:gd name="connsiteY1" fmla="*/ 0 h 5157788"/>
              <a:gd name="connsiteX2" fmla="*/ 3575957 w 3575957"/>
              <a:gd name="connsiteY2" fmla="*/ 5157788 h 5157788"/>
              <a:gd name="connsiteX3" fmla="*/ 1416957 w 3575957"/>
              <a:gd name="connsiteY3" fmla="*/ 5157788 h 5157788"/>
              <a:gd name="connsiteX4" fmla="*/ 0 w 3575957"/>
              <a:gd name="connsiteY4" fmla="*/ 3339193 h 5157788"/>
              <a:gd name="connsiteX5" fmla="*/ 1416957 w 3575957"/>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6017419"/>
              <a:gd name="connsiteX1" fmla="*/ 3851275 w 3851275"/>
              <a:gd name="connsiteY1" fmla="*/ 0 h 6017419"/>
              <a:gd name="connsiteX2" fmla="*/ 3851275 w 3851275"/>
              <a:gd name="connsiteY2" fmla="*/ 5157788 h 6017419"/>
              <a:gd name="connsiteX3" fmla="*/ 1692275 w 3851275"/>
              <a:gd name="connsiteY3" fmla="*/ 5157788 h 6017419"/>
              <a:gd name="connsiteX4" fmla="*/ 0 w 3851275"/>
              <a:gd name="connsiteY4" fmla="*/ 3284984 h 6017419"/>
              <a:gd name="connsiteX5" fmla="*/ 1692275 w 3851275"/>
              <a:gd name="connsiteY5" fmla="*/ 0 h 6017419"/>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429000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429000 h 5157788"/>
              <a:gd name="connsiteX5" fmla="*/ 1710871 w 3869871"/>
              <a:gd name="connsiteY5" fmla="*/ 0 h 5157788"/>
              <a:gd name="connsiteX0" fmla="*/ 1704975 w 3863975"/>
              <a:gd name="connsiteY0" fmla="*/ 0 h 5157788"/>
              <a:gd name="connsiteX1" fmla="*/ 3863975 w 3863975"/>
              <a:gd name="connsiteY1" fmla="*/ 0 h 5157788"/>
              <a:gd name="connsiteX2" fmla="*/ 3863975 w 3863975"/>
              <a:gd name="connsiteY2" fmla="*/ 5157788 h 5157788"/>
              <a:gd name="connsiteX3" fmla="*/ 1704975 w 3863975"/>
              <a:gd name="connsiteY3" fmla="*/ 5157788 h 5157788"/>
              <a:gd name="connsiteX4" fmla="*/ 12700 w 3863975"/>
              <a:gd name="connsiteY4" fmla="*/ 3429000 h 5157788"/>
              <a:gd name="connsiteX5" fmla="*/ 1704975 w 3863975"/>
              <a:gd name="connsiteY5" fmla="*/ 0 h 5157788"/>
              <a:gd name="connsiteX0" fmla="*/ 1707243 w 3866243"/>
              <a:gd name="connsiteY0" fmla="*/ 0 h 5157788"/>
              <a:gd name="connsiteX1" fmla="*/ 3866243 w 3866243"/>
              <a:gd name="connsiteY1" fmla="*/ 0 h 5157788"/>
              <a:gd name="connsiteX2" fmla="*/ 3866243 w 3866243"/>
              <a:gd name="connsiteY2" fmla="*/ 5157788 h 5157788"/>
              <a:gd name="connsiteX3" fmla="*/ 1707243 w 3866243"/>
              <a:gd name="connsiteY3" fmla="*/ 5157788 h 5157788"/>
              <a:gd name="connsiteX4" fmla="*/ 14968 w 3866243"/>
              <a:gd name="connsiteY4" fmla="*/ 3429000 h 5157788"/>
              <a:gd name="connsiteX5" fmla="*/ 1707243 w 3866243"/>
              <a:gd name="connsiteY5" fmla="*/ 0 h 5157788"/>
              <a:gd name="connsiteX0" fmla="*/ 1130447 w 3866243"/>
              <a:gd name="connsiteY0" fmla="*/ 0 h 5157788"/>
              <a:gd name="connsiteX1" fmla="*/ 3866243 w 3866243"/>
              <a:gd name="connsiteY1" fmla="*/ 0 h 5157788"/>
              <a:gd name="connsiteX2" fmla="*/ 3866243 w 3866243"/>
              <a:gd name="connsiteY2" fmla="*/ 5157788 h 5157788"/>
              <a:gd name="connsiteX3" fmla="*/ 1707243 w 3866243"/>
              <a:gd name="connsiteY3" fmla="*/ 5157788 h 5157788"/>
              <a:gd name="connsiteX4" fmla="*/ 14968 w 3866243"/>
              <a:gd name="connsiteY4" fmla="*/ 3429000 h 5157788"/>
              <a:gd name="connsiteX5" fmla="*/ 1130447 w 3866243"/>
              <a:gd name="connsiteY5" fmla="*/ 0 h 5157788"/>
              <a:gd name="connsiteX0" fmla="*/ 2746143 w 5481939"/>
              <a:gd name="connsiteY0" fmla="*/ 0 h 5157788"/>
              <a:gd name="connsiteX1" fmla="*/ 5481939 w 5481939"/>
              <a:gd name="connsiteY1" fmla="*/ 0 h 5157788"/>
              <a:gd name="connsiteX2" fmla="*/ 5481939 w 5481939"/>
              <a:gd name="connsiteY2" fmla="*/ 5157788 h 5157788"/>
              <a:gd name="connsiteX3" fmla="*/ 585903 w 5481939"/>
              <a:gd name="connsiteY3" fmla="*/ 5153180 h 5157788"/>
              <a:gd name="connsiteX4" fmla="*/ 1630664 w 5481939"/>
              <a:gd name="connsiteY4" fmla="*/ 3429000 h 5157788"/>
              <a:gd name="connsiteX5" fmla="*/ 2746143 w 5481939"/>
              <a:gd name="connsiteY5" fmla="*/ 0 h 5157788"/>
              <a:gd name="connsiteX0" fmla="*/ 2746143 w 5481939"/>
              <a:gd name="connsiteY0" fmla="*/ 0 h 5157788"/>
              <a:gd name="connsiteX1" fmla="*/ 5481939 w 5481939"/>
              <a:gd name="connsiteY1" fmla="*/ 0 h 5157788"/>
              <a:gd name="connsiteX2" fmla="*/ 5481939 w 5481939"/>
              <a:gd name="connsiteY2" fmla="*/ 5157788 h 5157788"/>
              <a:gd name="connsiteX3" fmla="*/ 585903 w 5481939"/>
              <a:gd name="connsiteY3" fmla="*/ 5153180 h 5157788"/>
              <a:gd name="connsiteX4" fmla="*/ 1630664 w 5481939"/>
              <a:gd name="connsiteY4" fmla="*/ 3429000 h 5157788"/>
              <a:gd name="connsiteX5" fmla="*/ 2746143 w 548193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3574235 w 6310031"/>
              <a:gd name="connsiteY0" fmla="*/ 0 h 5157788"/>
              <a:gd name="connsiteX1" fmla="*/ 6310031 w 6310031"/>
              <a:gd name="connsiteY1" fmla="*/ 0 h 5157788"/>
              <a:gd name="connsiteX2" fmla="*/ 6310031 w 6310031"/>
              <a:gd name="connsiteY2" fmla="*/ 5157788 h 5157788"/>
              <a:gd name="connsiteX3" fmla="*/ 585903 w 6310031"/>
              <a:gd name="connsiteY3" fmla="*/ 5153180 h 5157788"/>
              <a:gd name="connsiteX4" fmla="*/ 1738031 w 6310031"/>
              <a:gd name="connsiteY4" fmla="*/ 3389965 h 5157788"/>
              <a:gd name="connsiteX5" fmla="*/ 3574235 w 6310031"/>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296143 w 5724128"/>
              <a:gd name="connsiteY4" fmla="*/ 3461908 h 5157788"/>
              <a:gd name="connsiteX5" fmla="*/ 2988332 w 5724128"/>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1188132 w 5760132"/>
              <a:gd name="connsiteY4" fmla="*/ 3425937 h 5157788"/>
              <a:gd name="connsiteX5" fmla="*/ 3024336 w 5760132"/>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2736304 w 5760132"/>
              <a:gd name="connsiteY4" fmla="*/ 3461908 h 5157788"/>
              <a:gd name="connsiteX5" fmla="*/ 3024336 w 5760132"/>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2736304 w 5760132"/>
              <a:gd name="connsiteY4" fmla="*/ 3461908 h 5157788"/>
              <a:gd name="connsiteX5" fmla="*/ 3024336 w 5760132"/>
              <a:gd name="connsiteY5" fmla="*/ 0 h 5157788"/>
              <a:gd name="connsiteX0" fmla="*/ 2160240 w 4896036"/>
              <a:gd name="connsiteY0" fmla="*/ 0 h 5157788"/>
              <a:gd name="connsiteX1" fmla="*/ 4896036 w 4896036"/>
              <a:gd name="connsiteY1" fmla="*/ 0 h 5157788"/>
              <a:gd name="connsiteX2" fmla="*/ 4896036 w 4896036"/>
              <a:gd name="connsiteY2" fmla="*/ 5157788 h 5157788"/>
              <a:gd name="connsiteX3" fmla="*/ 0 w 4896036"/>
              <a:gd name="connsiteY3" fmla="*/ 5153180 h 5157788"/>
              <a:gd name="connsiteX4" fmla="*/ 1872208 w 4896036"/>
              <a:gd name="connsiteY4" fmla="*/ 3461908 h 5157788"/>
              <a:gd name="connsiteX5" fmla="*/ 2160240 w 4896036"/>
              <a:gd name="connsiteY5" fmla="*/ 0 h 5157788"/>
              <a:gd name="connsiteX0" fmla="*/ 2232248 w 4968044"/>
              <a:gd name="connsiteY0" fmla="*/ 0 h 5157788"/>
              <a:gd name="connsiteX1" fmla="*/ 4968044 w 4968044"/>
              <a:gd name="connsiteY1" fmla="*/ 0 h 5157788"/>
              <a:gd name="connsiteX2" fmla="*/ 4968044 w 4968044"/>
              <a:gd name="connsiteY2" fmla="*/ 5157788 h 5157788"/>
              <a:gd name="connsiteX3" fmla="*/ 0 w 4968044"/>
              <a:gd name="connsiteY3" fmla="*/ 5153180 h 5157788"/>
              <a:gd name="connsiteX4" fmla="*/ 1944216 w 4968044"/>
              <a:gd name="connsiteY4" fmla="*/ 3461908 h 5157788"/>
              <a:gd name="connsiteX5" fmla="*/ 2232248 w 4968044"/>
              <a:gd name="connsiteY5" fmla="*/ 0 h 5157788"/>
              <a:gd name="connsiteX0" fmla="*/ 2207679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207679 w 4943475"/>
              <a:gd name="connsiteY5" fmla="*/ 0 h 5157788"/>
              <a:gd name="connsiteX0" fmla="*/ 2963763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963763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092200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71575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343583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675731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675731 w 4943475"/>
              <a:gd name="connsiteY5" fmla="*/ 0 h 5157788"/>
              <a:gd name="connsiteX0" fmla="*/ 2675731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675731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9672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19672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51412" h="5157788">
                <a:moveTo>
                  <a:pt x="2706687" y="0"/>
                </a:moveTo>
                <a:lnTo>
                  <a:pt x="4951412" y="0"/>
                </a:lnTo>
                <a:lnTo>
                  <a:pt x="4951412" y="5157788"/>
                </a:lnTo>
                <a:lnTo>
                  <a:pt x="0" y="5153180"/>
                </a:lnTo>
                <a:cubicBezTo>
                  <a:pt x="84411" y="4542509"/>
                  <a:pt x="183041" y="4024723"/>
                  <a:pt x="1243508" y="2562613"/>
                </a:cubicBezTo>
                <a:cubicBezTo>
                  <a:pt x="1867447" y="1704780"/>
                  <a:pt x="2665955" y="709265"/>
                  <a:pt x="2706687" y="0"/>
                </a:cubicBezTo>
                <a:close/>
              </a:path>
            </a:pathLst>
          </a:custGeom>
          <a:solidFill>
            <a:schemeClr val="bg2"/>
          </a:solidFill>
          <a:ln w="3175">
            <a:noFill/>
          </a:ln>
        </p:spPr>
        <p:txBody>
          <a:bodyPr tIns="720000" anchor="ctr" anchorCtr="0"/>
          <a:lstStyle>
            <a:lvl1pPr algn="ctr">
              <a:defRPr sz="1500">
                <a:solidFill>
                  <a:schemeClr val="bg1"/>
                </a:solidFill>
              </a:defRPr>
            </a:lvl1pPr>
          </a:lstStyle>
          <a:p>
            <a:r>
              <a:rPr lang="en-US" noProof="0"/>
              <a:t>Select your own photo</a:t>
            </a:r>
          </a:p>
        </p:txBody>
      </p:sp>
    </p:spTree>
    <p:extLst>
      <p:ext uri="{BB962C8B-B14F-4D97-AF65-F5344CB8AC3E}">
        <p14:creationId xmlns:p14="http://schemas.microsoft.com/office/powerpoint/2010/main" val="202758657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hank_you_picture_1">
    <p:spTree>
      <p:nvGrpSpPr>
        <p:cNvPr id="1" name=""/>
        <p:cNvGrpSpPr/>
        <p:nvPr/>
      </p:nvGrpSpPr>
      <p:grpSpPr>
        <a:xfrm>
          <a:off x="0" y="0"/>
          <a:ext cx="0" cy="0"/>
          <a:chOff x="0" y="0"/>
          <a:chExt cx="0" cy="0"/>
        </a:xfrm>
      </p:grpSpPr>
      <p:pic>
        <p:nvPicPr>
          <p:cNvPr id="14" name="Image 13" descr="FD_1_L254.png"/>
          <p:cNvPicPr>
            <a:picLocks noChangeAspect="1"/>
          </p:cNvPicPr>
          <p:nvPr userDrawn="1"/>
        </p:nvPicPr>
        <p:blipFill>
          <a:blip r:embed="rId2" cstate="print"/>
          <a:stretch>
            <a:fillRect/>
          </a:stretch>
        </p:blipFill>
        <p:spPr bwMode="gray">
          <a:xfrm>
            <a:off x="0" y="0"/>
            <a:ext cx="9144000" cy="5157788"/>
          </a:xfrm>
          <a:prstGeom prst="rect">
            <a:avLst/>
          </a:prstGeom>
        </p:spPr>
      </p:pic>
      <p:sp>
        <p:nvSpPr>
          <p:cNvPr id="18" name="Espace réservé pour une image  17"/>
          <p:cNvSpPr>
            <a:spLocks noGrp="1"/>
          </p:cNvSpPr>
          <p:nvPr>
            <p:ph type="pic" sz="quarter" idx="18" hasCustomPrompt="1"/>
          </p:nvPr>
        </p:nvSpPr>
        <p:spPr bwMode="gray">
          <a:xfrm>
            <a:off x="4192588" y="0"/>
            <a:ext cx="4951412" cy="5162400"/>
          </a:xfrm>
          <a:custGeom>
            <a:avLst/>
            <a:gdLst>
              <a:gd name="connsiteX0" fmla="*/ 0 w 3851275"/>
              <a:gd name="connsiteY0" fmla="*/ 0 h 5157788"/>
              <a:gd name="connsiteX1" fmla="*/ 3851275 w 3851275"/>
              <a:gd name="connsiteY1" fmla="*/ 0 h 5157788"/>
              <a:gd name="connsiteX2" fmla="*/ 3851275 w 3851275"/>
              <a:gd name="connsiteY2" fmla="*/ 5157788 h 5157788"/>
              <a:gd name="connsiteX3" fmla="*/ 0 w 3851275"/>
              <a:gd name="connsiteY3" fmla="*/ 5157788 h 5157788"/>
              <a:gd name="connsiteX4" fmla="*/ 0 w 3851275"/>
              <a:gd name="connsiteY4"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0 w 3851275"/>
              <a:gd name="connsiteY3" fmla="*/ 5157788 h 5157788"/>
              <a:gd name="connsiteX4" fmla="*/ 1692275 w 3851275"/>
              <a:gd name="connsiteY4" fmla="*/ 0 h 5157788"/>
              <a:gd name="connsiteX0" fmla="*/ 0 w 2159000"/>
              <a:gd name="connsiteY0" fmla="*/ 0 h 5157788"/>
              <a:gd name="connsiteX1" fmla="*/ 2159000 w 2159000"/>
              <a:gd name="connsiteY1" fmla="*/ 0 h 5157788"/>
              <a:gd name="connsiteX2" fmla="*/ 2159000 w 2159000"/>
              <a:gd name="connsiteY2" fmla="*/ 5157788 h 5157788"/>
              <a:gd name="connsiteX3" fmla="*/ 0 w 2159000"/>
              <a:gd name="connsiteY3" fmla="*/ 5157788 h 5157788"/>
              <a:gd name="connsiteX4" fmla="*/ 0 w 2159000"/>
              <a:gd name="connsiteY4" fmla="*/ 0 h 5157788"/>
              <a:gd name="connsiteX0" fmla="*/ 2625271 w 4784271"/>
              <a:gd name="connsiteY0" fmla="*/ 0 h 5157788"/>
              <a:gd name="connsiteX1" fmla="*/ 4784271 w 4784271"/>
              <a:gd name="connsiteY1" fmla="*/ 0 h 5157788"/>
              <a:gd name="connsiteX2" fmla="*/ 4784271 w 4784271"/>
              <a:gd name="connsiteY2" fmla="*/ 5157788 h 5157788"/>
              <a:gd name="connsiteX3" fmla="*/ 2625271 w 4784271"/>
              <a:gd name="connsiteY3" fmla="*/ 5157788 h 5157788"/>
              <a:gd name="connsiteX4" fmla="*/ 2625271 w 4784271"/>
              <a:gd name="connsiteY4" fmla="*/ 0 h 5157788"/>
              <a:gd name="connsiteX0" fmla="*/ 2625271 w 4784271"/>
              <a:gd name="connsiteY0" fmla="*/ 0 h 5157788"/>
              <a:gd name="connsiteX1" fmla="*/ 4784271 w 4784271"/>
              <a:gd name="connsiteY1" fmla="*/ 0 h 5157788"/>
              <a:gd name="connsiteX2" fmla="*/ 4784271 w 4784271"/>
              <a:gd name="connsiteY2" fmla="*/ 5157788 h 5157788"/>
              <a:gd name="connsiteX3" fmla="*/ 2625271 w 4784271"/>
              <a:gd name="connsiteY3" fmla="*/ 5157788 h 5157788"/>
              <a:gd name="connsiteX4" fmla="*/ 2625271 w 4784271"/>
              <a:gd name="connsiteY4" fmla="*/ 0 h 5157788"/>
              <a:gd name="connsiteX0" fmla="*/ 3568576 w 5727576"/>
              <a:gd name="connsiteY0" fmla="*/ 0 h 5157788"/>
              <a:gd name="connsiteX1" fmla="*/ 5727576 w 5727576"/>
              <a:gd name="connsiteY1" fmla="*/ 0 h 5157788"/>
              <a:gd name="connsiteX2" fmla="*/ 5727576 w 5727576"/>
              <a:gd name="connsiteY2" fmla="*/ 5157788 h 5157788"/>
              <a:gd name="connsiteX3" fmla="*/ 3568576 w 5727576"/>
              <a:gd name="connsiteY3" fmla="*/ 5157788 h 5157788"/>
              <a:gd name="connsiteX4" fmla="*/ 3568576 w 5727576"/>
              <a:gd name="connsiteY4" fmla="*/ 0 h 5157788"/>
              <a:gd name="connsiteX0" fmla="*/ 3306355 w 5465355"/>
              <a:gd name="connsiteY0" fmla="*/ 0 h 5157788"/>
              <a:gd name="connsiteX1" fmla="*/ 5465355 w 5465355"/>
              <a:gd name="connsiteY1" fmla="*/ 0 h 5157788"/>
              <a:gd name="connsiteX2" fmla="*/ 5465355 w 5465355"/>
              <a:gd name="connsiteY2" fmla="*/ 5157788 h 5157788"/>
              <a:gd name="connsiteX3" fmla="*/ 3306355 w 5465355"/>
              <a:gd name="connsiteY3" fmla="*/ 5157788 h 5157788"/>
              <a:gd name="connsiteX4" fmla="*/ 3306355 w 5465355"/>
              <a:gd name="connsiteY4" fmla="*/ 0 h 5157788"/>
              <a:gd name="connsiteX0" fmla="*/ 1416957 w 3575957"/>
              <a:gd name="connsiteY0" fmla="*/ 0 h 5157788"/>
              <a:gd name="connsiteX1" fmla="*/ 3575957 w 3575957"/>
              <a:gd name="connsiteY1" fmla="*/ 0 h 5157788"/>
              <a:gd name="connsiteX2" fmla="*/ 3575957 w 3575957"/>
              <a:gd name="connsiteY2" fmla="*/ 5157788 h 5157788"/>
              <a:gd name="connsiteX3" fmla="*/ 1416957 w 3575957"/>
              <a:gd name="connsiteY3" fmla="*/ 5157788 h 5157788"/>
              <a:gd name="connsiteX4" fmla="*/ 0 w 3575957"/>
              <a:gd name="connsiteY4" fmla="*/ 3339193 h 5157788"/>
              <a:gd name="connsiteX5" fmla="*/ 1416957 w 3575957"/>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6017419"/>
              <a:gd name="connsiteX1" fmla="*/ 3851275 w 3851275"/>
              <a:gd name="connsiteY1" fmla="*/ 0 h 6017419"/>
              <a:gd name="connsiteX2" fmla="*/ 3851275 w 3851275"/>
              <a:gd name="connsiteY2" fmla="*/ 5157788 h 6017419"/>
              <a:gd name="connsiteX3" fmla="*/ 1692275 w 3851275"/>
              <a:gd name="connsiteY3" fmla="*/ 5157788 h 6017419"/>
              <a:gd name="connsiteX4" fmla="*/ 0 w 3851275"/>
              <a:gd name="connsiteY4" fmla="*/ 3284984 h 6017419"/>
              <a:gd name="connsiteX5" fmla="*/ 1692275 w 3851275"/>
              <a:gd name="connsiteY5" fmla="*/ 0 h 6017419"/>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429000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429000 h 5157788"/>
              <a:gd name="connsiteX5" fmla="*/ 1710871 w 3869871"/>
              <a:gd name="connsiteY5" fmla="*/ 0 h 5157788"/>
              <a:gd name="connsiteX0" fmla="*/ 1704975 w 3863975"/>
              <a:gd name="connsiteY0" fmla="*/ 0 h 5157788"/>
              <a:gd name="connsiteX1" fmla="*/ 3863975 w 3863975"/>
              <a:gd name="connsiteY1" fmla="*/ 0 h 5157788"/>
              <a:gd name="connsiteX2" fmla="*/ 3863975 w 3863975"/>
              <a:gd name="connsiteY2" fmla="*/ 5157788 h 5157788"/>
              <a:gd name="connsiteX3" fmla="*/ 1704975 w 3863975"/>
              <a:gd name="connsiteY3" fmla="*/ 5157788 h 5157788"/>
              <a:gd name="connsiteX4" fmla="*/ 12700 w 3863975"/>
              <a:gd name="connsiteY4" fmla="*/ 3429000 h 5157788"/>
              <a:gd name="connsiteX5" fmla="*/ 1704975 w 3863975"/>
              <a:gd name="connsiteY5" fmla="*/ 0 h 5157788"/>
              <a:gd name="connsiteX0" fmla="*/ 1707243 w 3866243"/>
              <a:gd name="connsiteY0" fmla="*/ 0 h 5157788"/>
              <a:gd name="connsiteX1" fmla="*/ 3866243 w 3866243"/>
              <a:gd name="connsiteY1" fmla="*/ 0 h 5157788"/>
              <a:gd name="connsiteX2" fmla="*/ 3866243 w 3866243"/>
              <a:gd name="connsiteY2" fmla="*/ 5157788 h 5157788"/>
              <a:gd name="connsiteX3" fmla="*/ 1707243 w 3866243"/>
              <a:gd name="connsiteY3" fmla="*/ 5157788 h 5157788"/>
              <a:gd name="connsiteX4" fmla="*/ 14968 w 3866243"/>
              <a:gd name="connsiteY4" fmla="*/ 3429000 h 5157788"/>
              <a:gd name="connsiteX5" fmla="*/ 1707243 w 3866243"/>
              <a:gd name="connsiteY5" fmla="*/ 0 h 5157788"/>
              <a:gd name="connsiteX0" fmla="*/ 1130447 w 3866243"/>
              <a:gd name="connsiteY0" fmla="*/ 0 h 5157788"/>
              <a:gd name="connsiteX1" fmla="*/ 3866243 w 3866243"/>
              <a:gd name="connsiteY1" fmla="*/ 0 h 5157788"/>
              <a:gd name="connsiteX2" fmla="*/ 3866243 w 3866243"/>
              <a:gd name="connsiteY2" fmla="*/ 5157788 h 5157788"/>
              <a:gd name="connsiteX3" fmla="*/ 1707243 w 3866243"/>
              <a:gd name="connsiteY3" fmla="*/ 5157788 h 5157788"/>
              <a:gd name="connsiteX4" fmla="*/ 14968 w 3866243"/>
              <a:gd name="connsiteY4" fmla="*/ 3429000 h 5157788"/>
              <a:gd name="connsiteX5" fmla="*/ 1130447 w 3866243"/>
              <a:gd name="connsiteY5" fmla="*/ 0 h 5157788"/>
              <a:gd name="connsiteX0" fmla="*/ 2746143 w 5481939"/>
              <a:gd name="connsiteY0" fmla="*/ 0 h 5157788"/>
              <a:gd name="connsiteX1" fmla="*/ 5481939 w 5481939"/>
              <a:gd name="connsiteY1" fmla="*/ 0 h 5157788"/>
              <a:gd name="connsiteX2" fmla="*/ 5481939 w 5481939"/>
              <a:gd name="connsiteY2" fmla="*/ 5157788 h 5157788"/>
              <a:gd name="connsiteX3" fmla="*/ 585903 w 5481939"/>
              <a:gd name="connsiteY3" fmla="*/ 5153180 h 5157788"/>
              <a:gd name="connsiteX4" fmla="*/ 1630664 w 5481939"/>
              <a:gd name="connsiteY4" fmla="*/ 3429000 h 5157788"/>
              <a:gd name="connsiteX5" fmla="*/ 2746143 w 5481939"/>
              <a:gd name="connsiteY5" fmla="*/ 0 h 5157788"/>
              <a:gd name="connsiteX0" fmla="*/ 2746143 w 5481939"/>
              <a:gd name="connsiteY0" fmla="*/ 0 h 5157788"/>
              <a:gd name="connsiteX1" fmla="*/ 5481939 w 5481939"/>
              <a:gd name="connsiteY1" fmla="*/ 0 h 5157788"/>
              <a:gd name="connsiteX2" fmla="*/ 5481939 w 5481939"/>
              <a:gd name="connsiteY2" fmla="*/ 5157788 h 5157788"/>
              <a:gd name="connsiteX3" fmla="*/ 585903 w 5481939"/>
              <a:gd name="connsiteY3" fmla="*/ 5153180 h 5157788"/>
              <a:gd name="connsiteX4" fmla="*/ 1630664 w 5481939"/>
              <a:gd name="connsiteY4" fmla="*/ 3429000 h 5157788"/>
              <a:gd name="connsiteX5" fmla="*/ 2746143 w 548193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3574235 w 6310031"/>
              <a:gd name="connsiteY0" fmla="*/ 0 h 5157788"/>
              <a:gd name="connsiteX1" fmla="*/ 6310031 w 6310031"/>
              <a:gd name="connsiteY1" fmla="*/ 0 h 5157788"/>
              <a:gd name="connsiteX2" fmla="*/ 6310031 w 6310031"/>
              <a:gd name="connsiteY2" fmla="*/ 5157788 h 5157788"/>
              <a:gd name="connsiteX3" fmla="*/ 585903 w 6310031"/>
              <a:gd name="connsiteY3" fmla="*/ 5153180 h 5157788"/>
              <a:gd name="connsiteX4" fmla="*/ 1738031 w 6310031"/>
              <a:gd name="connsiteY4" fmla="*/ 3389965 h 5157788"/>
              <a:gd name="connsiteX5" fmla="*/ 3574235 w 6310031"/>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296143 w 5724128"/>
              <a:gd name="connsiteY4" fmla="*/ 3461908 h 5157788"/>
              <a:gd name="connsiteX5" fmla="*/ 2988332 w 5724128"/>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1188132 w 5760132"/>
              <a:gd name="connsiteY4" fmla="*/ 3425937 h 5157788"/>
              <a:gd name="connsiteX5" fmla="*/ 3024336 w 5760132"/>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2736304 w 5760132"/>
              <a:gd name="connsiteY4" fmla="*/ 3461908 h 5157788"/>
              <a:gd name="connsiteX5" fmla="*/ 3024336 w 5760132"/>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2736304 w 5760132"/>
              <a:gd name="connsiteY4" fmla="*/ 3461908 h 5157788"/>
              <a:gd name="connsiteX5" fmla="*/ 3024336 w 5760132"/>
              <a:gd name="connsiteY5" fmla="*/ 0 h 5157788"/>
              <a:gd name="connsiteX0" fmla="*/ 2160240 w 4896036"/>
              <a:gd name="connsiteY0" fmla="*/ 0 h 5157788"/>
              <a:gd name="connsiteX1" fmla="*/ 4896036 w 4896036"/>
              <a:gd name="connsiteY1" fmla="*/ 0 h 5157788"/>
              <a:gd name="connsiteX2" fmla="*/ 4896036 w 4896036"/>
              <a:gd name="connsiteY2" fmla="*/ 5157788 h 5157788"/>
              <a:gd name="connsiteX3" fmla="*/ 0 w 4896036"/>
              <a:gd name="connsiteY3" fmla="*/ 5153180 h 5157788"/>
              <a:gd name="connsiteX4" fmla="*/ 1872208 w 4896036"/>
              <a:gd name="connsiteY4" fmla="*/ 3461908 h 5157788"/>
              <a:gd name="connsiteX5" fmla="*/ 2160240 w 4896036"/>
              <a:gd name="connsiteY5" fmla="*/ 0 h 5157788"/>
              <a:gd name="connsiteX0" fmla="*/ 2232248 w 4968044"/>
              <a:gd name="connsiteY0" fmla="*/ 0 h 5157788"/>
              <a:gd name="connsiteX1" fmla="*/ 4968044 w 4968044"/>
              <a:gd name="connsiteY1" fmla="*/ 0 h 5157788"/>
              <a:gd name="connsiteX2" fmla="*/ 4968044 w 4968044"/>
              <a:gd name="connsiteY2" fmla="*/ 5157788 h 5157788"/>
              <a:gd name="connsiteX3" fmla="*/ 0 w 4968044"/>
              <a:gd name="connsiteY3" fmla="*/ 5153180 h 5157788"/>
              <a:gd name="connsiteX4" fmla="*/ 1944216 w 4968044"/>
              <a:gd name="connsiteY4" fmla="*/ 3461908 h 5157788"/>
              <a:gd name="connsiteX5" fmla="*/ 2232248 w 4968044"/>
              <a:gd name="connsiteY5" fmla="*/ 0 h 5157788"/>
              <a:gd name="connsiteX0" fmla="*/ 2207679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207679 w 4943475"/>
              <a:gd name="connsiteY5" fmla="*/ 0 h 5157788"/>
              <a:gd name="connsiteX0" fmla="*/ 2963763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963763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092200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71575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343583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675731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675731 w 4943475"/>
              <a:gd name="connsiteY5" fmla="*/ 0 h 5157788"/>
              <a:gd name="connsiteX0" fmla="*/ 2675731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675731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9672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19672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51412" h="5157788">
                <a:moveTo>
                  <a:pt x="2706687" y="0"/>
                </a:moveTo>
                <a:lnTo>
                  <a:pt x="4951412" y="0"/>
                </a:lnTo>
                <a:lnTo>
                  <a:pt x="4951412" y="5157788"/>
                </a:lnTo>
                <a:lnTo>
                  <a:pt x="0" y="5153180"/>
                </a:lnTo>
                <a:cubicBezTo>
                  <a:pt x="84411" y="4542509"/>
                  <a:pt x="183041" y="4024723"/>
                  <a:pt x="1243508" y="2562613"/>
                </a:cubicBezTo>
                <a:cubicBezTo>
                  <a:pt x="1867447" y="1704780"/>
                  <a:pt x="2665955" y="709265"/>
                  <a:pt x="2706687" y="0"/>
                </a:cubicBezTo>
                <a:close/>
              </a:path>
            </a:pathLst>
          </a:custGeom>
          <a:solidFill>
            <a:schemeClr val="bg2"/>
          </a:solidFill>
          <a:ln w="3175">
            <a:noFill/>
          </a:ln>
        </p:spPr>
        <p:txBody>
          <a:bodyPr tIns="720000" anchor="ctr" anchorCtr="0"/>
          <a:lstStyle>
            <a:lvl1pPr algn="ctr">
              <a:defRPr sz="1500">
                <a:solidFill>
                  <a:schemeClr val="bg1"/>
                </a:solidFill>
              </a:defRPr>
            </a:lvl1pPr>
          </a:lstStyle>
          <a:p>
            <a:r>
              <a:rPr lang="en-US" noProof="0"/>
              <a:t>Select your own photo</a:t>
            </a:r>
          </a:p>
        </p:txBody>
      </p:sp>
      <p:sp>
        <p:nvSpPr>
          <p:cNvPr id="22" name="Rectangle 21"/>
          <p:cNvSpPr/>
          <p:nvPr userDrawn="1"/>
        </p:nvSpPr>
        <p:spPr bwMode="gray">
          <a:xfrm>
            <a:off x="3635375" y="5265204"/>
            <a:ext cx="5508625" cy="15927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pic>
        <p:nvPicPr>
          <p:cNvPr id="20" name="Image 19" descr="Bas_couv.png"/>
          <p:cNvPicPr>
            <a:picLocks noChangeAspect="1"/>
          </p:cNvPicPr>
          <p:nvPr userDrawn="1"/>
        </p:nvPicPr>
        <p:blipFill>
          <a:blip r:embed="rId3" cstate="print"/>
          <a:srcRect r="60243" b="722"/>
          <a:stretch>
            <a:fillRect/>
          </a:stretch>
        </p:blipFill>
        <p:spPr bwMode="gray">
          <a:xfrm>
            <a:off x="0" y="5172520"/>
            <a:ext cx="3635375" cy="1685480"/>
          </a:xfrm>
          <a:prstGeom prst="rect">
            <a:avLst/>
          </a:prstGeom>
        </p:spPr>
      </p:pic>
      <p:sp>
        <p:nvSpPr>
          <p:cNvPr id="9" name="Espace réservé du texte 8"/>
          <p:cNvSpPr>
            <a:spLocks noGrp="1"/>
          </p:cNvSpPr>
          <p:nvPr>
            <p:ph type="body" sz="quarter" idx="13" hasCustomPrompt="1"/>
          </p:nvPr>
        </p:nvSpPr>
        <p:spPr bwMode="gray">
          <a:xfrm>
            <a:off x="468000" y="1036800"/>
            <a:ext cx="4824412" cy="2232000"/>
          </a:xfrm>
        </p:spPr>
        <p:txBody>
          <a:bodyPr anchor="b" anchorCtr="0"/>
          <a:lstStyle>
            <a:lvl1pPr marL="0" indent="0" algn="l">
              <a:lnSpc>
                <a:spcPct val="90000"/>
              </a:lnSpc>
              <a:buNone/>
              <a:defRPr sz="2800" b="1" cap="none" baseline="0">
                <a:solidFill>
                  <a:schemeClr val="bg1"/>
                </a:solidFill>
              </a:defRPr>
            </a:lvl1pPr>
            <a:lvl2pPr marL="0" algn="ctr">
              <a:lnSpc>
                <a:spcPct val="100000"/>
              </a:lnSpc>
              <a:spcBef>
                <a:spcPts val="6900"/>
              </a:spcBef>
              <a:defRPr sz="2000" b="1">
                <a:solidFill>
                  <a:schemeClr val="bg1"/>
                </a:solidFill>
              </a:defRPr>
            </a:lvl2pPr>
          </a:lstStyle>
          <a:p>
            <a:pPr lvl="0"/>
            <a:r>
              <a:rPr lang="en-US" noProof="0"/>
              <a:t>TITLE</a:t>
            </a:r>
          </a:p>
        </p:txBody>
      </p:sp>
      <p:sp>
        <p:nvSpPr>
          <p:cNvPr id="10" name="Espace réservé de la date 9"/>
          <p:cNvSpPr>
            <a:spLocks noGrp="1"/>
          </p:cNvSpPr>
          <p:nvPr>
            <p:ph type="dt" sz="half" idx="15"/>
          </p:nvPr>
        </p:nvSpPr>
        <p:spPr bwMode="gray"/>
        <p:txBody>
          <a:bodyPr/>
          <a:lstStyle/>
          <a:p>
            <a:r>
              <a:rPr lang="en-US" noProof="0"/>
              <a:t>Date</a:t>
            </a:r>
          </a:p>
        </p:txBody>
      </p:sp>
      <p:sp>
        <p:nvSpPr>
          <p:cNvPr id="11" name="Espace réservé du numéro de diapositive 10"/>
          <p:cNvSpPr>
            <a:spLocks noGrp="1"/>
          </p:cNvSpPr>
          <p:nvPr>
            <p:ph type="sldNum" sz="quarter" idx="16"/>
          </p:nvPr>
        </p:nvSpPr>
        <p:spPr bwMode="gray"/>
        <p:txBody>
          <a:bodyPr/>
          <a:lstStyle>
            <a:lvl1pPr>
              <a:defRPr sz="100">
                <a:solidFill>
                  <a:schemeClr val="bg1">
                    <a:alpha val="0"/>
                  </a:schemeClr>
                </a:solidFill>
              </a:defRPr>
            </a:lvl1pPr>
          </a:lstStyle>
          <a:p>
            <a:pPr algn="l"/>
            <a:r>
              <a:rPr lang="en-US" noProof="0"/>
              <a:t>Page: </a:t>
            </a:r>
            <a:fld id="{733122C9-A0B9-462F-8757-0847AD287B63}" type="slidenum">
              <a:rPr lang="en-US" noProof="0" smtClean="0"/>
              <a:pPr algn="l"/>
              <a:t>‹#›</a:t>
            </a:fld>
            <a:endParaRPr lang="en-US" noProof="0"/>
          </a:p>
        </p:txBody>
      </p:sp>
      <p:sp>
        <p:nvSpPr>
          <p:cNvPr id="12" name="Espace réservé du pied de page 11"/>
          <p:cNvSpPr>
            <a:spLocks noGrp="1"/>
          </p:cNvSpPr>
          <p:nvPr>
            <p:ph type="ftr" sz="quarter" idx="17"/>
          </p:nvPr>
        </p:nvSpPr>
        <p:spPr bwMode="gray">
          <a:xfrm>
            <a:off x="468312" y="524188"/>
            <a:ext cx="4824413" cy="360000"/>
          </a:xfrm>
        </p:spPr>
        <p:txBody>
          <a:bodyPr/>
          <a:lstStyle>
            <a:lvl1pPr algn="l">
              <a:defRPr sz="1800" b="0">
                <a:solidFill>
                  <a:schemeClr val="bg1"/>
                </a:solidFill>
              </a:defRPr>
            </a:lvl1pPr>
          </a:lstStyle>
          <a:p>
            <a:r>
              <a:rPr lang="en-US" noProof="0"/>
              <a:t>#add your hashtag</a:t>
            </a:r>
          </a:p>
        </p:txBody>
      </p:sp>
      <p:sp>
        <p:nvSpPr>
          <p:cNvPr id="15" name="Espace réservé du texte 14"/>
          <p:cNvSpPr>
            <a:spLocks noGrp="1"/>
          </p:cNvSpPr>
          <p:nvPr>
            <p:ph type="body" sz="quarter" idx="19" hasCustomPrompt="1"/>
          </p:nvPr>
        </p:nvSpPr>
        <p:spPr bwMode="gray">
          <a:xfrm>
            <a:off x="3635376" y="6021388"/>
            <a:ext cx="5113338" cy="324000"/>
          </a:xfrm>
        </p:spPr>
        <p:txBody>
          <a:bodyPr anchor="b" anchorCtr="0"/>
          <a:lstStyle>
            <a:lvl1pPr algn="r">
              <a:lnSpc>
                <a:spcPct val="100000"/>
              </a:lnSpc>
              <a:defRPr sz="1000" b="1">
                <a:solidFill>
                  <a:schemeClr val="accent2"/>
                </a:solidFill>
              </a:defRPr>
            </a:lvl1pPr>
          </a:lstStyle>
          <a:p>
            <a:pPr lvl="0"/>
            <a:r>
              <a:rPr lang="en-US" noProof="0"/>
              <a:t>Write your claim here</a:t>
            </a:r>
          </a:p>
        </p:txBody>
      </p:sp>
      <p:sp>
        <p:nvSpPr>
          <p:cNvPr id="16" name="Rectangle 15"/>
          <p:cNvSpPr/>
          <p:nvPr userDrawn="1"/>
        </p:nvSpPr>
        <p:spPr bwMode="gray">
          <a:xfrm>
            <a:off x="3635375" y="6354202"/>
            <a:ext cx="5113338" cy="2872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r"/>
            <a:r>
              <a:rPr lang="en-US" sz="1000" noProof="0">
                <a:solidFill>
                  <a:schemeClr val="accent3"/>
                </a:solidFill>
              </a:rPr>
              <a:t>www.gavi.org</a:t>
            </a:r>
          </a:p>
        </p:txBody>
      </p:sp>
      <p:sp>
        <p:nvSpPr>
          <p:cNvPr id="19" name="Rectangle 18"/>
          <p:cNvSpPr/>
          <p:nvPr userDrawn="1"/>
        </p:nvSpPr>
        <p:spPr bwMode="gray">
          <a:xfrm>
            <a:off x="468313" y="3391895"/>
            <a:ext cx="2448000" cy="252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7" name="Espace réservé du texte 16"/>
          <p:cNvSpPr>
            <a:spLocks noGrp="1"/>
          </p:cNvSpPr>
          <p:nvPr>
            <p:ph type="body" sz="quarter" idx="20" hasCustomPrompt="1"/>
          </p:nvPr>
        </p:nvSpPr>
        <p:spPr bwMode="gray">
          <a:xfrm>
            <a:off x="0" y="5157788"/>
            <a:ext cx="9144000" cy="287337"/>
          </a:xfrm>
          <a:solidFill>
            <a:schemeClr val="bg1"/>
          </a:solidFill>
        </p:spPr>
        <p:txBody>
          <a:bodyPr/>
          <a:lstStyle>
            <a:lvl1pPr>
              <a:defRPr sz="100" b="0">
                <a:solidFill>
                  <a:schemeClr val="bg1">
                    <a:alpha val="0"/>
                  </a:schemeClr>
                </a:solidFill>
              </a:defRPr>
            </a:lvl1pPr>
          </a:lstStyle>
          <a:p>
            <a:pPr lvl="0"/>
            <a:r>
              <a:rPr lang="en-US" noProof="0"/>
              <a:t> </a:t>
            </a:r>
          </a:p>
        </p:txBody>
      </p:sp>
    </p:spTree>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Thank_you_2">
    <p:spTree>
      <p:nvGrpSpPr>
        <p:cNvPr id="1" name=""/>
        <p:cNvGrpSpPr/>
        <p:nvPr/>
      </p:nvGrpSpPr>
      <p:grpSpPr>
        <a:xfrm>
          <a:off x="0" y="0"/>
          <a:ext cx="0" cy="0"/>
          <a:chOff x="0" y="0"/>
          <a:chExt cx="0" cy="0"/>
        </a:xfrm>
      </p:grpSpPr>
      <p:sp>
        <p:nvSpPr>
          <p:cNvPr id="22" name="Rectangle 21"/>
          <p:cNvSpPr/>
          <p:nvPr userDrawn="1"/>
        </p:nvSpPr>
        <p:spPr bwMode="gray">
          <a:xfrm>
            <a:off x="3635375" y="5265204"/>
            <a:ext cx="5508625" cy="15927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pic>
        <p:nvPicPr>
          <p:cNvPr id="21" name="Image 20" descr="FD_1_L254.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gray">
          <a:xfrm>
            <a:off x="1" y="0"/>
            <a:ext cx="9144000" cy="5157788"/>
          </a:xfrm>
          <a:prstGeom prst="rect">
            <a:avLst/>
          </a:prstGeom>
        </p:spPr>
      </p:pic>
      <p:pic>
        <p:nvPicPr>
          <p:cNvPr id="20" name="Image 19" descr="Bas_couv.png"/>
          <p:cNvPicPr>
            <a:picLocks noChangeAspect="1"/>
          </p:cNvPicPr>
          <p:nvPr userDrawn="1"/>
        </p:nvPicPr>
        <p:blipFill>
          <a:blip r:embed="rId3" cstate="screen">
            <a:extLst>
              <a:ext uri="{28A0092B-C50C-407E-A947-70E740481C1C}">
                <a14:useLocalDpi xmlns:a14="http://schemas.microsoft.com/office/drawing/2010/main"/>
              </a:ext>
            </a:extLst>
          </a:blip>
          <a:srcRect/>
          <a:stretch>
            <a:fillRect/>
          </a:stretch>
        </p:blipFill>
        <p:spPr bwMode="gray">
          <a:xfrm>
            <a:off x="0" y="5172520"/>
            <a:ext cx="3635375" cy="1685480"/>
          </a:xfrm>
          <a:prstGeom prst="rect">
            <a:avLst/>
          </a:prstGeom>
        </p:spPr>
      </p:pic>
      <p:sp>
        <p:nvSpPr>
          <p:cNvPr id="9" name="Espace réservé du texte 8"/>
          <p:cNvSpPr>
            <a:spLocks noGrp="1"/>
          </p:cNvSpPr>
          <p:nvPr>
            <p:ph type="body" sz="quarter" idx="13" hasCustomPrompt="1"/>
          </p:nvPr>
        </p:nvSpPr>
        <p:spPr bwMode="gray">
          <a:xfrm>
            <a:off x="468314" y="1036800"/>
            <a:ext cx="4824000" cy="2242800"/>
          </a:xfrm>
        </p:spPr>
        <p:txBody>
          <a:bodyPr anchor="b" anchorCtr="0"/>
          <a:lstStyle>
            <a:lvl1pPr marL="0" indent="0" algn="l">
              <a:lnSpc>
                <a:spcPct val="90000"/>
              </a:lnSpc>
              <a:buNone/>
              <a:defRPr sz="2800" b="1" cap="none" baseline="0">
                <a:solidFill>
                  <a:schemeClr val="bg1"/>
                </a:solidFill>
              </a:defRPr>
            </a:lvl1pPr>
            <a:lvl2pPr marL="0" algn="ctr">
              <a:lnSpc>
                <a:spcPct val="100000"/>
              </a:lnSpc>
              <a:spcBef>
                <a:spcPts val="6900"/>
              </a:spcBef>
              <a:defRPr sz="2000" b="1">
                <a:solidFill>
                  <a:schemeClr val="bg1"/>
                </a:solidFill>
              </a:defRPr>
            </a:lvl2pPr>
          </a:lstStyle>
          <a:p>
            <a:pPr lvl="0"/>
            <a:r>
              <a:rPr lang="en-US" noProof="0"/>
              <a:t>TITLE</a:t>
            </a:r>
          </a:p>
        </p:txBody>
      </p:sp>
      <p:sp>
        <p:nvSpPr>
          <p:cNvPr id="10" name="Espace réservé de la date 9"/>
          <p:cNvSpPr>
            <a:spLocks noGrp="1"/>
          </p:cNvSpPr>
          <p:nvPr>
            <p:ph type="dt" sz="half" idx="15"/>
          </p:nvPr>
        </p:nvSpPr>
        <p:spPr bwMode="gray"/>
        <p:txBody>
          <a:bodyPr/>
          <a:lstStyle/>
          <a:p>
            <a:r>
              <a:rPr lang="en-US">
                <a:solidFill>
                  <a:prstClr val="white">
                    <a:alpha val="0"/>
                  </a:prstClr>
                </a:solidFill>
              </a:rPr>
              <a:t>Date</a:t>
            </a:r>
          </a:p>
        </p:txBody>
      </p:sp>
      <p:sp>
        <p:nvSpPr>
          <p:cNvPr id="11" name="Espace réservé du numéro de diapositive 10"/>
          <p:cNvSpPr>
            <a:spLocks noGrp="1"/>
          </p:cNvSpPr>
          <p:nvPr>
            <p:ph type="sldNum" sz="quarter" idx="16"/>
          </p:nvPr>
        </p:nvSpPr>
        <p:spPr bwMode="gray"/>
        <p:txBody>
          <a:bodyPr/>
          <a:lstStyle>
            <a:lvl1pPr>
              <a:defRPr sz="100">
                <a:solidFill>
                  <a:schemeClr val="bg1">
                    <a:alpha val="0"/>
                  </a:schemeClr>
                </a:solidFill>
              </a:defRPr>
            </a:lvl1pPr>
          </a:lstStyle>
          <a:p>
            <a:pPr algn="l"/>
            <a:r>
              <a:rPr lang="en-US">
                <a:solidFill>
                  <a:prstClr val="white">
                    <a:alpha val="0"/>
                  </a:prstClr>
                </a:solidFill>
              </a:rPr>
              <a:t>Page: </a:t>
            </a:r>
            <a:fld id="{733122C9-A0B9-462F-8757-0847AD287B63}" type="slidenum">
              <a:rPr lang="en-US" smtClean="0">
                <a:solidFill>
                  <a:prstClr val="white">
                    <a:alpha val="0"/>
                  </a:prstClr>
                </a:solidFill>
              </a:rPr>
              <a:pPr algn="l"/>
              <a:t>‹#›</a:t>
            </a:fld>
            <a:endParaRPr lang="en-US">
              <a:solidFill>
                <a:prstClr val="white">
                  <a:alpha val="0"/>
                </a:prstClr>
              </a:solidFill>
            </a:endParaRPr>
          </a:p>
        </p:txBody>
      </p:sp>
      <p:sp>
        <p:nvSpPr>
          <p:cNvPr id="12" name="Espace réservé du pied de page 11"/>
          <p:cNvSpPr>
            <a:spLocks noGrp="1"/>
          </p:cNvSpPr>
          <p:nvPr>
            <p:ph type="ftr" sz="quarter" idx="17"/>
          </p:nvPr>
        </p:nvSpPr>
        <p:spPr bwMode="gray">
          <a:xfrm>
            <a:off x="468312" y="524188"/>
            <a:ext cx="4824413" cy="360000"/>
          </a:xfrm>
        </p:spPr>
        <p:txBody>
          <a:bodyPr/>
          <a:lstStyle>
            <a:lvl1pPr algn="l">
              <a:defRPr sz="1800" b="0">
                <a:solidFill>
                  <a:schemeClr val="bg1"/>
                </a:solidFill>
              </a:defRPr>
            </a:lvl1pPr>
          </a:lstStyle>
          <a:p>
            <a:r>
              <a:rPr lang="en-US">
                <a:solidFill>
                  <a:prstClr val="white"/>
                </a:solidFill>
              </a:rPr>
              <a:t>#</a:t>
            </a:r>
            <a:r>
              <a:rPr lang="en-US" err="1">
                <a:solidFill>
                  <a:prstClr val="white"/>
                </a:solidFill>
              </a:rPr>
              <a:t>vaccineswork</a:t>
            </a:r>
            <a:endParaRPr lang="en-US">
              <a:solidFill>
                <a:prstClr val="white"/>
              </a:solidFill>
            </a:endParaRPr>
          </a:p>
        </p:txBody>
      </p:sp>
      <p:sp>
        <p:nvSpPr>
          <p:cNvPr id="15" name="Espace réservé du texte 14"/>
          <p:cNvSpPr>
            <a:spLocks noGrp="1"/>
          </p:cNvSpPr>
          <p:nvPr>
            <p:ph type="body" sz="quarter" idx="19" hasCustomPrompt="1"/>
          </p:nvPr>
        </p:nvSpPr>
        <p:spPr bwMode="gray">
          <a:xfrm>
            <a:off x="3635376" y="6021388"/>
            <a:ext cx="5113338" cy="324000"/>
          </a:xfrm>
        </p:spPr>
        <p:txBody>
          <a:bodyPr anchor="b" anchorCtr="0"/>
          <a:lstStyle>
            <a:lvl1pPr algn="r">
              <a:lnSpc>
                <a:spcPct val="100000"/>
              </a:lnSpc>
              <a:defRPr sz="1000" b="1">
                <a:solidFill>
                  <a:schemeClr val="accent3"/>
                </a:solidFill>
              </a:defRPr>
            </a:lvl1pPr>
          </a:lstStyle>
          <a:p>
            <a:pPr lvl="0"/>
            <a:r>
              <a:rPr lang="en-US" noProof="0"/>
              <a:t>Write your claim here</a:t>
            </a:r>
          </a:p>
        </p:txBody>
      </p:sp>
      <p:sp>
        <p:nvSpPr>
          <p:cNvPr id="16" name="Rectangle 15"/>
          <p:cNvSpPr/>
          <p:nvPr userDrawn="1"/>
        </p:nvSpPr>
        <p:spPr bwMode="gray">
          <a:xfrm>
            <a:off x="3635375" y="6354202"/>
            <a:ext cx="5113338" cy="2872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r"/>
            <a:r>
              <a:rPr lang="en-US" sz="1000" err="1">
                <a:solidFill>
                  <a:srgbClr val="95D600"/>
                </a:solidFill>
              </a:rPr>
              <a:t>www.gavi.org</a:t>
            </a:r>
            <a:endParaRPr lang="en-US" sz="1000">
              <a:solidFill>
                <a:srgbClr val="95D600"/>
              </a:solidFill>
            </a:endParaRPr>
          </a:p>
        </p:txBody>
      </p:sp>
      <p:cxnSp>
        <p:nvCxnSpPr>
          <p:cNvPr id="14" name="Connecteur droit 13"/>
          <p:cNvCxnSpPr/>
          <p:nvPr userDrawn="1"/>
        </p:nvCxnSpPr>
        <p:spPr bwMode="gray">
          <a:xfrm flipH="1">
            <a:off x="468313" y="3402000"/>
            <a:ext cx="2448000" cy="0"/>
          </a:xfrm>
          <a:prstGeom prst="line">
            <a:avLst/>
          </a:prstGeom>
          <a:ln w="24130">
            <a:solidFill>
              <a:schemeClr val="accent1"/>
            </a:solidFill>
          </a:ln>
        </p:spPr>
        <p:style>
          <a:lnRef idx="1">
            <a:schemeClr val="accent1"/>
          </a:lnRef>
          <a:fillRef idx="0">
            <a:schemeClr val="accent1"/>
          </a:fillRef>
          <a:effectRef idx="0">
            <a:schemeClr val="accent1"/>
          </a:effectRef>
          <a:fontRef idx="minor">
            <a:schemeClr val="tx1"/>
          </a:fontRef>
        </p:style>
      </p:cxnSp>
      <p:sp>
        <p:nvSpPr>
          <p:cNvPr id="13" name="Espace réservé pour une image  17"/>
          <p:cNvSpPr>
            <a:spLocks noGrp="1"/>
          </p:cNvSpPr>
          <p:nvPr>
            <p:ph type="pic" sz="quarter" idx="18" hasCustomPrompt="1"/>
          </p:nvPr>
        </p:nvSpPr>
        <p:spPr bwMode="gray">
          <a:xfrm>
            <a:off x="4192588" y="0"/>
            <a:ext cx="4951412" cy="5162400"/>
          </a:xfrm>
          <a:custGeom>
            <a:avLst/>
            <a:gdLst>
              <a:gd name="connsiteX0" fmla="*/ 0 w 3851275"/>
              <a:gd name="connsiteY0" fmla="*/ 0 h 5157788"/>
              <a:gd name="connsiteX1" fmla="*/ 3851275 w 3851275"/>
              <a:gd name="connsiteY1" fmla="*/ 0 h 5157788"/>
              <a:gd name="connsiteX2" fmla="*/ 3851275 w 3851275"/>
              <a:gd name="connsiteY2" fmla="*/ 5157788 h 5157788"/>
              <a:gd name="connsiteX3" fmla="*/ 0 w 3851275"/>
              <a:gd name="connsiteY3" fmla="*/ 5157788 h 5157788"/>
              <a:gd name="connsiteX4" fmla="*/ 0 w 3851275"/>
              <a:gd name="connsiteY4"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0 w 3851275"/>
              <a:gd name="connsiteY3" fmla="*/ 5157788 h 5157788"/>
              <a:gd name="connsiteX4" fmla="*/ 1692275 w 3851275"/>
              <a:gd name="connsiteY4" fmla="*/ 0 h 5157788"/>
              <a:gd name="connsiteX0" fmla="*/ 0 w 2159000"/>
              <a:gd name="connsiteY0" fmla="*/ 0 h 5157788"/>
              <a:gd name="connsiteX1" fmla="*/ 2159000 w 2159000"/>
              <a:gd name="connsiteY1" fmla="*/ 0 h 5157788"/>
              <a:gd name="connsiteX2" fmla="*/ 2159000 w 2159000"/>
              <a:gd name="connsiteY2" fmla="*/ 5157788 h 5157788"/>
              <a:gd name="connsiteX3" fmla="*/ 0 w 2159000"/>
              <a:gd name="connsiteY3" fmla="*/ 5157788 h 5157788"/>
              <a:gd name="connsiteX4" fmla="*/ 0 w 2159000"/>
              <a:gd name="connsiteY4" fmla="*/ 0 h 5157788"/>
              <a:gd name="connsiteX0" fmla="*/ 2625271 w 4784271"/>
              <a:gd name="connsiteY0" fmla="*/ 0 h 5157788"/>
              <a:gd name="connsiteX1" fmla="*/ 4784271 w 4784271"/>
              <a:gd name="connsiteY1" fmla="*/ 0 h 5157788"/>
              <a:gd name="connsiteX2" fmla="*/ 4784271 w 4784271"/>
              <a:gd name="connsiteY2" fmla="*/ 5157788 h 5157788"/>
              <a:gd name="connsiteX3" fmla="*/ 2625271 w 4784271"/>
              <a:gd name="connsiteY3" fmla="*/ 5157788 h 5157788"/>
              <a:gd name="connsiteX4" fmla="*/ 2625271 w 4784271"/>
              <a:gd name="connsiteY4" fmla="*/ 0 h 5157788"/>
              <a:gd name="connsiteX0" fmla="*/ 2625271 w 4784271"/>
              <a:gd name="connsiteY0" fmla="*/ 0 h 5157788"/>
              <a:gd name="connsiteX1" fmla="*/ 4784271 w 4784271"/>
              <a:gd name="connsiteY1" fmla="*/ 0 h 5157788"/>
              <a:gd name="connsiteX2" fmla="*/ 4784271 w 4784271"/>
              <a:gd name="connsiteY2" fmla="*/ 5157788 h 5157788"/>
              <a:gd name="connsiteX3" fmla="*/ 2625271 w 4784271"/>
              <a:gd name="connsiteY3" fmla="*/ 5157788 h 5157788"/>
              <a:gd name="connsiteX4" fmla="*/ 2625271 w 4784271"/>
              <a:gd name="connsiteY4" fmla="*/ 0 h 5157788"/>
              <a:gd name="connsiteX0" fmla="*/ 3568576 w 5727576"/>
              <a:gd name="connsiteY0" fmla="*/ 0 h 5157788"/>
              <a:gd name="connsiteX1" fmla="*/ 5727576 w 5727576"/>
              <a:gd name="connsiteY1" fmla="*/ 0 h 5157788"/>
              <a:gd name="connsiteX2" fmla="*/ 5727576 w 5727576"/>
              <a:gd name="connsiteY2" fmla="*/ 5157788 h 5157788"/>
              <a:gd name="connsiteX3" fmla="*/ 3568576 w 5727576"/>
              <a:gd name="connsiteY3" fmla="*/ 5157788 h 5157788"/>
              <a:gd name="connsiteX4" fmla="*/ 3568576 w 5727576"/>
              <a:gd name="connsiteY4" fmla="*/ 0 h 5157788"/>
              <a:gd name="connsiteX0" fmla="*/ 3306355 w 5465355"/>
              <a:gd name="connsiteY0" fmla="*/ 0 h 5157788"/>
              <a:gd name="connsiteX1" fmla="*/ 5465355 w 5465355"/>
              <a:gd name="connsiteY1" fmla="*/ 0 h 5157788"/>
              <a:gd name="connsiteX2" fmla="*/ 5465355 w 5465355"/>
              <a:gd name="connsiteY2" fmla="*/ 5157788 h 5157788"/>
              <a:gd name="connsiteX3" fmla="*/ 3306355 w 5465355"/>
              <a:gd name="connsiteY3" fmla="*/ 5157788 h 5157788"/>
              <a:gd name="connsiteX4" fmla="*/ 3306355 w 5465355"/>
              <a:gd name="connsiteY4" fmla="*/ 0 h 5157788"/>
              <a:gd name="connsiteX0" fmla="*/ 1416957 w 3575957"/>
              <a:gd name="connsiteY0" fmla="*/ 0 h 5157788"/>
              <a:gd name="connsiteX1" fmla="*/ 3575957 w 3575957"/>
              <a:gd name="connsiteY1" fmla="*/ 0 h 5157788"/>
              <a:gd name="connsiteX2" fmla="*/ 3575957 w 3575957"/>
              <a:gd name="connsiteY2" fmla="*/ 5157788 h 5157788"/>
              <a:gd name="connsiteX3" fmla="*/ 1416957 w 3575957"/>
              <a:gd name="connsiteY3" fmla="*/ 5157788 h 5157788"/>
              <a:gd name="connsiteX4" fmla="*/ 0 w 3575957"/>
              <a:gd name="connsiteY4" fmla="*/ 3339193 h 5157788"/>
              <a:gd name="connsiteX5" fmla="*/ 1416957 w 3575957"/>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6017419"/>
              <a:gd name="connsiteX1" fmla="*/ 3851275 w 3851275"/>
              <a:gd name="connsiteY1" fmla="*/ 0 h 6017419"/>
              <a:gd name="connsiteX2" fmla="*/ 3851275 w 3851275"/>
              <a:gd name="connsiteY2" fmla="*/ 5157788 h 6017419"/>
              <a:gd name="connsiteX3" fmla="*/ 1692275 w 3851275"/>
              <a:gd name="connsiteY3" fmla="*/ 5157788 h 6017419"/>
              <a:gd name="connsiteX4" fmla="*/ 0 w 3851275"/>
              <a:gd name="connsiteY4" fmla="*/ 3284984 h 6017419"/>
              <a:gd name="connsiteX5" fmla="*/ 1692275 w 3851275"/>
              <a:gd name="connsiteY5" fmla="*/ 0 h 6017419"/>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429000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429000 h 5157788"/>
              <a:gd name="connsiteX5" fmla="*/ 1710871 w 3869871"/>
              <a:gd name="connsiteY5" fmla="*/ 0 h 5157788"/>
              <a:gd name="connsiteX0" fmla="*/ 1704975 w 3863975"/>
              <a:gd name="connsiteY0" fmla="*/ 0 h 5157788"/>
              <a:gd name="connsiteX1" fmla="*/ 3863975 w 3863975"/>
              <a:gd name="connsiteY1" fmla="*/ 0 h 5157788"/>
              <a:gd name="connsiteX2" fmla="*/ 3863975 w 3863975"/>
              <a:gd name="connsiteY2" fmla="*/ 5157788 h 5157788"/>
              <a:gd name="connsiteX3" fmla="*/ 1704975 w 3863975"/>
              <a:gd name="connsiteY3" fmla="*/ 5157788 h 5157788"/>
              <a:gd name="connsiteX4" fmla="*/ 12700 w 3863975"/>
              <a:gd name="connsiteY4" fmla="*/ 3429000 h 5157788"/>
              <a:gd name="connsiteX5" fmla="*/ 1704975 w 3863975"/>
              <a:gd name="connsiteY5" fmla="*/ 0 h 5157788"/>
              <a:gd name="connsiteX0" fmla="*/ 1707243 w 3866243"/>
              <a:gd name="connsiteY0" fmla="*/ 0 h 5157788"/>
              <a:gd name="connsiteX1" fmla="*/ 3866243 w 3866243"/>
              <a:gd name="connsiteY1" fmla="*/ 0 h 5157788"/>
              <a:gd name="connsiteX2" fmla="*/ 3866243 w 3866243"/>
              <a:gd name="connsiteY2" fmla="*/ 5157788 h 5157788"/>
              <a:gd name="connsiteX3" fmla="*/ 1707243 w 3866243"/>
              <a:gd name="connsiteY3" fmla="*/ 5157788 h 5157788"/>
              <a:gd name="connsiteX4" fmla="*/ 14968 w 3866243"/>
              <a:gd name="connsiteY4" fmla="*/ 3429000 h 5157788"/>
              <a:gd name="connsiteX5" fmla="*/ 1707243 w 3866243"/>
              <a:gd name="connsiteY5" fmla="*/ 0 h 5157788"/>
              <a:gd name="connsiteX0" fmla="*/ 1130447 w 3866243"/>
              <a:gd name="connsiteY0" fmla="*/ 0 h 5157788"/>
              <a:gd name="connsiteX1" fmla="*/ 3866243 w 3866243"/>
              <a:gd name="connsiteY1" fmla="*/ 0 h 5157788"/>
              <a:gd name="connsiteX2" fmla="*/ 3866243 w 3866243"/>
              <a:gd name="connsiteY2" fmla="*/ 5157788 h 5157788"/>
              <a:gd name="connsiteX3" fmla="*/ 1707243 w 3866243"/>
              <a:gd name="connsiteY3" fmla="*/ 5157788 h 5157788"/>
              <a:gd name="connsiteX4" fmla="*/ 14968 w 3866243"/>
              <a:gd name="connsiteY4" fmla="*/ 3429000 h 5157788"/>
              <a:gd name="connsiteX5" fmla="*/ 1130447 w 3866243"/>
              <a:gd name="connsiteY5" fmla="*/ 0 h 5157788"/>
              <a:gd name="connsiteX0" fmla="*/ 2746143 w 5481939"/>
              <a:gd name="connsiteY0" fmla="*/ 0 h 5157788"/>
              <a:gd name="connsiteX1" fmla="*/ 5481939 w 5481939"/>
              <a:gd name="connsiteY1" fmla="*/ 0 h 5157788"/>
              <a:gd name="connsiteX2" fmla="*/ 5481939 w 5481939"/>
              <a:gd name="connsiteY2" fmla="*/ 5157788 h 5157788"/>
              <a:gd name="connsiteX3" fmla="*/ 585903 w 5481939"/>
              <a:gd name="connsiteY3" fmla="*/ 5153180 h 5157788"/>
              <a:gd name="connsiteX4" fmla="*/ 1630664 w 5481939"/>
              <a:gd name="connsiteY4" fmla="*/ 3429000 h 5157788"/>
              <a:gd name="connsiteX5" fmla="*/ 2746143 w 5481939"/>
              <a:gd name="connsiteY5" fmla="*/ 0 h 5157788"/>
              <a:gd name="connsiteX0" fmla="*/ 2746143 w 5481939"/>
              <a:gd name="connsiteY0" fmla="*/ 0 h 5157788"/>
              <a:gd name="connsiteX1" fmla="*/ 5481939 w 5481939"/>
              <a:gd name="connsiteY1" fmla="*/ 0 h 5157788"/>
              <a:gd name="connsiteX2" fmla="*/ 5481939 w 5481939"/>
              <a:gd name="connsiteY2" fmla="*/ 5157788 h 5157788"/>
              <a:gd name="connsiteX3" fmla="*/ 585903 w 5481939"/>
              <a:gd name="connsiteY3" fmla="*/ 5153180 h 5157788"/>
              <a:gd name="connsiteX4" fmla="*/ 1630664 w 5481939"/>
              <a:gd name="connsiteY4" fmla="*/ 3429000 h 5157788"/>
              <a:gd name="connsiteX5" fmla="*/ 2746143 w 548193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3574235 w 6310031"/>
              <a:gd name="connsiteY0" fmla="*/ 0 h 5157788"/>
              <a:gd name="connsiteX1" fmla="*/ 6310031 w 6310031"/>
              <a:gd name="connsiteY1" fmla="*/ 0 h 5157788"/>
              <a:gd name="connsiteX2" fmla="*/ 6310031 w 6310031"/>
              <a:gd name="connsiteY2" fmla="*/ 5157788 h 5157788"/>
              <a:gd name="connsiteX3" fmla="*/ 585903 w 6310031"/>
              <a:gd name="connsiteY3" fmla="*/ 5153180 h 5157788"/>
              <a:gd name="connsiteX4" fmla="*/ 1738031 w 6310031"/>
              <a:gd name="connsiteY4" fmla="*/ 3389965 h 5157788"/>
              <a:gd name="connsiteX5" fmla="*/ 3574235 w 6310031"/>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296143 w 5724128"/>
              <a:gd name="connsiteY4" fmla="*/ 3461908 h 5157788"/>
              <a:gd name="connsiteX5" fmla="*/ 2988332 w 5724128"/>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1188132 w 5760132"/>
              <a:gd name="connsiteY4" fmla="*/ 3425937 h 5157788"/>
              <a:gd name="connsiteX5" fmla="*/ 3024336 w 5760132"/>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2736304 w 5760132"/>
              <a:gd name="connsiteY4" fmla="*/ 3461908 h 5157788"/>
              <a:gd name="connsiteX5" fmla="*/ 3024336 w 5760132"/>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2736304 w 5760132"/>
              <a:gd name="connsiteY4" fmla="*/ 3461908 h 5157788"/>
              <a:gd name="connsiteX5" fmla="*/ 3024336 w 5760132"/>
              <a:gd name="connsiteY5" fmla="*/ 0 h 5157788"/>
              <a:gd name="connsiteX0" fmla="*/ 2160240 w 4896036"/>
              <a:gd name="connsiteY0" fmla="*/ 0 h 5157788"/>
              <a:gd name="connsiteX1" fmla="*/ 4896036 w 4896036"/>
              <a:gd name="connsiteY1" fmla="*/ 0 h 5157788"/>
              <a:gd name="connsiteX2" fmla="*/ 4896036 w 4896036"/>
              <a:gd name="connsiteY2" fmla="*/ 5157788 h 5157788"/>
              <a:gd name="connsiteX3" fmla="*/ 0 w 4896036"/>
              <a:gd name="connsiteY3" fmla="*/ 5153180 h 5157788"/>
              <a:gd name="connsiteX4" fmla="*/ 1872208 w 4896036"/>
              <a:gd name="connsiteY4" fmla="*/ 3461908 h 5157788"/>
              <a:gd name="connsiteX5" fmla="*/ 2160240 w 4896036"/>
              <a:gd name="connsiteY5" fmla="*/ 0 h 5157788"/>
              <a:gd name="connsiteX0" fmla="*/ 2232248 w 4968044"/>
              <a:gd name="connsiteY0" fmla="*/ 0 h 5157788"/>
              <a:gd name="connsiteX1" fmla="*/ 4968044 w 4968044"/>
              <a:gd name="connsiteY1" fmla="*/ 0 h 5157788"/>
              <a:gd name="connsiteX2" fmla="*/ 4968044 w 4968044"/>
              <a:gd name="connsiteY2" fmla="*/ 5157788 h 5157788"/>
              <a:gd name="connsiteX3" fmla="*/ 0 w 4968044"/>
              <a:gd name="connsiteY3" fmla="*/ 5153180 h 5157788"/>
              <a:gd name="connsiteX4" fmla="*/ 1944216 w 4968044"/>
              <a:gd name="connsiteY4" fmla="*/ 3461908 h 5157788"/>
              <a:gd name="connsiteX5" fmla="*/ 2232248 w 4968044"/>
              <a:gd name="connsiteY5" fmla="*/ 0 h 5157788"/>
              <a:gd name="connsiteX0" fmla="*/ 2207679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207679 w 4943475"/>
              <a:gd name="connsiteY5" fmla="*/ 0 h 5157788"/>
              <a:gd name="connsiteX0" fmla="*/ 2963763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963763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092200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71575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343583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675731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675731 w 4943475"/>
              <a:gd name="connsiteY5" fmla="*/ 0 h 5157788"/>
              <a:gd name="connsiteX0" fmla="*/ 2675731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675731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9672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19672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51412" h="5157788">
                <a:moveTo>
                  <a:pt x="2706687" y="0"/>
                </a:moveTo>
                <a:lnTo>
                  <a:pt x="4951412" y="0"/>
                </a:lnTo>
                <a:lnTo>
                  <a:pt x="4951412" y="5157788"/>
                </a:lnTo>
                <a:lnTo>
                  <a:pt x="0" y="5153180"/>
                </a:lnTo>
                <a:cubicBezTo>
                  <a:pt x="84411" y="4542509"/>
                  <a:pt x="183041" y="4024723"/>
                  <a:pt x="1243508" y="2562613"/>
                </a:cubicBezTo>
                <a:cubicBezTo>
                  <a:pt x="1867447" y="1704780"/>
                  <a:pt x="2665955" y="709265"/>
                  <a:pt x="2706687" y="0"/>
                </a:cubicBezTo>
                <a:close/>
              </a:path>
            </a:pathLst>
          </a:custGeom>
          <a:solidFill>
            <a:schemeClr val="bg2"/>
          </a:solidFill>
          <a:ln w="3175">
            <a:noFill/>
          </a:ln>
        </p:spPr>
        <p:txBody>
          <a:bodyPr tIns="720000" anchor="ctr" anchorCtr="0"/>
          <a:lstStyle>
            <a:lvl1pPr algn="ctr">
              <a:defRPr sz="1500">
                <a:solidFill>
                  <a:schemeClr val="bg1"/>
                </a:solidFill>
              </a:defRPr>
            </a:lvl1pPr>
          </a:lstStyle>
          <a:p>
            <a:r>
              <a:rPr lang="en-US" noProof="0"/>
              <a:t>Select your own photo</a:t>
            </a:r>
          </a:p>
        </p:txBody>
      </p:sp>
    </p:spTree>
    <p:extLst>
      <p:ext uri="{BB962C8B-B14F-4D97-AF65-F5344CB8AC3E}">
        <p14:creationId xmlns:p14="http://schemas.microsoft.com/office/powerpoint/2010/main" val="713628939"/>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userDrawn="1">
  <p:cSld name="Text and Visual">
    <p:spTree>
      <p:nvGrpSpPr>
        <p:cNvPr id="1" name=""/>
        <p:cNvGrpSpPr/>
        <p:nvPr/>
      </p:nvGrpSpPr>
      <p:grpSpPr>
        <a:xfrm>
          <a:off x="0" y="0"/>
          <a:ext cx="0" cy="0"/>
          <a:chOff x="0" y="0"/>
          <a:chExt cx="0" cy="0"/>
        </a:xfrm>
      </p:grpSpPr>
      <p:sp>
        <p:nvSpPr>
          <p:cNvPr id="2" name="Title 1"/>
          <p:cNvSpPr>
            <a:spLocks noGrp="1"/>
          </p:cNvSpPr>
          <p:nvPr>
            <p:ph type="title"/>
          </p:nvPr>
        </p:nvSpPr>
        <p:spPr>
          <a:xfrm>
            <a:off x="973138" y="225211"/>
            <a:ext cx="7207249" cy="697999"/>
          </a:xfrm>
        </p:spPr>
        <p:txBody>
          <a:bodyPr/>
          <a:lstStyle/>
          <a:p>
            <a:r>
              <a:rPr lang="en-US"/>
              <a:t>Click to edit Master title style</a:t>
            </a:r>
          </a:p>
        </p:txBody>
      </p:sp>
      <p:sp>
        <p:nvSpPr>
          <p:cNvPr id="4" name="Content Placeholder 3"/>
          <p:cNvSpPr>
            <a:spLocks noGrp="1"/>
          </p:cNvSpPr>
          <p:nvPr>
            <p:ph sz="half" idx="2"/>
          </p:nvPr>
        </p:nvSpPr>
        <p:spPr>
          <a:xfrm>
            <a:off x="3425825" y="2302159"/>
            <a:ext cx="4754564" cy="2541673"/>
          </a:xfrm>
        </p:spPr>
        <p:txBody>
          <a:bodyPr/>
          <a:lstStyle>
            <a:lvl1pPr>
              <a:defRPr sz="1600"/>
            </a:lvl1pPr>
            <a:lvl2pPr marL="457200" indent="0">
              <a:buNone/>
              <a:defRPr sz="1600"/>
            </a:lvl2pPr>
            <a:lvl3pPr marL="914400" indent="0">
              <a:buNone/>
              <a:defRPr sz="1600"/>
            </a:lvl3pPr>
            <a:lvl4pPr marL="1371600" indent="0">
              <a:buNone/>
              <a:defRPr sz="1600"/>
            </a:lvl4pPr>
            <a:lvl5pPr marL="1828800" indent="0">
              <a:buNone/>
              <a:defRPr sz="16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p:cNvSpPr>
            <a:spLocks noGrp="1"/>
          </p:cNvSpPr>
          <p:nvPr>
            <p:ph type="sldNum" sz="quarter" idx="12"/>
          </p:nvPr>
        </p:nvSpPr>
        <p:spPr/>
        <p:txBody>
          <a:bodyPr/>
          <a:lstStyle/>
          <a:p>
            <a:fld id="{4B646249-1E1C-CE4A-A075-6417A2C71991}" type="slidenum">
              <a:rPr lang="en-US" smtClean="0">
                <a:solidFill>
                  <a:srgbClr val="343434"/>
                </a:solidFill>
              </a:rPr>
              <a:pPr/>
              <a:t>‹#›</a:t>
            </a:fld>
            <a:endParaRPr lang="en-US">
              <a:solidFill>
                <a:srgbClr val="343434"/>
              </a:solidFill>
            </a:endParaRPr>
          </a:p>
        </p:txBody>
      </p:sp>
      <p:sp>
        <p:nvSpPr>
          <p:cNvPr id="9" name="Picture Placeholder 8"/>
          <p:cNvSpPr>
            <a:spLocks noGrp="1"/>
          </p:cNvSpPr>
          <p:nvPr>
            <p:ph type="pic" sz="quarter" idx="13"/>
          </p:nvPr>
        </p:nvSpPr>
        <p:spPr>
          <a:xfrm>
            <a:off x="973138" y="1247776"/>
            <a:ext cx="2300287" cy="3450384"/>
          </a:xfrm>
        </p:spPr>
        <p:txBody>
          <a:bodyPr/>
          <a:lstStyle/>
          <a:p>
            <a:endParaRPr lang="en-US"/>
          </a:p>
        </p:txBody>
      </p:sp>
      <p:sp>
        <p:nvSpPr>
          <p:cNvPr id="10" name="Content Placeholder 3"/>
          <p:cNvSpPr>
            <a:spLocks noGrp="1"/>
          </p:cNvSpPr>
          <p:nvPr>
            <p:ph sz="half" idx="14"/>
          </p:nvPr>
        </p:nvSpPr>
        <p:spPr>
          <a:xfrm>
            <a:off x="3425825" y="1241426"/>
            <a:ext cx="4754564" cy="879316"/>
          </a:xfrm>
        </p:spPr>
        <p:txBody>
          <a:bodyPr/>
          <a:lstStyle>
            <a:lvl1pPr marL="0" indent="0">
              <a:buNone/>
              <a:defRPr sz="1600">
                <a:solidFill>
                  <a:srgbClr val="005CB9"/>
                </a:solidFill>
              </a:defRPr>
            </a:lvl1pPr>
            <a:lvl2pPr marL="457200" indent="0">
              <a:buNone/>
              <a:defRPr sz="1400">
                <a:solidFill>
                  <a:srgbClr val="005CB9"/>
                </a:solidFill>
              </a:defRPr>
            </a:lvl2pPr>
            <a:lvl3pPr marL="914400" indent="0">
              <a:buNone/>
              <a:defRPr sz="1400">
                <a:solidFill>
                  <a:srgbClr val="005CB9"/>
                </a:solidFill>
              </a:defRPr>
            </a:lvl3pPr>
            <a:lvl4pPr marL="1371600" indent="0">
              <a:buNone/>
              <a:defRPr sz="1400">
                <a:solidFill>
                  <a:srgbClr val="005CB9"/>
                </a:solidFill>
              </a:defRPr>
            </a:lvl4pPr>
            <a:lvl5pPr marL="1828800" indent="0">
              <a:buNone/>
              <a:defRPr sz="1400">
                <a:solidFill>
                  <a:srgbClr val="005CB9"/>
                </a:solidFill>
              </a:defRPr>
            </a:lvl5pPr>
            <a:lvl6pPr>
              <a:defRPr sz="1800"/>
            </a:lvl6pPr>
            <a:lvl7pPr>
              <a:defRPr sz="1800"/>
            </a:lvl7pPr>
            <a:lvl8pPr>
              <a:defRPr sz="1800"/>
            </a:lvl8pPr>
            <a:lvl9pPr>
              <a:defRPr sz="1800"/>
            </a:lvl9pPr>
          </a:lstStyle>
          <a:p>
            <a:pPr lvl="0"/>
            <a:r>
              <a:rPr lang="en-US"/>
              <a:t>Click to edit Master text styles</a:t>
            </a:r>
          </a:p>
        </p:txBody>
      </p:sp>
      <p:sp>
        <p:nvSpPr>
          <p:cNvPr id="8" name="Espace réservé du pied de page 10"/>
          <p:cNvSpPr>
            <a:spLocks noGrp="1"/>
          </p:cNvSpPr>
          <p:nvPr>
            <p:ph type="ftr" sz="quarter" idx="15"/>
          </p:nvPr>
        </p:nvSpPr>
        <p:spPr bwMode="gray">
          <a:xfrm>
            <a:off x="2412000" y="6498000"/>
            <a:ext cx="4320000" cy="360000"/>
          </a:xfrm>
        </p:spPr>
        <p:txBody>
          <a:bodyPr/>
          <a:lstStyle/>
          <a:p>
            <a:r>
              <a:rPr lang="en-US">
                <a:solidFill>
                  <a:srgbClr val="005CB9"/>
                </a:solidFill>
              </a:rPr>
              <a:t>#</a:t>
            </a:r>
            <a:r>
              <a:rPr lang="en-US" err="1">
                <a:solidFill>
                  <a:srgbClr val="005CB9"/>
                </a:solidFill>
              </a:rPr>
              <a:t>vaccineswork</a:t>
            </a:r>
            <a:endParaRPr lang="en-US">
              <a:solidFill>
                <a:srgbClr val="005CB9"/>
              </a:solidFill>
            </a:endParaRPr>
          </a:p>
        </p:txBody>
      </p:sp>
    </p:spTree>
    <p:extLst>
      <p:ext uri="{BB962C8B-B14F-4D97-AF65-F5344CB8AC3E}">
        <p14:creationId xmlns:p14="http://schemas.microsoft.com/office/powerpoint/2010/main" val="2993952925"/>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pic>
        <p:nvPicPr>
          <p:cNvPr id="6" name="Image 18" descr="FD_02.pn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gray">
          <a:xfrm>
            <a:off x="0" y="0"/>
            <a:ext cx="9144000" cy="51577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7" name="Rectangle 6"/>
          <p:cNvSpPr/>
          <p:nvPr userDrawn="1"/>
        </p:nvSpPr>
        <p:spPr bwMode="gray">
          <a:xfrm>
            <a:off x="3635375" y="5265738"/>
            <a:ext cx="5508625" cy="15922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prstClr val="white"/>
              </a:solidFill>
            </a:endParaRPr>
          </a:p>
        </p:txBody>
      </p:sp>
      <p:pic>
        <p:nvPicPr>
          <p:cNvPr id="10" name="Image 19" descr="Bas_couv.png"/>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gray">
          <a:xfrm>
            <a:off x="0" y="5172075"/>
            <a:ext cx="3635375" cy="16859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1" name="Rectangle 10"/>
          <p:cNvSpPr/>
          <p:nvPr userDrawn="1"/>
        </p:nvSpPr>
        <p:spPr bwMode="gray">
          <a:xfrm>
            <a:off x="3635375" y="6354763"/>
            <a:ext cx="5113338" cy="2873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p>
            <a:pPr algn="r">
              <a:defRPr/>
            </a:pPr>
            <a:r>
              <a:rPr lang="en-US" sz="1000" err="1">
                <a:solidFill>
                  <a:srgbClr val="95D600"/>
                </a:solidFill>
              </a:rPr>
              <a:t>www.gavi.org</a:t>
            </a:r>
            <a:endParaRPr lang="en-US" sz="1000">
              <a:solidFill>
                <a:srgbClr val="95D600"/>
              </a:solidFill>
            </a:endParaRPr>
          </a:p>
        </p:txBody>
      </p:sp>
      <p:cxnSp>
        <p:nvCxnSpPr>
          <p:cNvPr id="12" name="Connecteur droit 22"/>
          <p:cNvCxnSpPr/>
          <p:nvPr userDrawn="1"/>
        </p:nvCxnSpPr>
        <p:spPr bwMode="gray">
          <a:xfrm flipH="1">
            <a:off x="468313" y="3402013"/>
            <a:ext cx="2447925" cy="0"/>
          </a:xfrm>
          <a:prstGeom prst="line">
            <a:avLst/>
          </a:prstGeom>
          <a:ln w="24130">
            <a:solidFill>
              <a:schemeClr val="accent1"/>
            </a:solidFill>
          </a:ln>
        </p:spPr>
        <p:style>
          <a:lnRef idx="1">
            <a:schemeClr val="accent1"/>
          </a:lnRef>
          <a:fillRef idx="0">
            <a:schemeClr val="accent1"/>
          </a:fillRef>
          <a:effectRef idx="0">
            <a:schemeClr val="accent1"/>
          </a:effectRef>
          <a:fontRef idx="minor">
            <a:schemeClr val="tx1"/>
          </a:fontRef>
        </p:style>
      </p:cxnSp>
      <p:sp>
        <p:nvSpPr>
          <p:cNvPr id="9" name="Espace réservé du texte 8"/>
          <p:cNvSpPr>
            <a:spLocks noGrp="1"/>
          </p:cNvSpPr>
          <p:nvPr>
            <p:ph type="body" sz="quarter" idx="13"/>
          </p:nvPr>
        </p:nvSpPr>
        <p:spPr bwMode="gray">
          <a:xfrm>
            <a:off x="468314" y="1036800"/>
            <a:ext cx="4824412" cy="2232000"/>
          </a:xfrm>
        </p:spPr>
        <p:txBody>
          <a:bodyPr anchor="b"/>
          <a:lstStyle>
            <a:lvl1pPr marL="0" indent="0" algn="l">
              <a:lnSpc>
                <a:spcPct val="90000"/>
              </a:lnSpc>
              <a:buNone/>
              <a:defRPr sz="2800" b="1" cap="none" baseline="0">
                <a:solidFill>
                  <a:schemeClr val="bg1"/>
                </a:solidFill>
              </a:defRPr>
            </a:lvl1pPr>
            <a:lvl2pPr marL="0" algn="ctr">
              <a:lnSpc>
                <a:spcPct val="100000"/>
              </a:lnSpc>
              <a:spcBef>
                <a:spcPts val="6900"/>
              </a:spcBef>
              <a:defRPr sz="2000" b="1">
                <a:solidFill>
                  <a:schemeClr val="bg1"/>
                </a:solidFill>
              </a:defRPr>
            </a:lvl2pPr>
          </a:lstStyle>
          <a:p>
            <a:pPr lvl="0"/>
            <a:r>
              <a:rPr lang="en-US" noProof="0"/>
              <a:t>Click to edit Master text styles</a:t>
            </a:r>
          </a:p>
        </p:txBody>
      </p:sp>
      <p:sp>
        <p:nvSpPr>
          <p:cNvPr id="8" name="Espace réservé du texte 8"/>
          <p:cNvSpPr>
            <a:spLocks noGrp="1"/>
          </p:cNvSpPr>
          <p:nvPr>
            <p:ph type="body" sz="quarter" idx="14"/>
          </p:nvPr>
        </p:nvSpPr>
        <p:spPr bwMode="gray">
          <a:xfrm>
            <a:off x="468314" y="3585600"/>
            <a:ext cx="4824411" cy="1479600"/>
          </a:xfrm>
        </p:spPr>
        <p:txBody>
          <a:bodyPr/>
          <a:lstStyle>
            <a:lvl1pPr marL="0" indent="0" algn="l">
              <a:lnSpc>
                <a:spcPct val="90000"/>
              </a:lnSpc>
              <a:buNone/>
              <a:defRPr sz="2000" b="0" baseline="0">
                <a:solidFill>
                  <a:schemeClr val="bg1"/>
                </a:solidFill>
              </a:defRPr>
            </a:lvl1pPr>
            <a:lvl2pPr marL="0" algn="ctr">
              <a:lnSpc>
                <a:spcPct val="100000"/>
              </a:lnSpc>
              <a:spcBef>
                <a:spcPts val="6900"/>
              </a:spcBef>
              <a:defRPr sz="2000" b="1">
                <a:solidFill>
                  <a:schemeClr val="bg1"/>
                </a:solidFill>
              </a:defRPr>
            </a:lvl2pPr>
          </a:lstStyle>
          <a:p>
            <a:pPr lvl="0"/>
            <a:r>
              <a:rPr lang="en-US" noProof="0"/>
              <a:t>Click to edit Master text styles</a:t>
            </a:r>
          </a:p>
        </p:txBody>
      </p:sp>
      <p:sp>
        <p:nvSpPr>
          <p:cNvPr id="15" name="Espace réservé du texte 14"/>
          <p:cNvSpPr>
            <a:spLocks noGrp="1"/>
          </p:cNvSpPr>
          <p:nvPr>
            <p:ph type="body" sz="quarter" idx="19"/>
          </p:nvPr>
        </p:nvSpPr>
        <p:spPr bwMode="gray">
          <a:xfrm>
            <a:off x="3635376" y="6021388"/>
            <a:ext cx="5113338" cy="324000"/>
          </a:xfrm>
        </p:spPr>
        <p:txBody>
          <a:bodyPr anchor="b"/>
          <a:lstStyle>
            <a:lvl1pPr algn="r">
              <a:lnSpc>
                <a:spcPct val="100000"/>
              </a:lnSpc>
              <a:defRPr sz="1000" b="1">
                <a:solidFill>
                  <a:schemeClr val="accent3"/>
                </a:solidFill>
              </a:defRPr>
            </a:lvl1pPr>
          </a:lstStyle>
          <a:p>
            <a:pPr lvl="0"/>
            <a:r>
              <a:rPr lang="en-US" noProof="0"/>
              <a:t>Click to edit Master text styles</a:t>
            </a:r>
          </a:p>
        </p:txBody>
      </p:sp>
      <p:sp>
        <p:nvSpPr>
          <p:cNvPr id="17" name="Espace réservé du texte 16"/>
          <p:cNvSpPr>
            <a:spLocks noGrp="1"/>
          </p:cNvSpPr>
          <p:nvPr>
            <p:ph type="body" sz="quarter" idx="20"/>
          </p:nvPr>
        </p:nvSpPr>
        <p:spPr bwMode="gray">
          <a:xfrm>
            <a:off x="0" y="5157788"/>
            <a:ext cx="9144000" cy="287337"/>
          </a:xfrm>
          <a:solidFill>
            <a:schemeClr val="bg1"/>
          </a:solidFill>
        </p:spPr>
        <p:txBody>
          <a:bodyPr/>
          <a:lstStyle>
            <a:lvl1pPr>
              <a:defRPr sz="100" b="0">
                <a:solidFill>
                  <a:schemeClr val="bg1">
                    <a:alpha val="0"/>
                  </a:schemeClr>
                </a:solidFill>
              </a:defRPr>
            </a:lvl1pPr>
          </a:lstStyle>
          <a:p>
            <a:pPr lvl="0"/>
            <a:r>
              <a:rPr lang="en-US" noProof="0"/>
              <a:t>Click to edit Master text styles</a:t>
            </a:r>
          </a:p>
        </p:txBody>
      </p:sp>
      <p:sp>
        <p:nvSpPr>
          <p:cNvPr id="13" name="Espace réservé de la date 9"/>
          <p:cNvSpPr>
            <a:spLocks noGrp="1"/>
          </p:cNvSpPr>
          <p:nvPr>
            <p:ph type="dt" sz="half" idx="21"/>
          </p:nvPr>
        </p:nvSpPr>
        <p:spPr/>
        <p:txBody>
          <a:bodyPr/>
          <a:lstStyle>
            <a:lvl1pPr>
              <a:defRPr/>
            </a:lvl1pPr>
          </a:lstStyle>
          <a:p>
            <a:pPr>
              <a:defRPr/>
            </a:pPr>
            <a:r>
              <a:rPr lang="en-US">
                <a:solidFill>
                  <a:prstClr val="white">
                    <a:alpha val="0"/>
                  </a:prstClr>
                </a:solidFill>
              </a:rPr>
              <a:t>Date</a:t>
            </a:r>
          </a:p>
        </p:txBody>
      </p:sp>
      <p:sp>
        <p:nvSpPr>
          <p:cNvPr id="14" name="Espace réservé du numéro de diapositive 10"/>
          <p:cNvSpPr>
            <a:spLocks noGrp="1"/>
          </p:cNvSpPr>
          <p:nvPr>
            <p:ph type="sldNum" sz="quarter" idx="22"/>
          </p:nvPr>
        </p:nvSpPr>
        <p:spPr/>
        <p:txBody>
          <a:bodyPr/>
          <a:lstStyle>
            <a:lvl1pPr>
              <a:defRPr sz="100">
                <a:solidFill>
                  <a:schemeClr val="bg1">
                    <a:alpha val="0"/>
                  </a:schemeClr>
                </a:solidFill>
              </a:defRPr>
            </a:lvl1pPr>
          </a:lstStyle>
          <a:p>
            <a:pPr>
              <a:defRPr/>
            </a:pPr>
            <a:r>
              <a:rPr lang="en-US">
                <a:solidFill>
                  <a:prstClr val="white">
                    <a:alpha val="0"/>
                  </a:prstClr>
                </a:solidFill>
              </a:rPr>
              <a:t>Page: </a:t>
            </a:r>
            <a:fld id="{541ADD26-9626-44B7-849C-716E619042DF}" type="slidenum">
              <a:rPr lang="en-US">
                <a:solidFill>
                  <a:prstClr val="white">
                    <a:alpha val="0"/>
                  </a:prstClr>
                </a:solidFill>
              </a:rPr>
              <a:pPr>
                <a:defRPr/>
              </a:pPr>
              <a:t>‹#›</a:t>
            </a:fld>
            <a:endParaRPr lang="en-US">
              <a:solidFill>
                <a:prstClr val="white">
                  <a:alpha val="0"/>
                </a:prstClr>
              </a:solidFill>
            </a:endParaRPr>
          </a:p>
        </p:txBody>
      </p:sp>
      <p:sp>
        <p:nvSpPr>
          <p:cNvPr id="16" name="Espace réservé du pied de page 11"/>
          <p:cNvSpPr>
            <a:spLocks noGrp="1"/>
          </p:cNvSpPr>
          <p:nvPr>
            <p:ph type="ftr" sz="quarter" idx="23"/>
          </p:nvPr>
        </p:nvSpPr>
        <p:spPr>
          <a:xfrm>
            <a:off x="468313" y="523875"/>
            <a:ext cx="4824412" cy="360363"/>
          </a:xfrm>
        </p:spPr>
        <p:txBody>
          <a:bodyPr/>
          <a:lstStyle>
            <a:lvl1pPr algn="l">
              <a:defRPr sz="1800" b="0">
                <a:solidFill>
                  <a:schemeClr val="bg1"/>
                </a:solidFill>
              </a:defRPr>
            </a:lvl1pPr>
          </a:lstStyle>
          <a:p>
            <a:pPr>
              <a:defRPr/>
            </a:pPr>
            <a:r>
              <a:rPr lang="en-US">
                <a:solidFill>
                  <a:prstClr val="white"/>
                </a:solidFill>
              </a:rPr>
              <a:t>#vaccelerate</a:t>
            </a:r>
          </a:p>
        </p:txBody>
      </p:sp>
    </p:spTree>
    <p:extLst>
      <p:ext uri="{BB962C8B-B14F-4D97-AF65-F5344CB8AC3E}">
        <p14:creationId xmlns:p14="http://schemas.microsoft.com/office/powerpoint/2010/main" val="2975309093"/>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Cover_Picture_1">
    <p:spTree>
      <p:nvGrpSpPr>
        <p:cNvPr id="1" name=""/>
        <p:cNvGrpSpPr/>
        <p:nvPr/>
      </p:nvGrpSpPr>
      <p:grpSpPr>
        <a:xfrm>
          <a:off x="0" y="0"/>
          <a:ext cx="0" cy="0"/>
          <a:chOff x="0" y="0"/>
          <a:chExt cx="0" cy="0"/>
        </a:xfrm>
      </p:grpSpPr>
      <p:pic>
        <p:nvPicPr>
          <p:cNvPr id="7" name="Image 20" descr="FD_1_L254.png"/>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gray">
          <a:xfrm>
            <a:off x="0" y="0"/>
            <a:ext cx="9144000" cy="51577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0" name="Rectangle 9"/>
          <p:cNvSpPr/>
          <p:nvPr userDrawn="1"/>
        </p:nvSpPr>
        <p:spPr bwMode="gray">
          <a:xfrm>
            <a:off x="3635375" y="5265738"/>
            <a:ext cx="5508625" cy="15922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prstClr val="white"/>
              </a:solidFill>
            </a:endParaRPr>
          </a:p>
        </p:txBody>
      </p:sp>
      <p:pic>
        <p:nvPicPr>
          <p:cNvPr id="11" name="Image 19" descr="Bas_couv.png"/>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gray">
          <a:xfrm>
            <a:off x="0" y="5172075"/>
            <a:ext cx="3635375" cy="16859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2" name="Rectangle 11"/>
          <p:cNvSpPr/>
          <p:nvPr userDrawn="1"/>
        </p:nvSpPr>
        <p:spPr bwMode="gray">
          <a:xfrm>
            <a:off x="3635375" y="6354763"/>
            <a:ext cx="5113338" cy="2873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p>
            <a:pPr algn="r">
              <a:defRPr/>
            </a:pPr>
            <a:r>
              <a:rPr lang="en-US" sz="1000" err="1">
                <a:solidFill>
                  <a:srgbClr val="95D600"/>
                </a:solidFill>
              </a:rPr>
              <a:t>www.gavi.org</a:t>
            </a:r>
            <a:endParaRPr lang="en-US" sz="1000">
              <a:solidFill>
                <a:srgbClr val="95D600"/>
              </a:solidFill>
            </a:endParaRPr>
          </a:p>
        </p:txBody>
      </p:sp>
      <p:cxnSp>
        <p:nvCxnSpPr>
          <p:cNvPr id="13" name="Connecteur droit 22"/>
          <p:cNvCxnSpPr/>
          <p:nvPr userDrawn="1"/>
        </p:nvCxnSpPr>
        <p:spPr bwMode="gray">
          <a:xfrm flipH="1">
            <a:off x="468313" y="3402013"/>
            <a:ext cx="2447925" cy="0"/>
          </a:xfrm>
          <a:prstGeom prst="line">
            <a:avLst/>
          </a:prstGeom>
          <a:ln w="24130">
            <a:solidFill>
              <a:schemeClr val="accent1"/>
            </a:solidFill>
          </a:ln>
        </p:spPr>
        <p:style>
          <a:lnRef idx="1">
            <a:schemeClr val="accent1"/>
          </a:lnRef>
          <a:fillRef idx="0">
            <a:schemeClr val="accent1"/>
          </a:fillRef>
          <a:effectRef idx="0">
            <a:schemeClr val="accent1"/>
          </a:effectRef>
          <a:fontRef idx="minor">
            <a:schemeClr val="tx1"/>
          </a:fontRef>
        </p:style>
      </p:cxnSp>
      <p:sp>
        <p:nvSpPr>
          <p:cNvPr id="9" name="Espace réservé du texte 8"/>
          <p:cNvSpPr>
            <a:spLocks noGrp="1"/>
          </p:cNvSpPr>
          <p:nvPr>
            <p:ph type="body" sz="quarter" idx="13"/>
          </p:nvPr>
        </p:nvSpPr>
        <p:spPr bwMode="gray">
          <a:xfrm>
            <a:off x="468314" y="1036638"/>
            <a:ext cx="4824412" cy="2231392"/>
          </a:xfrm>
        </p:spPr>
        <p:txBody>
          <a:bodyPr anchor="b"/>
          <a:lstStyle>
            <a:lvl1pPr marL="0" indent="0" algn="l">
              <a:lnSpc>
                <a:spcPct val="90000"/>
              </a:lnSpc>
              <a:buNone/>
              <a:defRPr sz="2800" b="1" cap="none" baseline="0">
                <a:solidFill>
                  <a:schemeClr val="bg1"/>
                </a:solidFill>
              </a:defRPr>
            </a:lvl1pPr>
            <a:lvl2pPr marL="0" algn="ctr">
              <a:lnSpc>
                <a:spcPct val="100000"/>
              </a:lnSpc>
              <a:spcBef>
                <a:spcPts val="6900"/>
              </a:spcBef>
              <a:defRPr sz="2000" b="1">
                <a:solidFill>
                  <a:schemeClr val="bg1"/>
                </a:solidFill>
              </a:defRPr>
            </a:lvl2pPr>
          </a:lstStyle>
          <a:p>
            <a:pPr lvl="0"/>
            <a:r>
              <a:rPr lang="en-US" noProof="0"/>
              <a:t>Click to edit Master text styles</a:t>
            </a:r>
          </a:p>
        </p:txBody>
      </p:sp>
      <p:sp>
        <p:nvSpPr>
          <p:cNvPr id="8" name="Espace réservé du texte 8"/>
          <p:cNvSpPr>
            <a:spLocks noGrp="1"/>
          </p:cNvSpPr>
          <p:nvPr>
            <p:ph type="body" sz="quarter" idx="14"/>
          </p:nvPr>
        </p:nvSpPr>
        <p:spPr bwMode="gray">
          <a:xfrm>
            <a:off x="468314" y="3584637"/>
            <a:ext cx="3592800" cy="1477788"/>
          </a:xfrm>
        </p:spPr>
        <p:txBody>
          <a:bodyPr/>
          <a:lstStyle>
            <a:lvl1pPr marL="0" indent="0" algn="l">
              <a:lnSpc>
                <a:spcPct val="90000"/>
              </a:lnSpc>
              <a:buNone/>
              <a:defRPr sz="2000" b="0" baseline="0">
                <a:solidFill>
                  <a:schemeClr val="bg1"/>
                </a:solidFill>
              </a:defRPr>
            </a:lvl1pPr>
            <a:lvl2pPr marL="0" algn="ctr">
              <a:lnSpc>
                <a:spcPct val="100000"/>
              </a:lnSpc>
              <a:spcBef>
                <a:spcPts val="6900"/>
              </a:spcBef>
              <a:defRPr sz="2000" b="1">
                <a:solidFill>
                  <a:schemeClr val="bg1"/>
                </a:solidFill>
              </a:defRPr>
            </a:lvl2pPr>
          </a:lstStyle>
          <a:p>
            <a:pPr lvl="0"/>
            <a:r>
              <a:rPr lang="en-US" noProof="0"/>
              <a:t>Click to edit Master text styles</a:t>
            </a:r>
          </a:p>
        </p:txBody>
      </p:sp>
      <p:sp>
        <p:nvSpPr>
          <p:cNvPr id="15" name="Espace réservé du texte 14"/>
          <p:cNvSpPr>
            <a:spLocks noGrp="1"/>
          </p:cNvSpPr>
          <p:nvPr>
            <p:ph type="body" sz="quarter" idx="19"/>
          </p:nvPr>
        </p:nvSpPr>
        <p:spPr bwMode="gray">
          <a:xfrm>
            <a:off x="3635376" y="6021388"/>
            <a:ext cx="5113338" cy="324000"/>
          </a:xfrm>
        </p:spPr>
        <p:txBody>
          <a:bodyPr anchor="b"/>
          <a:lstStyle>
            <a:lvl1pPr algn="r">
              <a:lnSpc>
                <a:spcPct val="100000"/>
              </a:lnSpc>
              <a:defRPr sz="1000" b="1">
                <a:solidFill>
                  <a:schemeClr val="accent3"/>
                </a:solidFill>
              </a:defRPr>
            </a:lvl1pPr>
          </a:lstStyle>
          <a:p>
            <a:pPr lvl="0"/>
            <a:r>
              <a:rPr lang="en-US" noProof="0"/>
              <a:t>Click to edit Master text styles</a:t>
            </a:r>
          </a:p>
        </p:txBody>
      </p:sp>
      <p:sp>
        <p:nvSpPr>
          <p:cNvPr id="17" name="Espace réservé du texte 16"/>
          <p:cNvSpPr>
            <a:spLocks noGrp="1"/>
          </p:cNvSpPr>
          <p:nvPr>
            <p:ph type="body" sz="quarter" idx="20"/>
          </p:nvPr>
        </p:nvSpPr>
        <p:spPr bwMode="gray">
          <a:xfrm>
            <a:off x="0" y="5157788"/>
            <a:ext cx="9144000" cy="287337"/>
          </a:xfrm>
          <a:solidFill>
            <a:schemeClr val="bg1"/>
          </a:solidFill>
        </p:spPr>
        <p:txBody>
          <a:bodyPr/>
          <a:lstStyle>
            <a:lvl1pPr>
              <a:defRPr sz="100" b="0">
                <a:solidFill>
                  <a:schemeClr val="bg1">
                    <a:alpha val="0"/>
                  </a:schemeClr>
                </a:solidFill>
              </a:defRPr>
            </a:lvl1pPr>
          </a:lstStyle>
          <a:p>
            <a:pPr lvl="0"/>
            <a:r>
              <a:rPr lang="en-US" noProof="0"/>
              <a:t>Click to edit Master text styles</a:t>
            </a:r>
          </a:p>
        </p:txBody>
      </p:sp>
      <p:sp>
        <p:nvSpPr>
          <p:cNvPr id="24" name="Espace réservé pour une image  17"/>
          <p:cNvSpPr>
            <a:spLocks noGrp="1"/>
          </p:cNvSpPr>
          <p:nvPr>
            <p:ph type="pic" sz="quarter" idx="18"/>
          </p:nvPr>
        </p:nvSpPr>
        <p:spPr bwMode="gray">
          <a:xfrm>
            <a:off x="4192588" y="0"/>
            <a:ext cx="4951412" cy="5162400"/>
          </a:xfrm>
          <a:custGeom>
            <a:avLst/>
            <a:gdLst>
              <a:gd name="connsiteX0" fmla="*/ 0 w 3851275"/>
              <a:gd name="connsiteY0" fmla="*/ 0 h 5157788"/>
              <a:gd name="connsiteX1" fmla="*/ 3851275 w 3851275"/>
              <a:gd name="connsiteY1" fmla="*/ 0 h 5157788"/>
              <a:gd name="connsiteX2" fmla="*/ 3851275 w 3851275"/>
              <a:gd name="connsiteY2" fmla="*/ 5157788 h 5157788"/>
              <a:gd name="connsiteX3" fmla="*/ 0 w 3851275"/>
              <a:gd name="connsiteY3" fmla="*/ 5157788 h 5157788"/>
              <a:gd name="connsiteX4" fmla="*/ 0 w 3851275"/>
              <a:gd name="connsiteY4"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0 w 3851275"/>
              <a:gd name="connsiteY3" fmla="*/ 5157788 h 5157788"/>
              <a:gd name="connsiteX4" fmla="*/ 1692275 w 3851275"/>
              <a:gd name="connsiteY4" fmla="*/ 0 h 5157788"/>
              <a:gd name="connsiteX0" fmla="*/ 0 w 2159000"/>
              <a:gd name="connsiteY0" fmla="*/ 0 h 5157788"/>
              <a:gd name="connsiteX1" fmla="*/ 2159000 w 2159000"/>
              <a:gd name="connsiteY1" fmla="*/ 0 h 5157788"/>
              <a:gd name="connsiteX2" fmla="*/ 2159000 w 2159000"/>
              <a:gd name="connsiteY2" fmla="*/ 5157788 h 5157788"/>
              <a:gd name="connsiteX3" fmla="*/ 0 w 2159000"/>
              <a:gd name="connsiteY3" fmla="*/ 5157788 h 5157788"/>
              <a:gd name="connsiteX4" fmla="*/ 0 w 2159000"/>
              <a:gd name="connsiteY4" fmla="*/ 0 h 5157788"/>
              <a:gd name="connsiteX0" fmla="*/ 2625271 w 4784271"/>
              <a:gd name="connsiteY0" fmla="*/ 0 h 5157788"/>
              <a:gd name="connsiteX1" fmla="*/ 4784271 w 4784271"/>
              <a:gd name="connsiteY1" fmla="*/ 0 h 5157788"/>
              <a:gd name="connsiteX2" fmla="*/ 4784271 w 4784271"/>
              <a:gd name="connsiteY2" fmla="*/ 5157788 h 5157788"/>
              <a:gd name="connsiteX3" fmla="*/ 2625271 w 4784271"/>
              <a:gd name="connsiteY3" fmla="*/ 5157788 h 5157788"/>
              <a:gd name="connsiteX4" fmla="*/ 2625271 w 4784271"/>
              <a:gd name="connsiteY4" fmla="*/ 0 h 5157788"/>
              <a:gd name="connsiteX0" fmla="*/ 2625271 w 4784271"/>
              <a:gd name="connsiteY0" fmla="*/ 0 h 5157788"/>
              <a:gd name="connsiteX1" fmla="*/ 4784271 w 4784271"/>
              <a:gd name="connsiteY1" fmla="*/ 0 h 5157788"/>
              <a:gd name="connsiteX2" fmla="*/ 4784271 w 4784271"/>
              <a:gd name="connsiteY2" fmla="*/ 5157788 h 5157788"/>
              <a:gd name="connsiteX3" fmla="*/ 2625271 w 4784271"/>
              <a:gd name="connsiteY3" fmla="*/ 5157788 h 5157788"/>
              <a:gd name="connsiteX4" fmla="*/ 2625271 w 4784271"/>
              <a:gd name="connsiteY4" fmla="*/ 0 h 5157788"/>
              <a:gd name="connsiteX0" fmla="*/ 3568576 w 5727576"/>
              <a:gd name="connsiteY0" fmla="*/ 0 h 5157788"/>
              <a:gd name="connsiteX1" fmla="*/ 5727576 w 5727576"/>
              <a:gd name="connsiteY1" fmla="*/ 0 h 5157788"/>
              <a:gd name="connsiteX2" fmla="*/ 5727576 w 5727576"/>
              <a:gd name="connsiteY2" fmla="*/ 5157788 h 5157788"/>
              <a:gd name="connsiteX3" fmla="*/ 3568576 w 5727576"/>
              <a:gd name="connsiteY3" fmla="*/ 5157788 h 5157788"/>
              <a:gd name="connsiteX4" fmla="*/ 3568576 w 5727576"/>
              <a:gd name="connsiteY4" fmla="*/ 0 h 5157788"/>
              <a:gd name="connsiteX0" fmla="*/ 3306355 w 5465355"/>
              <a:gd name="connsiteY0" fmla="*/ 0 h 5157788"/>
              <a:gd name="connsiteX1" fmla="*/ 5465355 w 5465355"/>
              <a:gd name="connsiteY1" fmla="*/ 0 h 5157788"/>
              <a:gd name="connsiteX2" fmla="*/ 5465355 w 5465355"/>
              <a:gd name="connsiteY2" fmla="*/ 5157788 h 5157788"/>
              <a:gd name="connsiteX3" fmla="*/ 3306355 w 5465355"/>
              <a:gd name="connsiteY3" fmla="*/ 5157788 h 5157788"/>
              <a:gd name="connsiteX4" fmla="*/ 3306355 w 5465355"/>
              <a:gd name="connsiteY4" fmla="*/ 0 h 5157788"/>
              <a:gd name="connsiteX0" fmla="*/ 1416957 w 3575957"/>
              <a:gd name="connsiteY0" fmla="*/ 0 h 5157788"/>
              <a:gd name="connsiteX1" fmla="*/ 3575957 w 3575957"/>
              <a:gd name="connsiteY1" fmla="*/ 0 h 5157788"/>
              <a:gd name="connsiteX2" fmla="*/ 3575957 w 3575957"/>
              <a:gd name="connsiteY2" fmla="*/ 5157788 h 5157788"/>
              <a:gd name="connsiteX3" fmla="*/ 1416957 w 3575957"/>
              <a:gd name="connsiteY3" fmla="*/ 5157788 h 5157788"/>
              <a:gd name="connsiteX4" fmla="*/ 0 w 3575957"/>
              <a:gd name="connsiteY4" fmla="*/ 3339193 h 5157788"/>
              <a:gd name="connsiteX5" fmla="*/ 1416957 w 3575957"/>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6017419"/>
              <a:gd name="connsiteX1" fmla="*/ 3851275 w 3851275"/>
              <a:gd name="connsiteY1" fmla="*/ 0 h 6017419"/>
              <a:gd name="connsiteX2" fmla="*/ 3851275 w 3851275"/>
              <a:gd name="connsiteY2" fmla="*/ 5157788 h 6017419"/>
              <a:gd name="connsiteX3" fmla="*/ 1692275 w 3851275"/>
              <a:gd name="connsiteY3" fmla="*/ 5157788 h 6017419"/>
              <a:gd name="connsiteX4" fmla="*/ 0 w 3851275"/>
              <a:gd name="connsiteY4" fmla="*/ 3284984 h 6017419"/>
              <a:gd name="connsiteX5" fmla="*/ 1692275 w 3851275"/>
              <a:gd name="connsiteY5" fmla="*/ 0 h 6017419"/>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429000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429000 h 5157788"/>
              <a:gd name="connsiteX5" fmla="*/ 1710871 w 3869871"/>
              <a:gd name="connsiteY5" fmla="*/ 0 h 5157788"/>
              <a:gd name="connsiteX0" fmla="*/ 1704975 w 3863975"/>
              <a:gd name="connsiteY0" fmla="*/ 0 h 5157788"/>
              <a:gd name="connsiteX1" fmla="*/ 3863975 w 3863975"/>
              <a:gd name="connsiteY1" fmla="*/ 0 h 5157788"/>
              <a:gd name="connsiteX2" fmla="*/ 3863975 w 3863975"/>
              <a:gd name="connsiteY2" fmla="*/ 5157788 h 5157788"/>
              <a:gd name="connsiteX3" fmla="*/ 1704975 w 3863975"/>
              <a:gd name="connsiteY3" fmla="*/ 5157788 h 5157788"/>
              <a:gd name="connsiteX4" fmla="*/ 12700 w 3863975"/>
              <a:gd name="connsiteY4" fmla="*/ 3429000 h 5157788"/>
              <a:gd name="connsiteX5" fmla="*/ 1704975 w 3863975"/>
              <a:gd name="connsiteY5" fmla="*/ 0 h 5157788"/>
              <a:gd name="connsiteX0" fmla="*/ 1707243 w 3866243"/>
              <a:gd name="connsiteY0" fmla="*/ 0 h 5157788"/>
              <a:gd name="connsiteX1" fmla="*/ 3866243 w 3866243"/>
              <a:gd name="connsiteY1" fmla="*/ 0 h 5157788"/>
              <a:gd name="connsiteX2" fmla="*/ 3866243 w 3866243"/>
              <a:gd name="connsiteY2" fmla="*/ 5157788 h 5157788"/>
              <a:gd name="connsiteX3" fmla="*/ 1707243 w 3866243"/>
              <a:gd name="connsiteY3" fmla="*/ 5157788 h 5157788"/>
              <a:gd name="connsiteX4" fmla="*/ 14968 w 3866243"/>
              <a:gd name="connsiteY4" fmla="*/ 3429000 h 5157788"/>
              <a:gd name="connsiteX5" fmla="*/ 1707243 w 3866243"/>
              <a:gd name="connsiteY5" fmla="*/ 0 h 5157788"/>
              <a:gd name="connsiteX0" fmla="*/ 1130447 w 3866243"/>
              <a:gd name="connsiteY0" fmla="*/ 0 h 5157788"/>
              <a:gd name="connsiteX1" fmla="*/ 3866243 w 3866243"/>
              <a:gd name="connsiteY1" fmla="*/ 0 h 5157788"/>
              <a:gd name="connsiteX2" fmla="*/ 3866243 w 3866243"/>
              <a:gd name="connsiteY2" fmla="*/ 5157788 h 5157788"/>
              <a:gd name="connsiteX3" fmla="*/ 1707243 w 3866243"/>
              <a:gd name="connsiteY3" fmla="*/ 5157788 h 5157788"/>
              <a:gd name="connsiteX4" fmla="*/ 14968 w 3866243"/>
              <a:gd name="connsiteY4" fmla="*/ 3429000 h 5157788"/>
              <a:gd name="connsiteX5" fmla="*/ 1130447 w 3866243"/>
              <a:gd name="connsiteY5" fmla="*/ 0 h 5157788"/>
              <a:gd name="connsiteX0" fmla="*/ 2746143 w 5481939"/>
              <a:gd name="connsiteY0" fmla="*/ 0 h 5157788"/>
              <a:gd name="connsiteX1" fmla="*/ 5481939 w 5481939"/>
              <a:gd name="connsiteY1" fmla="*/ 0 h 5157788"/>
              <a:gd name="connsiteX2" fmla="*/ 5481939 w 5481939"/>
              <a:gd name="connsiteY2" fmla="*/ 5157788 h 5157788"/>
              <a:gd name="connsiteX3" fmla="*/ 585903 w 5481939"/>
              <a:gd name="connsiteY3" fmla="*/ 5153180 h 5157788"/>
              <a:gd name="connsiteX4" fmla="*/ 1630664 w 5481939"/>
              <a:gd name="connsiteY4" fmla="*/ 3429000 h 5157788"/>
              <a:gd name="connsiteX5" fmla="*/ 2746143 w 5481939"/>
              <a:gd name="connsiteY5" fmla="*/ 0 h 5157788"/>
              <a:gd name="connsiteX0" fmla="*/ 2746143 w 5481939"/>
              <a:gd name="connsiteY0" fmla="*/ 0 h 5157788"/>
              <a:gd name="connsiteX1" fmla="*/ 5481939 w 5481939"/>
              <a:gd name="connsiteY1" fmla="*/ 0 h 5157788"/>
              <a:gd name="connsiteX2" fmla="*/ 5481939 w 5481939"/>
              <a:gd name="connsiteY2" fmla="*/ 5157788 h 5157788"/>
              <a:gd name="connsiteX3" fmla="*/ 585903 w 5481939"/>
              <a:gd name="connsiteY3" fmla="*/ 5153180 h 5157788"/>
              <a:gd name="connsiteX4" fmla="*/ 1630664 w 5481939"/>
              <a:gd name="connsiteY4" fmla="*/ 3429000 h 5157788"/>
              <a:gd name="connsiteX5" fmla="*/ 2746143 w 548193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3574235 w 6310031"/>
              <a:gd name="connsiteY0" fmla="*/ 0 h 5157788"/>
              <a:gd name="connsiteX1" fmla="*/ 6310031 w 6310031"/>
              <a:gd name="connsiteY1" fmla="*/ 0 h 5157788"/>
              <a:gd name="connsiteX2" fmla="*/ 6310031 w 6310031"/>
              <a:gd name="connsiteY2" fmla="*/ 5157788 h 5157788"/>
              <a:gd name="connsiteX3" fmla="*/ 585903 w 6310031"/>
              <a:gd name="connsiteY3" fmla="*/ 5153180 h 5157788"/>
              <a:gd name="connsiteX4" fmla="*/ 1738031 w 6310031"/>
              <a:gd name="connsiteY4" fmla="*/ 3389965 h 5157788"/>
              <a:gd name="connsiteX5" fmla="*/ 3574235 w 6310031"/>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296143 w 5724128"/>
              <a:gd name="connsiteY4" fmla="*/ 3461908 h 5157788"/>
              <a:gd name="connsiteX5" fmla="*/ 2988332 w 5724128"/>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1188132 w 5760132"/>
              <a:gd name="connsiteY4" fmla="*/ 3425937 h 5157788"/>
              <a:gd name="connsiteX5" fmla="*/ 3024336 w 5760132"/>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2736304 w 5760132"/>
              <a:gd name="connsiteY4" fmla="*/ 3461908 h 5157788"/>
              <a:gd name="connsiteX5" fmla="*/ 3024336 w 5760132"/>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2736304 w 5760132"/>
              <a:gd name="connsiteY4" fmla="*/ 3461908 h 5157788"/>
              <a:gd name="connsiteX5" fmla="*/ 3024336 w 5760132"/>
              <a:gd name="connsiteY5" fmla="*/ 0 h 5157788"/>
              <a:gd name="connsiteX0" fmla="*/ 2160240 w 4896036"/>
              <a:gd name="connsiteY0" fmla="*/ 0 h 5157788"/>
              <a:gd name="connsiteX1" fmla="*/ 4896036 w 4896036"/>
              <a:gd name="connsiteY1" fmla="*/ 0 h 5157788"/>
              <a:gd name="connsiteX2" fmla="*/ 4896036 w 4896036"/>
              <a:gd name="connsiteY2" fmla="*/ 5157788 h 5157788"/>
              <a:gd name="connsiteX3" fmla="*/ 0 w 4896036"/>
              <a:gd name="connsiteY3" fmla="*/ 5153180 h 5157788"/>
              <a:gd name="connsiteX4" fmla="*/ 1872208 w 4896036"/>
              <a:gd name="connsiteY4" fmla="*/ 3461908 h 5157788"/>
              <a:gd name="connsiteX5" fmla="*/ 2160240 w 4896036"/>
              <a:gd name="connsiteY5" fmla="*/ 0 h 5157788"/>
              <a:gd name="connsiteX0" fmla="*/ 2232248 w 4968044"/>
              <a:gd name="connsiteY0" fmla="*/ 0 h 5157788"/>
              <a:gd name="connsiteX1" fmla="*/ 4968044 w 4968044"/>
              <a:gd name="connsiteY1" fmla="*/ 0 h 5157788"/>
              <a:gd name="connsiteX2" fmla="*/ 4968044 w 4968044"/>
              <a:gd name="connsiteY2" fmla="*/ 5157788 h 5157788"/>
              <a:gd name="connsiteX3" fmla="*/ 0 w 4968044"/>
              <a:gd name="connsiteY3" fmla="*/ 5153180 h 5157788"/>
              <a:gd name="connsiteX4" fmla="*/ 1944216 w 4968044"/>
              <a:gd name="connsiteY4" fmla="*/ 3461908 h 5157788"/>
              <a:gd name="connsiteX5" fmla="*/ 2232248 w 4968044"/>
              <a:gd name="connsiteY5" fmla="*/ 0 h 5157788"/>
              <a:gd name="connsiteX0" fmla="*/ 2207679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207679 w 4943475"/>
              <a:gd name="connsiteY5" fmla="*/ 0 h 5157788"/>
              <a:gd name="connsiteX0" fmla="*/ 2963763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963763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092200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71575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343583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675731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675731 w 4943475"/>
              <a:gd name="connsiteY5" fmla="*/ 0 h 5157788"/>
              <a:gd name="connsiteX0" fmla="*/ 2675731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675731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9672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19672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51412" h="5157788">
                <a:moveTo>
                  <a:pt x="2706687" y="0"/>
                </a:moveTo>
                <a:lnTo>
                  <a:pt x="4951412" y="0"/>
                </a:lnTo>
                <a:lnTo>
                  <a:pt x="4951412" y="5157788"/>
                </a:lnTo>
                <a:lnTo>
                  <a:pt x="0" y="5153180"/>
                </a:lnTo>
                <a:cubicBezTo>
                  <a:pt x="84411" y="4542509"/>
                  <a:pt x="183041" y="4024723"/>
                  <a:pt x="1243508" y="2562613"/>
                </a:cubicBezTo>
                <a:cubicBezTo>
                  <a:pt x="1867447" y="1704780"/>
                  <a:pt x="2665955" y="709265"/>
                  <a:pt x="2706687" y="0"/>
                </a:cubicBezTo>
                <a:close/>
              </a:path>
            </a:pathLst>
          </a:custGeom>
          <a:solidFill>
            <a:schemeClr val="bg2"/>
          </a:solidFill>
          <a:ln w="3175">
            <a:noFill/>
          </a:ln>
        </p:spPr>
        <p:txBody>
          <a:bodyPr tIns="720000" rtlCol="0" anchor="ctr">
            <a:noAutofit/>
          </a:bodyPr>
          <a:lstStyle>
            <a:lvl1pPr algn="ctr">
              <a:defRPr sz="1500">
                <a:solidFill>
                  <a:schemeClr val="bg1"/>
                </a:solidFill>
              </a:defRPr>
            </a:lvl1pPr>
          </a:lstStyle>
          <a:p>
            <a:pPr lvl="0"/>
            <a:r>
              <a:rPr lang="en-US" noProof="0"/>
              <a:t>Click icon to add picture</a:t>
            </a:r>
          </a:p>
        </p:txBody>
      </p:sp>
      <p:sp>
        <p:nvSpPr>
          <p:cNvPr id="14" name="Espace réservé de la date 9"/>
          <p:cNvSpPr>
            <a:spLocks noGrp="1"/>
          </p:cNvSpPr>
          <p:nvPr>
            <p:ph type="dt" sz="half" idx="21"/>
          </p:nvPr>
        </p:nvSpPr>
        <p:spPr/>
        <p:txBody>
          <a:bodyPr/>
          <a:lstStyle>
            <a:lvl1pPr>
              <a:defRPr/>
            </a:lvl1pPr>
          </a:lstStyle>
          <a:p>
            <a:pPr>
              <a:defRPr/>
            </a:pPr>
            <a:r>
              <a:rPr lang="en-US">
                <a:solidFill>
                  <a:prstClr val="white">
                    <a:alpha val="0"/>
                  </a:prstClr>
                </a:solidFill>
              </a:rPr>
              <a:t>Date</a:t>
            </a:r>
          </a:p>
        </p:txBody>
      </p:sp>
      <p:sp>
        <p:nvSpPr>
          <p:cNvPr id="16" name="Espace réservé du numéro de diapositive 10"/>
          <p:cNvSpPr>
            <a:spLocks noGrp="1"/>
          </p:cNvSpPr>
          <p:nvPr>
            <p:ph type="sldNum" sz="quarter" idx="22"/>
          </p:nvPr>
        </p:nvSpPr>
        <p:spPr/>
        <p:txBody>
          <a:bodyPr/>
          <a:lstStyle>
            <a:lvl1pPr>
              <a:defRPr sz="100">
                <a:solidFill>
                  <a:schemeClr val="bg1">
                    <a:alpha val="0"/>
                  </a:schemeClr>
                </a:solidFill>
              </a:defRPr>
            </a:lvl1pPr>
          </a:lstStyle>
          <a:p>
            <a:pPr>
              <a:defRPr/>
            </a:pPr>
            <a:r>
              <a:rPr lang="en-US">
                <a:solidFill>
                  <a:prstClr val="white">
                    <a:alpha val="0"/>
                  </a:prstClr>
                </a:solidFill>
              </a:rPr>
              <a:t>Page: </a:t>
            </a:r>
            <a:fld id="{FBC781E1-DB0D-44EA-942B-52789A2EA6EC}" type="slidenum">
              <a:rPr lang="en-US">
                <a:solidFill>
                  <a:prstClr val="white">
                    <a:alpha val="0"/>
                  </a:prstClr>
                </a:solidFill>
              </a:rPr>
              <a:pPr>
                <a:defRPr/>
              </a:pPr>
              <a:t>‹#›</a:t>
            </a:fld>
            <a:endParaRPr lang="en-US">
              <a:solidFill>
                <a:prstClr val="white">
                  <a:alpha val="0"/>
                </a:prstClr>
              </a:solidFill>
            </a:endParaRPr>
          </a:p>
        </p:txBody>
      </p:sp>
      <p:sp>
        <p:nvSpPr>
          <p:cNvPr id="18" name="Espace réservé du pied de page 11"/>
          <p:cNvSpPr>
            <a:spLocks noGrp="1"/>
          </p:cNvSpPr>
          <p:nvPr>
            <p:ph type="ftr" sz="quarter" idx="23"/>
          </p:nvPr>
        </p:nvSpPr>
        <p:spPr>
          <a:xfrm>
            <a:off x="468313" y="523875"/>
            <a:ext cx="4824412" cy="360363"/>
          </a:xfrm>
        </p:spPr>
        <p:txBody>
          <a:bodyPr/>
          <a:lstStyle>
            <a:lvl1pPr algn="l">
              <a:defRPr sz="1800" b="0">
                <a:solidFill>
                  <a:schemeClr val="bg1"/>
                </a:solidFill>
              </a:defRPr>
            </a:lvl1pPr>
          </a:lstStyle>
          <a:p>
            <a:pPr>
              <a:defRPr/>
            </a:pPr>
            <a:r>
              <a:rPr lang="en-US">
                <a:solidFill>
                  <a:prstClr val="white"/>
                </a:solidFill>
              </a:rPr>
              <a:t>#</a:t>
            </a:r>
            <a:r>
              <a:rPr lang="en-US" err="1">
                <a:solidFill>
                  <a:prstClr val="white"/>
                </a:solidFill>
              </a:rPr>
              <a:t>vaccineswork</a:t>
            </a:r>
            <a:endParaRPr lang="en-US">
              <a:solidFill>
                <a:prstClr val="white"/>
              </a:solidFill>
            </a:endParaRPr>
          </a:p>
          <a:p>
            <a:pPr>
              <a:defRPr/>
            </a:pPr>
            <a:endParaRPr lang="en-US">
              <a:solidFill>
                <a:prstClr val="white"/>
              </a:solidFill>
            </a:endParaRPr>
          </a:p>
        </p:txBody>
      </p:sp>
    </p:spTree>
    <p:extLst>
      <p:ext uri="{BB962C8B-B14F-4D97-AF65-F5344CB8AC3E}">
        <p14:creationId xmlns:p14="http://schemas.microsoft.com/office/powerpoint/2010/main" val="3607448354"/>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Cover_Picture_2">
    <p:spTree>
      <p:nvGrpSpPr>
        <p:cNvPr id="1" name=""/>
        <p:cNvGrpSpPr/>
        <p:nvPr/>
      </p:nvGrpSpPr>
      <p:grpSpPr>
        <a:xfrm>
          <a:off x="0" y="0"/>
          <a:ext cx="0" cy="0"/>
          <a:chOff x="0" y="0"/>
          <a:chExt cx="0" cy="0"/>
        </a:xfrm>
      </p:grpSpPr>
      <p:pic>
        <p:nvPicPr>
          <p:cNvPr id="7" name="Image 20" descr="FD_1_L254.png"/>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gray">
          <a:xfrm>
            <a:off x="0" y="0"/>
            <a:ext cx="9144000" cy="51577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0" name="Rectangle 9"/>
          <p:cNvSpPr/>
          <p:nvPr userDrawn="1"/>
        </p:nvSpPr>
        <p:spPr bwMode="gray">
          <a:xfrm>
            <a:off x="3635375" y="5265738"/>
            <a:ext cx="5508625" cy="15922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prstClr val="white"/>
              </a:solidFill>
            </a:endParaRPr>
          </a:p>
        </p:txBody>
      </p:sp>
      <p:pic>
        <p:nvPicPr>
          <p:cNvPr id="11" name="Image 19" descr="Bas_couv.png"/>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gray">
          <a:xfrm>
            <a:off x="0" y="5172075"/>
            <a:ext cx="3635375" cy="16859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2" name="Rectangle 11"/>
          <p:cNvSpPr/>
          <p:nvPr userDrawn="1"/>
        </p:nvSpPr>
        <p:spPr bwMode="gray">
          <a:xfrm>
            <a:off x="3635375" y="6354763"/>
            <a:ext cx="5113338" cy="2873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p>
            <a:pPr algn="r">
              <a:defRPr/>
            </a:pPr>
            <a:r>
              <a:rPr lang="en-US" sz="1000" err="1">
                <a:solidFill>
                  <a:srgbClr val="95D600"/>
                </a:solidFill>
              </a:rPr>
              <a:t>www.gavi.org</a:t>
            </a:r>
            <a:endParaRPr lang="en-US" sz="1000">
              <a:solidFill>
                <a:srgbClr val="95D600"/>
              </a:solidFill>
            </a:endParaRPr>
          </a:p>
        </p:txBody>
      </p:sp>
      <p:cxnSp>
        <p:nvCxnSpPr>
          <p:cNvPr id="13" name="Connecteur droit 13"/>
          <p:cNvCxnSpPr/>
          <p:nvPr userDrawn="1"/>
        </p:nvCxnSpPr>
        <p:spPr bwMode="gray">
          <a:xfrm flipH="1">
            <a:off x="468313" y="3402013"/>
            <a:ext cx="2447925" cy="0"/>
          </a:xfrm>
          <a:prstGeom prst="line">
            <a:avLst/>
          </a:prstGeom>
          <a:ln w="24130">
            <a:solidFill>
              <a:schemeClr val="accent1"/>
            </a:solidFill>
          </a:ln>
        </p:spPr>
        <p:style>
          <a:lnRef idx="1">
            <a:schemeClr val="accent1"/>
          </a:lnRef>
          <a:fillRef idx="0">
            <a:schemeClr val="accent1"/>
          </a:fillRef>
          <a:effectRef idx="0">
            <a:schemeClr val="accent1"/>
          </a:effectRef>
          <a:fontRef idx="minor">
            <a:schemeClr val="tx1"/>
          </a:fontRef>
        </p:style>
      </p:cxnSp>
      <p:sp>
        <p:nvSpPr>
          <p:cNvPr id="9" name="Espace réservé du texte 8"/>
          <p:cNvSpPr>
            <a:spLocks noGrp="1"/>
          </p:cNvSpPr>
          <p:nvPr>
            <p:ph type="body" sz="quarter" idx="13"/>
          </p:nvPr>
        </p:nvSpPr>
        <p:spPr bwMode="gray">
          <a:xfrm>
            <a:off x="468000" y="1036800"/>
            <a:ext cx="4824412" cy="2232000"/>
          </a:xfrm>
        </p:spPr>
        <p:txBody>
          <a:bodyPr anchor="b"/>
          <a:lstStyle>
            <a:lvl1pPr marL="0" indent="0" algn="l">
              <a:lnSpc>
                <a:spcPct val="90000"/>
              </a:lnSpc>
              <a:buNone/>
              <a:defRPr sz="2800" b="1" cap="none" baseline="0">
                <a:solidFill>
                  <a:schemeClr val="bg1"/>
                </a:solidFill>
              </a:defRPr>
            </a:lvl1pPr>
            <a:lvl2pPr marL="0" algn="ctr">
              <a:lnSpc>
                <a:spcPct val="100000"/>
              </a:lnSpc>
              <a:spcBef>
                <a:spcPts val="6900"/>
              </a:spcBef>
              <a:defRPr sz="2000" b="1">
                <a:solidFill>
                  <a:schemeClr val="bg1"/>
                </a:solidFill>
              </a:defRPr>
            </a:lvl2pPr>
          </a:lstStyle>
          <a:p>
            <a:pPr lvl="0"/>
            <a:r>
              <a:rPr lang="en-US" noProof="0"/>
              <a:t>Click to edit Master text styles</a:t>
            </a:r>
          </a:p>
        </p:txBody>
      </p:sp>
      <p:sp>
        <p:nvSpPr>
          <p:cNvPr id="8" name="Espace réservé du texte 8"/>
          <p:cNvSpPr>
            <a:spLocks noGrp="1"/>
          </p:cNvSpPr>
          <p:nvPr>
            <p:ph type="body" sz="quarter" idx="14"/>
          </p:nvPr>
        </p:nvSpPr>
        <p:spPr bwMode="gray">
          <a:xfrm>
            <a:off x="468314" y="3585600"/>
            <a:ext cx="3592800" cy="1479600"/>
          </a:xfrm>
        </p:spPr>
        <p:txBody>
          <a:bodyPr/>
          <a:lstStyle>
            <a:lvl1pPr marL="0" indent="0" algn="l">
              <a:lnSpc>
                <a:spcPct val="90000"/>
              </a:lnSpc>
              <a:buNone/>
              <a:defRPr sz="2000" b="0" baseline="0">
                <a:solidFill>
                  <a:schemeClr val="bg1"/>
                </a:solidFill>
              </a:defRPr>
            </a:lvl1pPr>
            <a:lvl2pPr marL="0" algn="ctr">
              <a:lnSpc>
                <a:spcPct val="100000"/>
              </a:lnSpc>
              <a:spcBef>
                <a:spcPts val="6900"/>
              </a:spcBef>
              <a:defRPr sz="2000" b="1">
                <a:solidFill>
                  <a:schemeClr val="bg1"/>
                </a:solidFill>
              </a:defRPr>
            </a:lvl2pPr>
          </a:lstStyle>
          <a:p>
            <a:pPr lvl="0"/>
            <a:r>
              <a:rPr lang="en-US" noProof="0"/>
              <a:t>Click to edit Master text styles</a:t>
            </a:r>
          </a:p>
        </p:txBody>
      </p:sp>
      <p:sp>
        <p:nvSpPr>
          <p:cNvPr id="15" name="Espace réservé du texte 14"/>
          <p:cNvSpPr>
            <a:spLocks noGrp="1"/>
          </p:cNvSpPr>
          <p:nvPr>
            <p:ph type="body" sz="quarter" idx="19"/>
          </p:nvPr>
        </p:nvSpPr>
        <p:spPr bwMode="gray">
          <a:xfrm>
            <a:off x="3635376" y="6021388"/>
            <a:ext cx="5113338" cy="324000"/>
          </a:xfrm>
        </p:spPr>
        <p:txBody>
          <a:bodyPr anchor="b"/>
          <a:lstStyle>
            <a:lvl1pPr algn="r">
              <a:lnSpc>
                <a:spcPct val="100000"/>
              </a:lnSpc>
              <a:defRPr sz="1000" b="1">
                <a:solidFill>
                  <a:schemeClr val="accent3"/>
                </a:solidFill>
              </a:defRPr>
            </a:lvl1pPr>
          </a:lstStyle>
          <a:p>
            <a:pPr lvl="0"/>
            <a:r>
              <a:rPr lang="en-US" noProof="0"/>
              <a:t>Click to edit Master text styles</a:t>
            </a:r>
          </a:p>
        </p:txBody>
      </p:sp>
      <p:sp>
        <p:nvSpPr>
          <p:cNvPr id="17" name="Espace réservé du texte 16"/>
          <p:cNvSpPr>
            <a:spLocks noGrp="1"/>
          </p:cNvSpPr>
          <p:nvPr>
            <p:ph type="body" sz="quarter" idx="20"/>
          </p:nvPr>
        </p:nvSpPr>
        <p:spPr bwMode="gray">
          <a:xfrm>
            <a:off x="0" y="5157788"/>
            <a:ext cx="9144000" cy="287337"/>
          </a:xfrm>
          <a:solidFill>
            <a:schemeClr val="bg1"/>
          </a:solidFill>
        </p:spPr>
        <p:txBody>
          <a:bodyPr/>
          <a:lstStyle>
            <a:lvl1pPr>
              <a:defRPr sz="100" b="0">
                <a:solidFill>
                  <a:schemeClr val="bg1">
                    <a:alpha val="0"/>
                  </a:schemeClr>
                </a:solidFill>
              </a:defRPr>
            </a:lvl1pPr>
          </a:lstStyle>
          <a:p>
            <a:pPr lvl="0"/>
            <a:r>
              <a:rPr lang="en-US" noProof="0"/>
              <a:t>Click to edit Master text styles</a:t>
            </a:r>
          </a:p>
        </p:txBody>
      </p:sp>
      <p:sp>
        <p:nvSpPr>
          <p:cNvPr id="18" name="Espace réservé pour une image  17"/>
          <p:cNvSpPr>
            <a:spLocks noGrp="1"/>
          </p:cNvSpPr>
          <p:nvPr>
            <p:ph type="pic" sz="quarter" idx="18"/>
          </p:nvPr>
        </p:nvSpPr>
        <p:spPr bwMode="gray">
          <a:xfrm>
            <a:off x="4192588" y="0"/>
            <a:ext cx="4951412" cy="5162400"/>
          </a:xfrm>
          <a:custGeom>
            <a:avLst/>
            <a:gdLst>
              <a:gd name="connsiteX0" fmla="*/ 0 w 3851275"/>
              <a:gd name="connsiteY0" fmla="*/ 0 h 5157788"/>
              <a:gd name="connsiteX1" fmla="*/ 3851275 w 3851275"/>
              <a:gd name="connsiteY1" fmla="*/ 0 h 5157788"/>
              <a:gd name="connsiteX2" fmla="*/ 3851275 w 3851275"/>
              <a:gd name="connsiteY2" fmla="*/ 5157788 h 5157788"/>
              <a:gd name="connsiteX3" fmla="*/ 0 w 3851275"/>
              <a:gd name="connsiteY3" fmla="*/ 5157788 h 5157788"/>
              <a:gd name="connsiteX4" fmla="*/ 0 w 3851275"/>
              <a:gd name="connsiteY4"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0 w 3851275"/>
              <a:gd name="connsiteY3" fmla="*/ 5157788 h 5157788"/>
              <a:gd name="connsiteX4" fmla="*/ 1692275 w 3851275"/>
              <a:gd name="connsiteY4" fmla="*/ 0 h 5157788"/>
              <a:gd name="connsiteX0" fmla="*/ 0 w 2159000"/>
              <a:gd name="connsiteY0" fmla="*/ 0 h 5157788"/>
              <a:gd name="connsiteX1" fmla="*/ 2159000 w 2159000"/>
              <a:gd name="connsiteY1" fmla="*/ 0 h 5157788"/>
              <a:gd name="connsiteX2" fmla="*/ 2159000 w 2159000"/>
              <a:gd name="connsiteY2" fmla="*/ 5157788 h 5157788"/>
              <a:gd name="connsiteX3" fmla="*/ 0 w 2159000"/>
              <a:gd name="connsiteY3" fmla="*/ 5157788 h 5157788"/>
              <a:gd name="connsiteX4" fmla="*/ 0 w 2159000"/>
              <a:gd name="connsiteY4" fmla="*/ 0 h 5157788"/>
              <a:gd name="connsiteX0" fmla="*/ 2625271 w 4784271"/>
              <a:gd name="connsiteY0" fmla="*/ 0 h 5157788"/>
              <a:gd name="connsiteX1" fmla="*/ 4784271 w 4784271"/>
              <a:gd name="connsiteY1" fmla="*/ 0 h 5157788"/>
              <a:gd name="connsiteX2" fmla="*/ 4784271 w 4784271"/>
              <a:gd name="connsiteY2" fmla="*/ 5157788 h 5157788"/>
              <a:gd name="connsiteX3" fmla="*/ 2625271 w 4784271"/>
              <a:gd name="connsiteY3" fmla="*/ 5157788 h 5157788"/>
              <a:gd name="connsiteX4" fmla="*/ 2625271 w 4784271"/>
              <a:gd name="connsiteY4" fmla="*/ 0 h 5157788"/>
              <a:gd name="connsiteX0" fmla="*/ 2625271 w 4784271"/>
              <a:gd name="connsiteY0" fmla="*/ 0 h 5157788"/>
              <a:gd name="connsiteX1" fmla="*/ 4784271 w 4784271"/>
              <a:gd name="connsiteY1" fmla="*/ 0 h 5157788"/>
              <a:gd name="connsiteX2" fmla="*/ 4784271 w 4784271"/>
              <a:gd name="connsiteY2" fmla="*/ 5157788 h 5157788"/>
              <a:gd name="connsiteX3" fmla="*/ 2625271 w 4784271"/>
              <a:gd name="connsiteY3" fmla="*/ 5157788 h 5157788"/>
              <a:gd name="connsiteX4" fmla="*/ 2625271 w 4784271"/>
              <a:gd name="connsiteY4" fmla="*/ 0 h 5157788"/>
              <a:gd name="connsiteX0" fmla="*/ 3568576 w 5727576"/>
              <a:gd name="connsiteY0" fmla="*/ 0 h 5157788"/>
              <a:gd name="connsiteX1" fmla="*/ 5727576 w 5727576"/>
              <a:gd name="connsiteY1" fmla="*/ 0 h 5157788"/>
              <a:gd name="connsiteX2" fmla="*/ 5727576 w 5727576"/>
              <a:gd name="connsiteY2" fmla="*/ 5157788 h 5157788"/>
              <a:gd name="connsiteX3" fmla="*/ 3568576 w 5727576"/>
              <a:gd name="connsiteY3" fmla="*/ 5157788 h 5157788"/>
              <a:gd name="connsiteX4" fmla="*/ 3568576 w 5727576"/>
              <a:gd name="connsiteY4" fmla="*/ 0 h 5157788"/>
              <a:gd name="connsiteX0" fmla="*/ 3306355 w 5465355"/>
              <a:gd name="connsiteY0" fmla="*/ 0 h 5157788"/>
              <a:gd name="connsiteX1" fmla="*/ 5465355 w 5465355"/>
              <a:gd name="connsiteY1" fmla="*/ 0 h 5157788"/>
              <a:gd name="connsiteX2" fmla="*/ 5465355 w 5465355"/>
              <a:gd name="connsiteY2" fmla="*/ 5157788 h 5157788"/>
              <a:gd name="connsiteX3" fmla="*/ 3306355 w 5465355"/>
              <a:gd name="connsiteY3" fmla="*/ 5157788 h 5157788"/>
              <a:gd name="connsiteX4" fmla="*/ 3306355 w 5465355"/>
              <a:gd name="connsiteY4" fmla="*/ 0 h 5157788"/>
              <a:gd name="connsiteX0" fmla="*/ 1416957 w 3575957"/>
              <a:gd name="connsiteY0" fmla="*/ 0 h 5157788"/>
              <a:gd name="connsiteX1" fmla="*/ 3575957 w 3575957"/>
              <a:gd name="connsiteY1" fmla="*/ 0 h 5157788"/>
              <a:gd name="connsiteX2" fmla="*/ 3575957 w 3575957"/>
              <a:gd name="connsiteY2" fmla="*/ 5157788 h 5157788"/>
              <a:gd name="connsiteX3" fmla="*/ 1416957 w 3575957"/>
              <a:gd name="connsiteY3" fmla="*/ 5157788 h 5157788"/>
              <a:gd name="connsiteX4" fmla="*/ 0 w 3575957"/>
              <a:gd name="connsiteY4" fmla="*/ 3339193 h 5157788"/>
              <a:gd name="connsiteX5" fmla="*/ 1416957 w 3575957"/>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6017419"/>
              <a:gd name="connsiteX1" fmla="*/ 3851275 w 3851275"/>
              <a:gd name="connsiteY1" fmla="*/ 0 h 6017419"/>
              <a:gd name="connsiteX2" fmla="*/ 3851275 w 3851275"/>
              <a:gd name="connsiteY2" fmla="*/ 5157788 h 6017419"/>
              <a:gd name="connsiteX3" fmla="*/ 1692275 w 3851275"/>
              <a:gd name="connsiteY3" fmla="*/ 5157788 h 6017419"/>
              <a:gd name="connsiteX4" fmla="*/ 0 w 3851275"/>
              <a:gd name="connsiteY4" fmla="*/ 3284984 h 6017419"/>
              <a:gd name="connsiteX5" fmla="*/ 1692275 w 3851275"/>
              <a:gd name="connsiteY5" fmla="*/ 0 h 6017419"/>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429000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429000 h 5157788"/>
              <a:gd name="connsiteX5" fmla="*/ 1710871 w 3869871"/>
              <a:gd name="connsiteY5" fmla="*/ 0 h 5157788"/>
              <a:gd name="connsiteX0" fmla="*/ 1704975 w 3863975"/>
              <a:gd name="connsiteY0" fmla="*/ 0 h 5157788"/>
              <a:gd name="connsiteX1" fmla="*/ 3863975 w 3863975"/>
              <a:gd name="connsiteY1" fmla="*/ 0 h 5157788"/>
              <a:gd name="connsiteX2" fmla="*/ 3863975 w 3863975"/>
              <a:gd name="connsiteY2" fmla="*/ 5157788 h 5157788"/>
              <a:gd name="connsiteX3" fmla="*/ 1704975 w 3863975"/>
              <a:gd name="connsiteY3" fmla="*/ 5157788 h 5157788"/>
              <a:gd name="connsiteX4" fmla="*/ 12700 w 3863975"/>
              <a:gd name="connsiteY4" fmla="*/ 3429000 h 5157788"/>
              <a:gd name="connsiteX5" fmla="*/ 1704975 w 3863975"/>
              <a:gd name="connsiteY5" fmla="*/ 0 h 5157788"/>
              <a:gd name="connsiteX0" fmla="*/ 1707243 w 3866243"/>
              <a:gd name="connsiteY0" fmla="*/ 0 h 5157788"/>
              <a:gd name="connsiteX1" fmla="*/ 3866243 w 3866243"/>
              <a:gd name="connsiteY1" fmla="*/ 0 h 5157788"/>
              <a:gd name="connsiteX2" fmla="*/ 3866243 w 3866243"/>
              <a:gd name="connsiteY2" fmla="*/ 5157788 h 5157788"/>
              <a:gd name="connsiteX3" fmla="*/ 1707243 w 3866243"/>
              <a:gd name="connsiteY3" fmla="*/ 5157788 h 5157788"/>
              <a:gd name="connsiteX4" fmla="*/ 14968 w 3866243"/>
              <a:gd name="connsiteY4" fmla="*/ 3429000 h 5157788"/>
              <a:gd name="connsiteX5" fmla="*/ 1707243 w 3866243"/>
              <a:gd name="connsiteY5" fmla="*/ 0 h 5157788"/>
              <a:gd name="connsiteX0" fmla="*/ 1130447 w 3866243"/>
              <a:gd name="connsiteY0" fmla="*/ 0 h 5157788"/>
              <a:gd name="connsiteX1" fmla="*/ 3866243 w 3866243"/>
              <a:gd name="connsiteY1" fmla="*/ 0 h 5157788"/>
              <a:gd name="connsiteX2" fmla="*/ 3866243 w 3866243"/>
              <a:gd name="connsiteY2" fmla="*/ 5157788 h 5157788"/>
              <a:gd name="connsiteX3" fmla="*/ 1707243 w 3866243"/>
              <a:gd name="connsiteY3" fmla="*/ 5157788 h 5157788"/>
              <a:gd name="connsiteX4" fmla="*/ 14968 w 3866243"/>
              <a:gd name="connsiteY4" fmla="*/ 3429000 h 5157788"/>
              <a:gd name="connsiteX5" fmla="*/ 1130447 w 3866243"/>
              <a:gd name="connsiteY5" fmla="*/ 0 h 5157788"/>
              <a:gd name="connsiteX0" fmla="*/ 2746143 w 5481939"/>
              <a:gd name="connsiteY0" fmla="*/ 0 h 5157788"/>
              <a:gd name="connsiteX1" fmla="*/ 5481939 w 5481939"/>
              <a:gd name="connsiteY1" fmla="*/ 0 h 5157788"/>
              <a:gd name="connsiteX2" fmla="*/ 5481939 w 5481939"/>
              <a:gd name="connsiteY2" fmla="*/ 5157788 h 5157788"/>
              <a:gd name="connsiteX3" fmla="*/ 585903 w 5481939"/>
              <a:gd name="connsiteY3" fmla="*/ 5153180 h 5157788"/>
              <a:gd name="connsiteX4" fmla="*/ 1630664 w 5481939"/>
              <a:gd name="connsiteY4" fmla="*/ 3429000 h 5157788"/>
              <a:gd name="connsiteX5" fmla="*/ 2746143 w 5481939"/>
              <a:gd name="connsiteY5" fmla="*/ 0 h 5157788"/>
              <a:gd name="connsiteX0" fmla="*/ 2746143 w 5481939"/>
              <a:gd name="connsiteY0" fmla="*/ 0 h 5157788"/>
              <a:gd name="connsiteX1" fmla="*/ 5481939 w 5481939"/>
              <a:gd name="connsiteY1" fmla="*/ 0 h 5157788"/>
              <a:gd name="connsiteX2" fmla="*/ 5481939 w 5481939"/>
              <a:gd name="connsiteY2" fmla="*/ 5157788 h 5157788"/>
              <a:gd name="connsiteX3" fmla="*/ 585903 w 5481939"/>
              <a:gd name="connsiteY3" fmla="*/ 5153180 h 5157788"/>
              <a:gd name="connsiteX4" fmla="*/ 1630664 w 5481939"/>
              <a:gd name="connsiteY4" fmla="*/ 3429000 h 5157788"/>
              <a:gd name="connsiteX5" fmla="*/ 2746143 w 548193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3574235 w 6310031"/>
              <a:gd name="connsiteY0" fmla="*/ 0 h 5157788"/>
              <a:gd name="connsiteX1" fmla="*/ 6310031 w 6310031"/>
              <a:gd name="connsiteY1" fmla="*/ 0 h 5157788"/>
              <a:gd name="connsiteX2" fmla="*/ 6310031 w 6310031"/>
              <a:gd name="connsiteY2" fmla="*/ 5157788 h 5157788"/>
              <a:gd name="connsiteX3" fmla="*/ 585903 w 6310031"/>
              <a:gd name="connsiteY3" fmla="*/ 5153180 h 5157788"/>
              <a:gd name="connsiteX4" fmla="*/ 1738031 w 6310031"/>
              <a:gd name="connsiteY4" fmla="*/ 3389965 h 5157788"/>
              <a:gd name="connsiteX5" fmla="*/ 3574235 w 6310031"/>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296143 w 5724128"/>
              <a:gd name="connsiteY4" fmla="*/ 3461908 h 5157788"/>
              <a:gd name="connsiteX5" fmla="*/ 2988332 w 5724128"/>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1188132 w 5760132"/>
              <a:gd name="connsiteY4" fmla="*/ 3425937 h 5157788"/>
              <a:gd name="connsiteX5" fmla="*/ 3024336 w 5760132"/>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2736304 w 5760132"/>
              <a:gd name="connsiteY4" fmla="*/ 3461908 h 5157788"/>
              <a:gd name="connsiteX5" fmla="*/ 3024336 w 5760132"/>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2736304 w 5760132"/>
              <a:gd name="connsiteY4" fmla="*/ 3461908 h 5157788"/>
              <a:gd name="connsiteX5" fmla="*/ 3024336 w 5760132"/>
              <a:gd name="connsiteY5" fmla="*/ 0 h 5157788"/>
              <a:gd name="connsiteX0" fmla="*/ 2160240 w 4896036"/>
              <a:gd name="connsiteY0" fmla="*/ 0 h 5157788"/>
              <a:gd name="connsiteX1" fmla="*/ 4896036 w 4896036"/>
              <a:gd name="connsiteY1" fmla="*/ 0 h 5157788"/>
              <a:gd name="connsiteX2" fmla="*/ 4896036 w 4896036"/>
              <a:gd name="connsiteY2" fmla="*/ 5157788 h 5157788"/>
              <a:gd name="connsiteX3" fmla="*/ 0 w 4896036"/>
              <a:gd name="connsiteY3" fmla="*/ 5153180 h 5157788"/>
              <a:gd name="connsiteX4" fmla="*/ 1872208 w 4896036"/>
              <a:gd name="connsiteY4" fmla="*/ 3461908 h 5157788"/>
              <a:gd name="connsiteX5" fmla="*/ 2160240 w 4896036"/>
              <a:gd name="connsiteY5" fmla="*/ 0 h 5157788"/>
              <a:gd name="connsiteX0" fmla="*/ 2232248 w 4968044"/>
              <a:gd name="connsiteY0" fmla="*/ 0 h 5157788"/>
              <a:gd name="connsiteX1" fmla="*/ 4968044 w 4968044"/>
              <a:gd name="connsiteY1" fmla="*/ 0 h 5157788"/>
              <a:gd name="connsiteX2" fmla="*/ 4968044 w 4968044"/>
              <a:gd name="connsiteY2" fmla="*/ 5157788 h 5157788"/>
              <a:gd name="connsiteX3" fmla="*/ 0 w 4968044"/>
              <a:gd name="connsiteY3" fmla="*/ 5153180 h 5157788"/>
              <a:gd name="connsiteX4" fmla="*/ 1944216 w 4968044"/>
              <a:gd name="connsiteY4" fmla="*/ 3461908 h 5157788"/>
              <a:gd name="connsiteX5" fmla="*/ 2232248 w 4968044"/>
              <a:gd name="connsiteY5" fmla="*/ 0 h 5157788"/>
              <a:gd name="connsiteX0" fmla="*/ 2207679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207679 w 4943475"/>
              <a:gd name="connsiteY5" fmla="*/ 0 h 5157788"/>
              <a:gd name="connsiteX0" fmla="*/ 2963763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963763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092200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71575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343583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675731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675731 w 4943475"/>
              <a:gd name="connsiteY5" fmla="*/ 0 h 5157788"/>
              <a:gd name="connsiteX0" fmla="*/ 2675731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675731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9672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19672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51412" h="5157788">
                <a:moveTo>
                  <a:pt x="2706687" y="0"/>
                </a:moveTo>
                <a:lnTo>
                  <a:pt x="4951412" y="0"/>
                </a:lnTo>
                <a:lnTo>
                  <a:pt x="4951412" y="5157788"/>
                </a:lnTo>
                <a:lnTo>
                  <a:pt x="0" y="5153180"/>
                </a:lnTo>
                <a:cubicBezTo>
                  <a:pt x="84411" y="4542509"/>
                  <a:pt x="183041" y="4024723"/>
                  <a:pt x="1243508" y="2562613"/>
                </a:cubicBezTo>
                <a:cubicBezTo>
                  <a:pt x="1867447" y="1704780"/>
                  <a:pt x="2665955" y="709265"/>
                  <a:pt x="2706687" y="0"/>
                </a:cubicBezTo>
                <a:close/>
              </a:path>
            </a:pathLst>
          </a:custGeom>
          <a:solidFill>
            <a:schemeClr val="bg2"/>
          </a:solidFill>
          <a:ln w="3175">
            <a:noFill/>
          </a:ln>
        </p:spPr>
        <p:txBody>
          <a:bodyPr tIns="720000" rtlCol="0" anchor="ctr">
            <a:noAutofit/>
          </a:bodyPr>
          <a:lstStyle>
            <a:lvl1pPr algn="ctr">
              <a:defRPr sz="1500">
                <a:solidFill>
                  <a:schemeClr val="bg1"/>
                </a:solidFill>
              </a:defRPr>
            </a:lvl1pPr>
          </a:lstStyle>
          <a:p>
            <a:pPr lvl="0"/>
            <a:r>
              <a:rPr lang="en-US" noProof="0"/>
              <a:t>Click icon to add picture</a:t>
            </a:r>
          </a:p>
        </p:txBody>
      </p:sp>
      <p:sp>
        <p:nvSpPr>
          <p:cNvPr id="14" name="Espace réservé de la date 9"/>
          <p:cNvSpPr>
            <a:spLocks noGrp="1"/>
          </p:cNvSpPr>
          <p:nvPr>
            <p:ph type="dt" sz="half" idx="21"/>
          </p:nvPr>
        </p:nvSpPr>
        <p:spPr/>
        <p:txBody>
          <a:bodyPr/>
          <a:lstStyle>
            <a:lvl1pPr>
              <a:defRPr/>
            </a:lvl1pPr>
          </a:lstStyle>
          <a:p>
            <a:pPr>
              <a:defRPr/>
            </a:pPr>
            <a:r>
              <a:rPr lang="en-US">
                <a:solidFill>
                  <a:prstClr val="white">
                    <a:alpha val="0"/>
                  </a:prstClr>
                </a:solidFill>
              </a:rPr>
              <a:t>Date</a:t>
            </a:r>
          </a:p>
        </p:txBody>
      </p:sp>
      <p:sp>
        <p:nvSpPr>
          <p:cNvPr id="16" name="Espace réservé du numéro de diapositive 10"/>
          <p:cNvSpPr>
            <a:spLocks noGrp="1"/>
          </p:cNvSpPr>
          <p:nvPr>
            <p:ph type="sldNum" sz="quarter" idx="22"/>
          </p:nvPr>
        </p:nvSpPr>
        <p:spPr/>
        <p:txBody>
          <a:bodyPr/>
          <a:lstStyle>
            <a:lvl1pPr>
              <a:defRPr sz="100">
                <a:solidFill>
                  <a:schemeClr val="bg1">
                    <a:alpha val="0"/>
                  </a:schemeClr>
                </a:solidFill>
              </a:defRPr>
            </a:lvl1pPr>
          </a:lstStyle>
          <a:p>
            <a:pPr>
              <a:defRPr/>
            </a:pPr>
            <a:r>
              <a:rPr lang="en-US">
                <a:solidFill>
                  <a:prstClr val="white">
                    <a:alpha val="0"/>
                  </a:prstClr>
                </a:solidFill>
              </a:rPr>
              <a:t>Page: </a:t>
            </a:r>
            <a:fld id="{A170035D-6B8C-439A-85EA-19B5ADE5A975}" type="slidenum">
              <a:rPr lang="en-US">
                <a:solidFill>
                  <a:prstClr val="white">
                    <a:alpha val="0"/>
                  </a:prstClr>
                </a:solidFill>
              </a:rPr>
              <a:pPr>
                <a:defRPr/>
              </a:pPr>
              <a:t>‹#›</a:t>
            </a:fld>
            <a:endParaRPr lang="en-US">
              <a:solidFill>
                <a:prstClr val="white">
                  <a:alpha val="0"/>
                </a:prstClr>
              </a:solidFill>
            </a:endParaRPr>
          </a:p>
        </p:txBody>
      </p:sp>
      <p:sp>
        <p:nvSpPr>
          <p:cNvPr id="19" name="Espace réservé du pied de page 11"/>
          <p:cNvSpPr>
            <a:spLocks noGrp="1"/>
          </p:cNvSpPr>
          <p:nvPr>
            <p:ph type="ftr" sz="quarter" idx="23"/>
          </p:nvPr>
        </p:nvSpPr>
        <p:spPr>
          <a:xfrm>
            <a:off x="468313" y="523875"/>
            <a:ext cx="4824412" cy="360363"/>
          </a:xfrm>
        </p:spPr>
        <p:txBody>
          <a:bodyPr/>
          <a:lstStyle>
            <a:lvl1pPr algn="l">
              <a:defRPr sz="1800" b="0">
                <a:solidFill>
                  <a:schemeClr val="bg1"/>
                </a:solidFill>
              </a:defRPr>
            </a:lvl1pPr>
          </a:lstStyle>
          <a:p>
            <a:pPr>
              <a:defRPr/>
            </a:pPr>
            <a:r>
              <a:rPr lang="en-US">
                <a:solidFill>
                  <a:prstClr val="white"/>
                </a:solidFill>
              </a:rPr>
              <a:t>#</a:t>
            </a:r>
            <a:r>
              <a:rPr lang="en-US" err="1">
                <a:solidFill>
                  <a:prstClr val="white"/>
                </a:solidFill>
              </a:rPr>
              <a:t>vaccineswork</a:t>
            </a:r>
            <a:endParaRPr lang="en-US">
              <a:solidFill>
                <a:prstClr val="white"/>
              </a:solidFill>
            </a:endParaRPr>
          </a:p>
        </p:txBody>
      </p:sp>
    </p:spTree>
    <p:extLst>
      <p:ext uri="{BB962C8B-B14F-4D97-AF65-F5344CB8AC3E}">
        <p14:creationId xmlns:p14="http://schemas.microsoft.com/office/powerpoint/2010/main" val="2832494854"/>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Chapter_Layout">
    <p:spTree>
      <p:nvGrpSpPr>
        <p:cNvPr id="1" name=""/>
        <p:cNvGrpSpPr/>
        <p:nvPr/>
      </p:nvGrpSpPr>
      <p:grpSpPr>
        <a:xfrm>
          <a:off x="0" y="0"/>
          <a:ext cx="0" cy="0"/>
          <a:chOff x="0" y="0"/>
          <a:chExt cx="0" cy="0"/>
        </a:xfrm>
      </p:grpSpPr>
      <p:pic>
        <p:nvPicPr>
          <p:cNvPr id="6" name="Image 17" descr="FD_03_chap_110x190,5.pn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gray">
          <a:xfrm>
            <a:off x="0" y="0"/>
            <a:ext cx="3959225" cy="68580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cxnSp>
        <p:nvCxnSpPr>
          <p:cNvPr id="7" name="Connecteur droit 14"/>
          <p:cNvCxnSpPr/>
          <p:nvPr userDrawn="1"/>
        </p:nvCxnSpPr>
        <p:spPr bwMode="gray">
          <a:xfrm flipH="1">
            <a:off x="3635375" y="2389188"/>
            <a:ext cx="1584325" cy="0"/>
          </a:xfrm>
          <a:prstGeom prst="line">
            <a:avLst/>
          </a:prstGeom>
          <a:ln w="24130">
            <a:solidFill>
              <a:schemeClr val="accent1"/>
            </a:solidFill>
          </a:ln>
        </p:spPr>
        <p:style>
          <a:lnRef idx="1">
            <a:schemeClr val="accent1"/>
          </a:lnRef>
          <a:fillRef idx="0">
            <a:schemeClr val="accent1"/>
          </a:fillRef>
          <a:effectRef idx="0">
            <a:schemeClr val="accent1"/>
          </a:effectRef>
          <a:fontRef idx="minor">
            <a:schemeClr val="tx1"/>
          </a:fontRef>
        </p:style>
      </p:cxnSp>
      <p:sp>
        <p:nvSpPr>
          <p:cNvPr id="2" name="Titre 1"/>
          <p:cNvSpPr>
            <a:spLocks noGrp="1"/>
          </p:cNvSpPr>
          <p:nvPr>
            <p:ph type="title"/>
          </p:nvPr>
        </p:nvSpPr>
        <p:spPr bwMode="gray">
          <a:xfrm>
            <a:off x="3635374" y="1036638"/>
            <a:ext cx="3263901" cy="1268759"/>
          </a:xfrm>
        </p:spPr>
        <p:txBody>
          <a:bodyPr/>
          <a:lstStyle/>
          <a:p>
            <a:r>
              <a:rPr lang="en-US" noProof="0"/>
              <a:t>Click to edit Master title style</a:t>
            </a:r>
          </a:p>
        </p:txBody>
      </p:sp>
      <p:sp>
        <p:nvSpPr>
          <p:cNvPr id="10" name="Espace réservé du texte 9"/>
          <p:cNvSpPr>
            <a:spLocks noGrp="1"/>
          </p:cNvSpPr>
          <p:nvPr>
            <p:ph type="body" sz="quarter" idx="13"/>
          </p:nvPr>
        </p:nvSpPr>
        <p:spPr bwMode="gray">
          <a:xfrm>
            <a:off x="3635376" y="2574000"/>
            <a:ext cx="3263900" cy="3447388"/>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Espace réservé du texte 9"/>
          <p:cNvSpPr>
            <a:spLocks noGrp="1"/>
          </p:cNvSpPr>
          <p:nvPr>
            <p:ph type="body" sz="quarter" idx="14"/>
          </p:nvPr>
        </p:nvSpPr>
        <p:spPr bwMode="gray">
          <a:xfrm>
            <a:off x="0" y="139974"/>
            <a:ext cx="2628000" cy="5017814"/>
          </a:xfrm>
        </p:spPr>
        <p:txBody>
          <a:bodyPr/>
          <a:lstStyle>
            <a:lvl1pPr algn="r">
              <a:defRPr sz="16600" b="1">
                <a:solidFill>
                  <a:schemeClr val="bg1"/>
                </a:solidFill>
              </a:defRPr>
            </a:lvl1pPr>
          </a:lstStyle>
          <a:p>
            <a:pPr lvl="0"/>
            <a:r>
              <a:rPr lang="en-US" noProof="0"/>
              <a:t>Click to edit Master text styles</a:t>
            </a:r>
          </a:p>
        </p:txBody>
      </p:sp>
      <p:sp>
        <p:nvSpPr>
          <p:cNvPr id="19" name="Espace réservé pour une image  17"/>
          <p:cNvSpPr>
            <a:spLocks noGrp="1"/>
          </p:cNvSpPr>
          <p:nvPr>
            <p:ph type="pic" sz="quarter" idx="18"/>
          </p:nvPr>
        </p:nvSpPr>
        <p:spPr bwMode="gray">
          <a:xfrm>
            <a:off x="7254332" y="132082"/>
            <a:ext cx="1899827" cy="5812641"/>
          </a:xfrm>
          <a:custGeom>
            <a:avLst/>
            <a:gdLst>
              <a:gd name="connsiteX0" fmla="*/ 0 w 3851275"/>
              <a:gd name="connsiteY0" fmla="*/ 0 h 5157788"/>
              <a:gd name="connsiteX1" fmla="*/ 3851275 w 3851275"/>
              <a:gd name="connsiteY1" fmla="*/ 0 h 5157788"/>
              <a:gd name="connsiteX2" fmla="*/ 3851275 w 3851275"/>
              <a:gd name="connsiteY2" fmla="*/ 5157788 h 5157788"/>
              <a:gd name="connsiteX3" fmla="*/ 0 w 3851275"/>
              <a:gd name="connsiteY3" fmla="*/ 5157788 h 5157788"/>
              <a:gd name="connsiteX4" fmla="*/ 0 w 3851275"/>
              <a:gd name="connsiteY4"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0 w 3851275"/>
              <a:gd name="connsiteY3" fmla="*/ 5157788 h 5157788"/>
              <a:gd name="connsiteX4" fmla="*/ 1692275 w 3851275"/>
              <a:gd name="connsiteY4" fmla="*/ 0 h 5157788"/>
              <a:gd name="connsiteX0" fmla="*/ 0 w 2159000"/>
              <a:gd name="connsiteY0" fmla="*/ 0 h 5157788"/>
              <a:gd name="connsiteX1" fmla="*/ 2159000 w 2159000"/>
              <a:gd name="connsiteY1" fmla="*/ 0 h 5157788"/>
              <a:gd name="connsiteX2" fmla="*/ 2159000 w 2159000"/>
              <a:gd name="connsiteY2" fmla="*/ 5157788 h 5157788"/>
              <a:gd name="connsiteX3" fmla="*/ 0 w 2159000"/>
              <a:gd name="connsiteY3" fmla="*/ 5157788 h 5157788"/>
              <a:gd name="connsiteX4" fmla="*/ 0 w 2159000"/>
              <a:gd name="connsiteY4" fmla="*/ 0 h 5157788"/>
              <a:gd name="connsiteX0" fmla="*/ 2625271 w 4784271"/>
              <a:gd name="connsiteY0" fmla="*/ 0 h 5157788"/>
              <a:gd name="connsiteX1" fmla="*/ 4784271 w 4784271"/>
              <a:gd name="connsiteY1" fmla="*/ 0 h 5157788"/>
              <a:gd name="connsiteX2" fmla="*/ 4784271 w 4784271"/>
              <a:gd name="connsiteY2" fmla="*/ 5157788 h 5157788"/>
              <a:gd name="connsiteX3" fmla="*/ 2625271 w 4784271"/>
              <a:gd name="connsiteY3" fmla="*/ 5157788 h 5157788"/>
              <a:gd name="connsiteX4" fmla="*/ 2625271 w 4784271"/>
              <a:gd name="connsiteY4" fmla="*/ 0 h 5157788"/>
              <a:gd name="connsiteX0" fmla="*/ 2625271 w 4784271"/>
              <a:gd name="connsiteY0" fmla="*/ 0 h 5157788"/>
              <a:gd name="connsiteX1" fmla="*/ 4784271 w 4784271"/>
              <a:gd name="connsiteY1" fmla="*/ 0 h 5157788"/>
              <a:gd name="connsiteX2" fmla="*/ 4784271 w 4784271"/>
              <a:gd name="connsiteY2" fmla="*/ 5157788 h 5157788"/>
              <a:gd name="connsiteX3" fmla="*/ 2625271 w 4784271"/>
              <a:gd name="connsiteY3" fmla="*/ 5157788 h 5157788"/>
              <a:gd name="connsiteX4" fmla="*/ 2625271 w 4784271"/>
              <a:gd name="connsiteY4" fmla="*/ 0 h 5157788"/>
              <a:gd name="connsiteX0" fmla="*/ 3568576 w 5727576"/>
              <a:gd name="connsiteY0" fmla="*/ 0 h 5157788"/>
              <a:gd name="connsiteX1" fmla="*/ 5727576 w 5727576"/>
              <a:gd name="connsiteY1" fmla="*/ 0 h 5157788"/>
              <a:gd name="connsiteX2" fmla="*/ 5727576 w 5727576"/>
              <a:gd name="connsiteY2" fmla="*/ 5157788 h 5157788"/>
              <a:gd name="connsiteX3" fmla="*/ 3568576 w 5727576"/>
              <a:gd name="connsiteY3" fmla="*/ 5157788 h 5157788"/>
              <a:gd name="connsiteX4" fmla="*/ 3568576 w 5727576"/>
              <a:gd name="connsiteY4" fmla="*/ 0 h 5157788"/>
              <a:gd name="connsiteX0" fmla="*/ 3306355 w 5465355"/>
              <a:gd name="connsiteY0" fmla="*/ 0 h 5157788"/>
              <a:gd name="connsiteX1" fmla="*/ 5465355 w 5465355"/>
              <a:gd name="connsiteY1" fmla="*/ 0 h 5157788"/>
              <a:gd name="connsiteX2" fmla="*/ 5465355 w 5465355"/>
              <a:gd name="connsiteY2" fmla="*/ 5157788 h 5157788"/>
              <a:gd name="connsiteX3" fmla="*/ 3306355 w 5465355"/>
              <a:gd name="connsiteY3" fmla="*/ 5157788 h 5157788"/>
              <a:gd name="connsiteX4" fmla="*/ 3306355 w 5465355"/>
              <a:gd name="connsiteY4" fmla="*/ 0 h 5157788"/>
              <a:gd name="connsiteX0" fmla="*/ 1416957 w 3575957"/>
              <a:gd name="connsiteY0" fmla="*/ 0 h 5157788"/>
              <a:gd name="connsiteX1" fmla="*/ 3575957 w 3575957"/>
              <a:gd name="connsiteY1" fmla="*/ 0 h 5157788"/>
              <a:gd name="connsiteX2" fmla="*/ 3575957 w 3575957"/>
              <a:gd name="connsiteY2" fmla="*/ 5157788 h 5157788"/>
              <a:gd name="connsiteX3" fmla="*/ 1416957 w 3575957"/>
              <a:gd name="connsiteY3" fmla="*/ 5157788 h 5157788"/>
              <a:gd name="connsiteX4" fmla="*/ 0 w 3575957"/>
              <a:gd name="connsiteY4" fmla="*/ 3339193 h 5157788"/>
              <a:gd name="connsiteX5" fmla="*/ 1416957 w 3575957"/>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6017419"/>
              <a:gd name="connsiteX1" fmla="*/ 3851275 w 3851275"/>
              <a:gd name="connsiteY1" fmla="*/ 0 h 6017419"/>
              <a:gd name="connsiteX2" fmla="*/ 3851275 w 3851275"/>
              <a:gd name="connsiteY2" fmla="*/ 5157788 h 6017419"/>
              <a:gd name="connsiteX3" fmla="*/ 1692275 w 3851275"/>
              <a:gd name="connsiteY3" fmla="*/ 5157788 h 6017419"/>
              <a:gd name="connsiteX4" fmla="*/ 0 w 3851275"/>
              <a:gd name="connsiteY4" fmla="*/ 3284984 h 6017419"/>
              <a:gd name="connsiteX5" fmla="*/ 1692275 w 3851275"/>
              <a:gd name="connsiteY5" fmla="*/ 0 h 6017419"/>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429000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429000 h 5157788"/>
              <a:gd name="connsiteX5" fmla="*/ 1710871 w 3869871"/>
              <a:gd name="connsiteY5" fmla="*/ 0 h 5157788"/>
              <a:gd name="connsiteX0" fmla="*/ 1704975 w 3863975"/>
              <a:gd name="connsiteY0" fmla="*/ 0 h 5157788"/>
              <a:gd name="connsiteX1" fmla="*/ 3863975 w 3863975"/>
              <a:gd name="connsiteY1" fmla="*/ 0 h 5157788"/>
              <a:gd name="connsiteX2" fmla="*/ 3863975 w 3863975"/>
              <a:gd name="connsiteY2" fmla="*/ 5157788 h 5157788"/>
              <a:gd name="connsiteX3" fmla="*/ 1704975 w 3863975"/>
              <a:gd name="connsiteY3" fmla="*/ 5157788 h 5157788"/>
              <a:gd name="connsiteX4" fmla="*/ 12700 w 3863975"/>
              <a:gd name="connsiteY4" fmla="*/ 3429000 h 5157788"/>
              <a:gd name="connsiteX5" fmla="*/ 1704975 w 3863975"/>
              <a:gd name="connsiteY5" fmla="*/ 0 h 5157788"/>
              <a:gd name="connsiteX0" fmla="*/ 1707243 w 3866243"/>
              <a:gd name="connsiteY0" fmla="*/ 0 h 5157788"/>
              <a:gd name="connsiteX1" fmla="*/ 3866243 w 3866243"/>
              <a:gd name="connsiteY1" fmla="*/ 0 h 5157788"/>
              <a:gd name="connsiteX2" fmla="*/ 3866243 w 3866243"/>
              <a:gd name="connsiteY2" fmla="*/ 5157788 h 5157788"/>
              <a:gd name="connsiteX3" fmla="*/ 1707243 w 3866243"/>
              <a:gd name="connsiteY3" fmla="*/ 5157788 h 5157788"/>
              <a:gd name="connsiteX4" fmla="*/ 14968 w 3866243"/>
              <a:gd name="connsiteY4" fmla="*/ 3429000 h 5157788"/>
              <a:gd name="connsiteX5" fmla="*/ 1707243 w 3866243"/>
              <a:gd name="connsiteY5" fmla="*/ 0 h 5157788"/>
              <a:gd name="connsiteX0" fmla="*/ 1130447 w 3866243"/>
              <a:gd name="connsiteY0" fmla="*/ 0 h 5157788"/>
              <a:gd name="connsiteX1" fmla="*/ 3866243 w 3866243"/>
              <a:gd name="connsiteY1" fmla="*/ 0 h 5157788"/>
              <a:gd name="connsiteX2" fmla="*/ 3866243 w 3866243"/>
              <a:gd name="connsiteY2" fmla="*/ 5157788 h 5157788"/>
              <a:gd name="connsiteX3" fmla="*/ 1707243 w 3866243"/>
              <a:gd name="connsiteY3" fmla="*/ 5157788 h 5157788"/>
              <a:gd name="connsiteX4" fmla="*/ 14968 w 3866243"/>
              <a:gd name="connsiteY4" fmla="*/ 3429000 h 5157788"/>
              <a:gd name="connsiteX5" fmla="*/ 1130447 w 3866243"/>
              <a:gd name="connsiteY5" fmla="*/ 0 h 5157788"/>
              <a:gd name="connsiteX0" fmla="*/ 2746143 w 5481939"/>
              <a:gd name="connsiteY0" fmla="*/ 0 h 5157788"/>
              <a:gd name="connsiteX1" fmla="*/ 5481939 w 5481939"/>
              <a:gd name="connsiteY1" fmla="*/ 0 h 5157788"/>
              <a:gd name="connsiteX2" fmla="*/ 5481939 w 5481939"/>
              <a:gd name="connsiteY2" fmla="*/ 5157788 h 5157788"/>
              <a:gd name="connsiteX3" fmla="*/ 585903 w 5481939"/>
              <a:gd name="connsiteY3" fmla="*/ 5153180 h 5157788"/>
              <a:gd name="connsiteX4" fmla="*/ 1630664 w 5481939"/>
              <a:gd name="connsiteY4" fmla="*/ 3429000 h 5157788"/>
              <a:gd name="connsiteX5" fmla="*/ 2746143 w 5481939"/>
              <a:gd name="connsiteY5" fmla="*/ 0 h 5157788"/>
              <a:gd name="connsiteX0" fmla="*/ 2746143 w 5481939"/>
              <a:gd name="connsiteY0" fmla="*/ 0 h 5157788"/>
              <a:gd name="connsiteX1" fmla="*/ 5481939 w 5481939"/>
              <a:gd name="connsiteY1" fmla="*/ 0 h 5157788"/>
              <a:gd name="connsiteX2" fmla="*/ 5481939 w 5481939"/>
              <a:gd name="connsiteY2" fmla="*/ 5157788 h 5157788"/>
              <a:gd name="connsiteX3" fmla="*/ 585903 w 5481939"/>
              <a:gd name="connsiteY3" fmla="*/ 5153180 h 5157788"/>
              <a:gd name="connsiteX4" fmla="*/ 1630664 w 5481939"/>
              <a:gd name="connsiteY4" fmla="*/ 3429000 h 5157788"/>
              <a:gd name="connsiteX5" fmla="*/ 2746143 w 548193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3574235 w 6310031"/>
              <a:gd name="connsiteY0" fmla="*/ 0 h 5157788"/>
              <a:gd name="connsiteX1" fmla="*/ 6310031 w 6310031"/>
              <a:gd name="connsiteY1" fmla="*/ 0 h 5157788"/>
              <a:gd name="connsiteX2" fmla="*/ 6310031 w 6310031"/>
              <a:gd name="connsiteY2" fmla="*/ 5157788 h 5157788"/>
              <a:gd name="connsiteX3" fmla="*/ 585903 w 6310031"/>
              <a:gd name="connsiteY3" fmla="*/ 5153180 h 5157788"/>
              <a:gd name="connsiteX4" fmla="*/ 1738031 w 6310031"/>
              <a:gd name="connsiteY4" fmla="*/ 3389965 h 5157788"/>
              <a:gd name="connsiteX5" fmla="*/ 3574235 w 6310031"/>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296143 w 5724128"/>
              <a:gd name="connsiteY4" fmla="*/ 3461908 h 5157788"/>
              <a:gd name="connsiteX5" fmla="*/ 2988332 w 5724128"/>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1188132 w 5760132"/>
              <a:gd name="connsiteY4" fmla="*/ 3425937 h 5157788"/>
              <a:gd name="connsiteX5" fmla="*/ 3024336 w 5760132"/>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2736304 w 5760132"/>
              <a:gd name="connsiteY4" fmla="*/ 3461908 h 5157788"/>
              <a:gd name="connsiteX5" fmla="*/ 3024336 w 5760132"/>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2736304 w 5760132"/>
              <a:gd name="connsiteY4" fmla="*/ 3461908 h 5157788"/>
              <a:gd name="connsiteX5" fmla="*/ 3024336 w 5760132"/>
              <a:gd name="connsiteY5" fmla="*/ 0 h 5157788"/>
              <a:gd name="connsiteX0" fmla="*/ 2160240 w 4896036"/>
              <a:gd name="connsiteY0" fmla="*/ 0 h 5157788"/>
              <a:gd name="connsiteX1" fmla="*/ 4896036 w 4896036"/>
              <a:gd name="connsiteY1" fmla="*/ 0 h 5157788"/>
              <a:gd name="connsiteX2" fmla="*/ 4896036 w 4896036"/>
              <a:gd name="connsiteY2" fmla="*/ 5157788 h 5157788"/>
              <a:gd name="connsiteX3" fmla="*/ 0 w 4896036"/>
              <a:gd name="connsiteY3" fmla="*/ 5153180 h 5157788"/>
              <a:gd name="connsiteX4" fmla="*/ 1872208 w 4896036"/>
              <a:gd name="connsiteY4" fmla="*/ 3461908 h 5157788"/>
              <a:gd name="connsiteX5" fmla="*/ 2160240 w 4896036"/>
              <a:gd name="connsiteY5" fmla="*/ 0 h 5157788"/>
              <a:gd name="connsiteX0" fmla="*/ 2232248 w 4968044"/>
              <a:gd name="connsiteY0" fmla="*/ 0 h 5157788"/>
              <a:gd name="connsiteX1" fmla="*/ 4968044 w 4968044"/>
              <a:gd name="connsiteY1" fmla="*/ 0 h 5157788"/>
              <a:gd name="connsiteX2" fmla="*/ 4968044 w 4968044"/>
              <a:gd name="connsiteY2" fmla="*/ 5157788 h 5157788"/>
              <a:gd name="connsiteX3" fmla="*/ 0 w 4968044"/>
              <a:gd name="connsiteY3" fmla="*/ 5153180 h 5157788"/>
              <a:gd name="connsiteX4" fmla="*/ 1944216 w 4968044"/>
              <a:gd name="connsiteY4" fmla="*/ 3461908 h 5157788"/>
              <a:gd name="connsiteX5" fmla="*/ 2232248 w 4968044"/>
              <a:gd name="connsiteY5" fmla="*/ 0 h 5157788"/>
              <a:gd name="connsiteX0" fmla="*/ 2207679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207679 w 4943475"/>
              <a:gd name="connsiteY5" fmla="*/ 0 h 5157788"/>
              <a:gd name="connsiteX0" fmla="*/ 2963763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963763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092200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71575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343583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675731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675731 w 4943475"/>
              <a:gd name="connsiteY5" fmla="*/ 0 h 5157788"/>
              <a:gd name="connsiteX0" fmla="*/ 2675731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675731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9672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19672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1668519 w 3913244"/>
              <a:gd name="connsiteY0" fmla="*/ 0 h 5183692"/>
              <a:gd name="connsiteX1" fmla="*/ 3913244 w 3913244"/>
              <a:gd name="connsiteY1" fmla="*/ 0 h 5183692"/>
              <a:gd name="connsiteX2" fmla="*/ 3913244 w 3913244"/>
              <a:gd name="connsiteY2" fmla="*/ 5157788 h 5183692"/>
              <a:gd name="connsiteX3" fmla="*/ 2456872 w 3913244"/>
              <a:gd name="connsiteY3" fmla="*/ 5183633 h 5183692"/>
              <a:gd name="connsiteX4" fmla="*/ 205340 w 3913244"/>
              <a:gd name="connsiteY4" fmla="*/ 2562613 h 5183692"/>
              <a:gd name="connsiteX5" fmla="*/ 1668519 w 3913244"/>
              <a:gd name="connsiteY5" fmla="*/ 0 h 5183692"/>
              <a:gd name="connsiteX0" fmla="*/ 1668519 w 3923404"/>
              <a:gd name="connsiteY0" fmla="*/ 0 h 5939409"/>
              <a:gd name="connsiteX1" fmla="*/ 3913244 w 3923404"/>
              <a:gd name="connsiteY1" fmla="*/ 0 h 5939409"/>
              <a:gd name="connsiteX2" fmla="*/ 3923404 w 3923404"/>
              <a:gd name="connsiteY2" fmla="*/ 5939409 h 5939409"/>
              <a:gd name="connsiteX3" fmla="*/ 2456872 w 3923404"/>
              <a:gd name="connsiteY3" fmla="*/ 5183633 h 5939409"/>
              <a:gd name="connsiteX4" fmla="*/ 205340 w 3923404"/>
              <a:gd name="connsiteY4" fmla="*/ 2562613 h 5939409"/>
              <a:gd name="connsiteX5" fmla="*/ 1668519 w 3923404"/>
              <a:gd name="connsiteY5" fmla="*/ 0 h 5939409"/>
              <a:gd name="connsiteX0" fmla="*/ 1668519 w 3923404"/>
              <a:gd name="connsiteY0" fmla="*/ 0 h 5939409"/>
              <a:gd name="connsiteX1" fmla="*/ 3913244 w 3923404"/>
              <a:gd name="connsiteY1" fmla="*/ 0 h 5939409"/>
              <a:gd name="connsiteX2" fmla="*/ 3923404 w 3923404"/>
              <a:gd name="connsiteY2" fmla="*/ 5939409 h 5939409"/>
              <a:gd name="connsiteX3" fmla="*/ 2456872 w 3923404"/>
              <a:gd name="connsiteY3" fmla="*/ 5183633 h 5939409"/>
              <a:gd name="connsiteX4" fmla="*/ 205340 w 3923404"/>
              <a:gd name="connsiteY4" fmla="*/ 2562613 h 5939409"/>
              <a:gd name="connsiteX5" fmla="*/ 1668519 w 3923404"/>
              <a:gd name="connsiteY5" fmla="*/ 0 h 5939409"/>
              <a:gd name="connsiteX0" fmla="*/ 1696047 w 3950932"/>
              <a:gd name="connsiteY0" fmla="*/ 0 h 5939409"/>
              <a:gd name="connsiteX1" fmla="*/ 3940772 w 3950932"/>
              <a:gd name="connsiteY1" fmla="*/ 0 h 5939409"/>
              <a:gd name="connsiteX2" fmla="*/ 3950932 w 3950932"/>
              <a:gd name="connsiteY2" fmla="*/ 5939409 h 5939409"/>
              <a:gd name="connsiteX3" fmla="*/ 2484400 w 3950932"/>
              <a:gd name="connsiteY3" fmla="*/ 5183633 h 5939409"/>
              <a:gd name="connsiteX4" fmla="*/ 232868 w 3950932"/>
              <a:gd name="connsiteY4" fmla="*/ 2562613 h 5939409"/>
              <a:gd name="connsiteX5" fmla="*/ 1696047 w 3950932"/>
              <a:gd name="connsiteY5" fmla="*/ 0 h 5939409"/>
              <a:gd name="connsiteX0" fmla="*/ 1463179 w 3718064"/>
              <a:gd name="connsiteY0" fmla="*/ 0 h 5983194"/>
              <a:gd name="connsiteX1" fmla="*/ 3707904 w 3718064"/>
              <a:gd name="connsiteY1" fmla="*/ 0 h 5983194"/>
              <a:gd name="connsiteX2" fmla="*/ 3718064 w 3718064"/>
              <a:gd name="connsiteY2" fmla="*/ 5939409 h 5983194"/>
              <a:gd name="connsiteX3" fmla="*/ 0 w 3718064"/>
              <a:gd name="connsiteY3" fmla="*/ 2562613 h 5983194"/>
              <a:gd name="connsiteX4" fmla="*/ 1463179 w 3718064"/>
              <a:gd name="connsiteY4" fmla="*/ 0 h 5983194"/>
              <a:gd name="connsiteX0" fmla="*/ 1464005 w 3718890"/>
              <a:gd name="connsiteY0" fmla="*/ 0 h 5987401"/>
              <a:gd name="connsiteX1" fmla="*/ 3708730 w 3718890"/>
              <a:gd name="connsiteY1" fmla="*/ 0 h 5987401"/>
              <a:gd name="connsiteX2" fmla="*/ 3718890 w 3718890"/>
              <a:gd name="connsiteY2" fmla="*/ 5939409 h 5987401"/>
              <a:gd name="connsiteX3" fmla="*/ 826 w 3718890"/>
              <a:gd name="connsiteY3" fmla="*/ 2562613 h 5987401"/>
              <a:gd name="connsiteX4" fmla="*/ 1464005 w 3718890"/>
              <a:gd name="connsiteY4" fmla="*/ 0 h 5987401"/>
              <a:gd name="connsiteX0" fmla="*/ 1267 w 2256152"/>
              <a:gd name="connsiteY0" fmla="*/ 0 h 6002954"/>
              <a:gd name="connsiteX1" fmla="*/ 2245992 w 2256152"/>
              <a:gd name="connsiteY1" fmla="*/ 0 h 6002954"/>
              <a:gd name="connsiteX2" fmla="*/ 2256152 w 2256152"/>
              <a:gd name="connsiteY2" fmla="*/ 5939409 h 6002954"/>
              <a:gd name="connsiteX3" fmla="*/ 956168 w 2256152"/>
              <a:gd name="connsiteY3" fmla="*/ 3273178 h 6002954"/>
              <a:gd name="connsiteX4" fmla="*/ 1267 w 2256152"/>
              <a:gd name="connsiteY4" fmla="*/ 0 h 6002954"/>
              <a:gd name="connsiteX0" fmla="*/ 2 w 1299986"/>
              <a:gd name="connsiteY0" fmla="*/ 3321709 h 6044422"/>
              <a:gd name="connsiteX1" fmla="*/ 1289826 w 1299986"/>
              <a:gd name="connsiteY1" fmla="*/ 48531 h 6044422"/>
              <a:gd name="connsiteX2" fmla="*/ 1299986 w 1299986"/>
              <a:gd name="connsiteY2" fmla="*/ 5987940 h 6044422"/>
              <a:gd name="connsiteX3" fmla="*/ 2 w 1299986"/>
              <a:gd name="connsiteY3" fmla="*/ 3321709 h 6044422"/>
              <a:gd name="connsiteX0" fmla="*/ 2 w 1299986"/>
              <a:gd name="connsiteY0" fmla="*/ 3273178 h 5995891"/>
              <a:gd name="connsiteX1" fmla="*/ 1289826 w 1299986"/>
              <a:gd name="connsiteY1" fmla="*/ 0 h 5995891"/>
              <a:gd name="connsiteX2" fmla="*/ 1299986 w 1299986"/>
              <a:gd name="connsiteY2" fmla="*/ 5939409 h 5995891"/>
              <a:gd name="connsiteX3" fmla="*/ 2 w 1299986"/>
              <a:gd name="connsiteY3" fmla="*/ 3273178 h 5995891"/>
              <a:gd name="connsiteX0" fmla="*/ 2 w 1299986"/>
              <a:gd name="connsiteY0" fmla="*/ 3273178 h 5995891"/>
              <a:gd name="connsiteX1" fmla="*/ 1289826 w 1299986"/>
              <a:gd name="connsiteY1" fmla="*/ 0 h 5995891"/>
              <a:gd name="connsiteX2" fmla="*/ 1299986 w 1299986"/>
              <a:gd name="connsiteY2" fmla="*/ 5939409 h 5995891"/>
              <a:gd name="connsiteX3" fmla="*/ 2 w 1299986"/>
              <a:gd name="connsiteY3" fmla="*/ 3273178 h 5995891"/>
              <a:gd name="connsiteX0" fmla="*/ 2 w 1299986"/>
              <a:gd name="connsiteY0" fmla="*/ 3273178 h 5995891"/>
              <a:gd name="connsiteX1" fmla="*/ 1289826 w 1299986"/>
              <a:gd name="connsiteY1" fmla="*/ 0 h 5995891"/>
              <a:gd name="connsiteX2" fmla="*/ 1299986 w 1299986"/>
              <a:gd name="connsiteY2" fmla="*/ 5939409 h 5995891"/>
              <a:gd name="connsiteX3" fmla="*/ 2 w 1299986"/>
              <a:gd name="connsiteY3" fmla="*/ 3273178 h 5995891"/>
              <a:gd name="connsiteX0" fmla="*/ 2 w 1299986"/>
              <a:gd name="connsiteY0" fmla="*/ 2725028 h 5445777"/>
              <a:gd name="connsiteX1" fmla="*/ 1289826 w 1299986"/>
              <a:gd name="connsiteY1" fmla="*/ 0 h 5445777"/>
              <a:gd name="connsiteX2" fmla="*/ 1299986 w 1299986"/>
              <a:gd name="connsiteY2" fmla="*/ 5391259 h 5445777"/>
              <a:gd name="connsiteX3" fmla="*/ 2 w 1299986"/>
              <a:gd name="connsiteY3" fmla="*/ 2725028 h 5445777"/>
              <a:gd name="connsiteX0" fmla="*/ 2 w 1299986"/>
              <a:gd name="connsiteY0" fmla="*/ 3141216 h 5863443"/>
              <a:gd name="connsiteX1" fmla="*/ 1289826 w 1299986"/>
              <a:gd name="connsiteY1" fmla="*/ 0 h 5863443"/>
              <a:gd name="connsiteX2" fmla="*/ 1299986 w 1299986"/>
              <a:gd name="connsiteY2" fmla="*/ 5807447 h 5863443"/>
              <a:gd name="connsiteX3" fmla="*/ 2 w 1299986"/>
              <a:gd name="connsiteY3" fmla="*/ 3141216 h 5863443"/>
              <a:gd name="connsiteX0" fmla="*/ 2 w 1299986"/>
              <a:gd name="connsiteY0" fmla="*/ 3141216 h 5863444"/>
              <a:gd name="connsiteX1" fmla="*/ 1289826 w 1299986"/>
              <a:gd name="connsiteY1" fmla="*/ 0 h 5863444"/>
              <a:gd name="connsiteX2" fmla="*/ 1299986 w 1299986"/>
              <a:gd name="connsiteY2" fmla="*/ 5807447 h 5863444"/>
              <a:gd name="connsiteX3" fmla="*/ 2 w 1299986"/>
              <a:gd name="connsiteY3" fmla="*/ 3141216 h 5863444"/>
              <a:gd name="connsiteX0" fmla="*/ 1 w 1889265"/>
              <a:gd name="connsiteY0" fmla="*/ 3851780 h 5885741"/>
              <a:gd name="connsiteX1" fmla="*/ 1879105 w 1889265"/>
              <a:gd name="connsiteY1" fmla="*/ 0 h 5885741"/>
              <a:gd name="connsiteX2" fmla="*/ 1889265 w 1889265"/>
              <a:gd name="connsiteY2" fmla="*/ 5807447 h 5885741"/>
              <a:gd name="connsiteX3" fmla="*/ 1 w 1889265"/>
              <a:gd name="connsiteY3" fmla="*/ 3851780 h 5885741"/>
              <a:gd name="connsiteX0" fmla="*/ 694 w 1889958"/>
              <a:gd name="connsiteY0" fmla="*/ 3851780 h 5898819"/>
              <a:gd name="connsiteX1" fmla="*/ 1879798 w 1889958"/>
              <a:gd name="connsiteY1" fmla="*/ 0 h 5898819"/>
              <a:gd name="connsiteX2" fmla="*/ 1889958 w 1889958"/>
              <a:gd name="connsiteY2" fmla="*/ 5807447 h 5898819"/>
              <a:gd name="connsiteX3" fmla="*/ 694 w 1889958"/>
              <a:gd name="connsiteY3" fmla="*/ 3851780 h 5898819"/>
              <a:gd name="connsiteX0" fmla="*/ 694 w 1889958"/>
              <a:gd name="connsiteY0" fmla="*/ 3740120 h 5892762"/>
              <a:gd name="connsiteX1" fmla="*/ 1879798 w 1889958"/>
              <a:gd name="connsiteY1" fmla="*/ 0 h 5892762"/>
              <a:gd name="connsiteX2" fmla="*/ 1889958 w 1889958"/>
              <a:gd name="connsiteY2" fmla="*/ 5807447 h 5892762"/>
              <a:gd name="connsiteX3" fmla="*/ 694 w 1889958"/>
              <a:gd name="connsiteY3" fmla="*/ 3740120 h 5892762"/>
              <a:gd name="connsiteX0" fmla="*/ 690 w 1900114"/>
              <a:gd name="connsiteY0" fmla="*/ 3811177 h 5896524"/>
              <a:gd name="connsiteX1" fmla="*/ 1889954 w 1900114"/>
              <a:gd name="connsiteY1" fmla="*/ 0 h 5896524"/>
              <a:gd name="connsiteX2" fmla="*/ 1900114 w 1900114"/>
              <a:gd name="connsiteY2" fmla="*/ 5807447 h 5896524"/>
              <a:gd name="connsiteX3" fmla="*/ 690 w 1900114"/>
              <a:gd name="connsiteY3" fmla="*/ 3811177 h 5896524"/>
              <a:gd name="connsiteX0" fmla="*/ 690 w 1900114"/>
              <a:gd name="connsiteY0" fmla="*/ 3811177 h 5807447"/>
              <a:gd name="connsiteX1" fmla="*/ 1889954 w 1900114"/>
              <a:gd name="connsiteY1" fmla="*/ 0 h 5807447"/>
              <a:gd name="connsiteX2" fmla="*/ 1900114 w 1900114"/>
              <a:gd name="connsiteY2" fmla="*/ 5807447 h 5807447"/>
              <a:gd name="connsiteX3" fmla="*/ 690 w 1900114"/>
              <a:gd name="connsiteY3" fmla="*/ 3811177 h 5807447"/>
              <a:gd name="connsiteX0" fmla="*/ 690 w 1900114"/>
              <a:gd name="connsiteY0" fmla="*/ 3811177 h 5807447"/>
              <a:gd name="connsiteX1" fmla="*/ 1889954 w 1900114"/>
              <a:gd name="connsiteY1" fmla="*/ 0 h 5807447"/>
              <a:gd name="connsiteX2" fmla="*/ 1900114 w 1900114"/>
              <a:gd name="connsiteY2" fmla="*/ 5807447 h 5807447"/>
              <a:gd name="connsiteX3" fmla="*/ 690 w 1900114"/>
              <a:gd name="connsiteY3" fmla="*/ 3811177 h 5807447"/>
              <a:gd name="connsiteX0" fmla="*/ 403 w 1899827"/>
              <a:gd name="connsiteY0" fmla="*/ 3811177 h 5807447"/>
              <a:gd name="connsiteX1" fmla="*/ 1889667 w 1899827"/>
              <a:gd name="connsiteY1" fmla="*/ 0 h 5807447"/>
              <a:gd name="connsiteX2" fmla="*/ 1899827 w 1899827"/>
              <a:gd name="connsiteY2" fmla="*/ 5807447 h 5807447"/>
              <a:gd name="connsiteX3" fmla="*/ 403 w 1899827"/>
              <a:gd name="connsiteY3" fmla="*/ 3811177 h 5807447"/>
            </a:gdLst>
            <a:ahLst/>
            <a:cxnLst>
              <a:cxn ang="0">
                <a:pos x="connsiteX0" y="connsiteY0"/>
              </a:cxn>
              <a:cxn ang="0">
                <a:pos x="connsiteX1" y="connsiteY1"/>
              </a:cxn>
              <a:cxn ang="0">
                <a:pos x="connsiteX2" y="connsiteY2"/>
              </a:cxn>
              <a:cxn ang="0">
                <a:pos x="connsiteX3" y="connsiteY3"/>
              </a:cxn>
            </a:cxnLst>
            <a:rect l="l" t="t" r="r" b="b"/>
            <a:pathLst>
              <a:path w="1899827" h="5807447">
                <a:moveTo>
                  <a:pt x="403" y="3811177"/>
                </a:moveTo>
                <a:cubicBezTo>
                  <a:pt x="-31770" y="2467685"/>
                  <a:pt x="1876203" y="854946"/>
                  <a:pt x="1889667" y="0"/>
                </a:cubicBezTo>
                <a:cubicBezTo>
                  <a:pt x="1893054" y="1979803"/>
                  <a:pt x="1896440" y="3827644"/>
                  <a:pt x="1899827" y="5807447"/>
                </a:cubicBezTo>
                <a:cubicBezTo>
                  <a:pt x="1007523" y="5706703"/>
                  <a:pt x="32576" y="5154669"/>
                  <a:pt x="403" y="3811177"/>
                </a:cubicBezTo>
                <a:close/>
              </a:path>
            </a:pathLst>
          </a:custGeom>
          <a:solidFill>
            <a:schemeClr val="bg2"/>
          </a:solidFill>
          <a:ln w="3175">
            <a:noFill/>
          </a:ln>
        </p:spPr>
        <p:txBody>
          <a:bodyPr tIns="720000" rtlCol="0" anchor="ctr">
            <a:noAutofit/>
          </a:bodyPr>
          <a:lstStyle>
            <a:lvl1pPr algn="ctr">
              <a:defRPr sz="1500">
                <a:solidFill>
                  <a:schemeClr val="bg1"/>
                </a:solidFill>
              </a:defRPr>
            </a:lvl1pPr>
          </a:lstStyle>
          <a:p>
            <a:pPr lvl="0"/>
            <a:r>
              <a:rPr lang="en-US" noProof="0"/>
              <a:t>Click icon to add picture</a:t>
            </a:r>
          </a:p>
        </p:txBody>
      </p:sp>
      <p:sp>
        <p:nvSpPr>
          <p:cNvPr id="8" name="Espace réservé de la date 10"/>
          <p:cNvSpPr>
            <a:spLocks noGrp="1"/>
          </p:cNvSpPr>
          <p:nvPr>
            <p:ph type="dt" sz="half" idx="19"/>
          </p:nvPr>
        </p:nvSpPr>
        <p:spPr/>
        <p:txBody>
          <a:bodyPr/>
          <a:lstStyle>
            <a:lvl1pPr>
              <a:defRPr/>
            </a:lvl1pPr>
          </a:lstStyle>
          <a:p>
            <a:pPr>
              <a:defRPr/>
            </a:pPr>
            <a:r>
              <a:rPr lang="en-US">
                <a:solidFill>
                  <a:prstClr val="white">
                    <a:alpha val="0"/>
                  </a:prstClr>
                </a:solidFill>
              </a:rPr>
              <a:t>Date</a:t>
            </a:r>
          </a:p>
        </p:txBody>
      </p:sp>
      <p:sp>
        <p:nvSpPr>
          <p:cNvPr id="9" name="Espace réservé du numéro de diapositive 11"/>
          <p:cNvSpPr>
            <a:spLocks noGrp="1"/>
          </p:cNvSpPr>
          <p:nvPr>
            <p:ph type="sldNum" sz="quarter" idx="20"/>
          </p:nvPr>
        </p:nvSpPr>
        <p:spPr/>
        <p:txBody>
          <a:bodyPr/>
          <a:lstStyle>
            <a:lvl1pPr>
              <a:defRPr/>
            </a:lvl1pPr>
          </a:lstStyle>
          <a:p>
            <a:pPr>
              <a:defRPr/>
            </a:pPr>
            <a:fld id="{669CD8F2-86ED-43C7-A24E-82A206DEE6AE}" type="slidenum">
              <a:rPr lang="en-US">
                <a:solidFill>
                  <a:srgbClr val="343434"/>
                </a:solidFill>
              </a:rPr>
              <a:pPr>
                <a:defRPr/>
              </a:pPr>
              <a:t>‹#›</a:t>
            </a:fld>
            <a:endParaRPr lang="en-US">
              <a:solidFill>
                <a:srgbClr val="343434"/>
              </a:solidFill>
            </a:endParaRPr>
          </a:p>
        </p:txBody>
      </p:sp>
      <p:sp>
        <p:nvSpPr>
          <p:cNvPr id="11" name="Espace réservé du pied de page 12"/>
          <p:cNvSpPr>
            <a:spLocks noGrp="1"/>
          </p:cNvSpPr>
          <p:nvPr>
            <p:ph type="ftr" sz="quarter" idx="21"/>
          </p:nvPr>
        </p:nvSpPr>
        <p:spPr/>
        <p:txBody>
          <a:bodyPr/>
          <a:lstStyle>
            <a:lvl1pPr>
              <a:defRPr/>
            </a:lvl1pPr>
          </a:lstStyle>
          <a:p>
            <a:pPr>
              <a:defRPr/>
            </a:pPr>
            <a:r>
              <a:rPr lang="en-US">
                <a:solidFill>
                  <a:srgbClr val="005CB9"/>
                </a:solidFill>
              </a:rPr>
              <a:t>#</a:t>
            </a:r>
            <a:r>
              <a:rPr lang="en-US" err="1">
                <a:solidFill>
                  <a:srgbClr val="005CB9"/>
                </a:solidFill>
              </a:rPr>
              <a:t>vaccineswork</a:t>
            </a:r>
            <a:endParaRPr lang="en-US">
              <a:solidFill>
                <a:srgbClr val="005CB9"/>
              </a:solidFill>
            </a:endParaRPr>
          </a:p>
        </p:txBody>
      </p:sp>
    </p:spTree>
    <p:extLst>
      <p:ext uri="{BB962C8B-B14F-4D97-AF65-F5344CB8AC3E}">
        <p14:creationId xmlns:p14="http://schemas.microsoft.com/office/powerpoint/2010/main" val="3179813559"/>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type="obj">
  <p:cSld name="Content_Layout">
    <p:spTree>
      <p:nvGrpSpPr>
        <p:cNvPr id="1" name=""/>
        <p:cNvGrpSpPr/>
        <p:nvPr/>
      </p:nvGrpSpPr>
      <p:grpSpPr>
        <a:xfrm>
          <a:off x="0" y="0"/>
          <a:ext cx="0" cy="0"/>
          <a:chOff x="0" y="0"/>
          <a:chExt cx="0" cy="0"/>
        </a:xfrm>
      </p:grpSpPr>
      <p:sp>
        <p:nvSpPr>
          <p:cNvPr id="2" name="Titre 1"/>
          <p:cNvSpPr>
            <a:spLocks noGrp="1"/>
          </p:cNvSpPr>
          <p:nvPr>
            <p:ph type="title"/>
          </p:nvPr>
        </p:nvSpPr>
        <p:spPr bwMode="gray"/>
        <p:txBody>
          <a:bodyPr/>
          <a:lstStyle/>
          <a:p>
            <a:r>
              <a:rPr lang="en-US" noProof="0"/>
              <a:t>Click to edit Master title style</a:t>
            </a:r>
          </a:p>
        </p:txBody>
      </p:sp>
      <p:sp>
        <p:nvSpPr>
          <p:cNvPr id="3" name="Espace réservé du contenu 2"/>
          <p:cNvSpPr>
            <a:spLocks noGrp="1"/>
          </p:cNvSpPr>
          <p:nvPr>
            <p:ph idx="1"/>
          </p:nvPr>
        </p:nvSpPr>
        <p:spPr bwMode="gray"/>
        <p:txBody>
          <a:bodyPr/>
          <a:lstStyle>
            <a:lvl2pPr>
              <a:defRPr/>
            </a:lvl2pPr>
            <a:lvl3pPr>
              <a:defRPr/>
            </a:lvl3pPr>
            <a:lvl4pPr>
              <a:defRPr baseline="0"/>
            </a:lvl4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Espace réservé de la date 3"/>
          <p:cNvSpPr>
            <a:spLocks noGrp="1"/>
          </p:cNvSpPr>
          <p:nvPr>
            <p:ph type="dt" sz="half" idx="10"/>
          </p:nvPr>
        </p:nvSpPr>
        <p:spPr/>
        <p:txBody>
          <a:bodyPr/>
          <a:lstStyle>
            <a:lvl1pPr>
              <a:defRPr/>
            </a:lvl1pPr>
          </a:lstStyle>
          <a:p>
            <a:pPr>
              <a:defRPr/>
            </a:pPr>
            <a:r>
              <a:rPr lang="en-US">
                <a:solidFill>
                  <a:prstClr val="white">
                    <a:alpha val="0"/>
                  </a:prstClr>
                </a:solidFill>
              </a:rPr>
              <a:t>Date</a:t>
            </a:r>
          </a:p>
        </p:txBody>
      </p:sp>
      <p:sp>
        <p:nvSpPr>
          <p:cNvPr id="5" name="Espace réservé du pied de page 4"/>
          <p:cNvSpPr>
            <a:spLocks noGrp="1"/>
          </p:cNvSpPr>
          <p:nvPr>
            <p:ph type="ftr" sz="quarter" idx="11"/>
          </p:nvPr>
        </p:nvSpPr>
        <p:spPr/>
        <p:txBody>
          <a:bodyPr/>
          <a:lstStyle>
            <a:lvl1pPr>
              <a:defRPr/>
            </a:lvl1pPr>
          </a:lstStyle>
          <a:p>
            <a:pPr>
              <a:defRPr/>
            </a:pPr>
            <a:r>
              <a:rPr lang="en-US">
                <a:solidFill>
                  <a:srgbClr val="005CB9"/>
                </a:solidFill>
              </a:rPr>
              <a:t>#</a:t>
            </a:r>
            <a:r>
              <a:rPr lang="en-US" err="1">
                <a:solidFill>
                  <a:srgbClr val="005CB9"/>
                </a:solidFill>
              </a:rPr>
              <a:t>vaccineswork</a:t>
            </a:r>
            <a:endParaRPr lang="en-US">
              <a:solidFill>
                <a:srgbClr val="005CB9"/>
              </a:solidFill>
            </a:endParaRPr>
          </a:p>
        </p:txBody>
      </p:sp>
      <p:sp>
        <p:nvSpPr>
          <p:cNvPr id="6" name="Espace réservé du numéro de diapositive 5"/>
          <p:cNvSpPr>
            <a:spLocks noGrp="1"/>
          </p:cNvSpPr>
          <p:nvPr>
            <p:ph type="sldNum" sz="quarter" idx="12"/>
          </p:nvPr>
        </p:nvSpPr>
        <p:spPr/>
        <p:txBody>
          <a:bodyPr/>
          <a:lstStyle>
            <a:lvl1pPr>
              <a:defRPr/>
            </a:lvl1pPr>
          </a:lstStyle>
          <a:p>
            <a:pPr>
              <a:defRPr/>
            </a:pPr>
            <a:fld id="{02A591CC-FF3A-423F-AEE4-347403BE7256}" type="slidenum">
              <a:rPr lang="en-US">
                <a:solidFill>
                  <a:srgbClr val="343434"/>
                </a:solidFill>
              </a:rPr>
              <a:pPr>
                <a:defRPr/>
              </a:pPr>
              <a:t>‹#›</a:t>
            </a:fld>
            <a:endParaRPr lang="en-US">
              <a:solidFill>
                <a:srgbClr val="343434"/>
              </a:solidFill>
            </a:endParaRPr>
          </a:p>
        </p:txBody>
      </p:sp>
    </p:spTree>
    <p:extLst>
      <p:ext uri="{BB962C8B-B14F-4D97-AF65-F5344CB8AC3E}">
        <p14:creationId xmlns:p14="http://schemas.microsoft.com/office/powerpoint/2010/main" val="134268387"/>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Picture_Layout">
    <p:spTree>
      <p:nvGrpSpPr>
        <p:cNvPr id="1" name=""/>
        <p:cNvGrpSpPr/>
        <p:nvPr/>
      </p:nvGrpSpPr>
      <p:grpSpPr>
        <a:xfrm>
          <a:off x="0" y="0"/>
          <a:ext cx="0" cy="0"/>
          <a:chOff x="0" y="0"/>
          <a:chExt cx="0" cy="0"/>
        </a:xfrm>
      </p:grpSpPr>
      <p:sp>
        <p:nvSpPr>
          <p:cNvPr id="2" name="Titre 1"/>
          <p:cNvSpPr>
            <a:spLocks noGrp="1"/>
          </p:cNvSpPr>
          <p:nvPr>
            <p:ph type="title"/>
          </p:nvPr>
        </p:nvSpPr>
        <p:spPr bwMode="gray"/>
        <p:txBody>
          <a:bodyPr/>
          <a:lstStyle/>
          <a:p>
            <a:r>
              <a:rPr lang="en-US" noProof="0"/>
              <a:t>Click to edit Master title style</a:t>
            </a:r>
          </a:p>
        </p:txBody>
      </p:sp>
      <p:sp>
        <p:nvSpPr>
          <p:cNvPr id="3" name="Espace réservé du contenu 2"/>
          <p:cNvSpPr>
            <a:spLocks noGrp="1"/>
          </p:cNvSpPr>
          <p:nvPr>
            <p:ph idx="1"/>
          </p:nvPr>
        </p:nvSpPr>
        <p:spPr bwMode="gray">
          <a:xfrm>
            <a:off x="3635896" y="1304925"/>
            <a:ext cx="4644504" cy="4716463"/>
          </a:xfrm>
        </p:spPr>
        <p:txBody>
          <a:bodyPr/>
          <a:lstStyle>
            <a:lvl2pPr>
              <a:defRPr/>
            </a:lvl2pPr>
            <a:lvl3pPr>
              <a:defRPr/>
            </a:lvl3pPr>
            <a:lvl4pPr>
              <a:defRPr baseline="0"/>
            </a:lvl4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Espace réservé pour une image  8"/>
          <p:cNvSpPr>
            <a:spLocks noGrp="1"/>
          </p:cNvSpPr>
          <p:nvPr>
            <p:ph type="pic" sz="quarter" idx="13"/>
          </p:nvPr>
        </p:nvSpPr>
        <p:spPr bwMode="gray">
          <a:xfrm>
            <a:off x="0" y="1341438"/>
            <a:ext cx="3419038" cy="4679950"/>
          </a:xfrm>
        </p:spPr>
        <p:txBody>
          <a:bodyPr tIns="1008000" rtlCol="0" anchor="ctr">
            <a:noAutofit/>
          </a:bodyPr>
          <a:lstStyle>
            <a:lvl1pPr algn="ctr">
              <a:defRPr/>
            </a:lvl1pPr>
          </a:lstStyle>
          <a:p>
            <a:pPr lvl="0"/>
            <a:r>
              <a:rPr lang="en-US" noProof="0"/>
              <a:t>Click icon to add picture</a:t>
            </a:r>
          </a:p>
        </p:txBody>
      </p:sp>
      <p:sp>
        <p:nvSpPr>
          <p:cNvPr id="5" name="Espace réservé de la date 3"/>
          <p:cNvSpPr>
            <a:spLocks noGrp="1"/>
          </p:cNvSpPr>
          <p:nvPr>
            <p:ph type="dt" sz="half" idx="14"/>
          </p:nvPr>
        </p:nvSpPr>
        <p:spPr/>
        <p:txBody>
          <a:bodyPr/>
          <a:lstStyle>
            <a:lvl1pPr>
              <a:defRPr/>
            </a:lvl1pPr>
          </a:lstStyle>
          <a:p>
            <a:pPr>
              <a:defRPr/>
            </a:pPr>
            <a:r>
              <a:rPr lang="en-US">
                <a:solidFill>
                  <a:prstClr val="white">
                    <a:alpha val="0"/>
                  </a:prstClr>
                </a:solidFill>
              </a:rPr>
              <a:t>Date</a:t>
            </a:r>
          </a:p>
        </p:txBody>
      </p:sp>
      <p:sp>
        <p:nvSpPr>
          <p:cNvPr id="6" name="Espace réservé du pied de page 4"/>
          <p:cNvSpPr>
            <a:spLocks noGrp="1"/>
          </p:cNvSpPr>
          <p:nvPr>
            <p:ph type="ftr" sz="quarter" idx="15"/>
          </p:nvPr>
        </p:nvSpPr>
        <p:spPr/>
        <p:txBody>
          <a:bodyPr/>
          <a:lstStyle>
            <a:lvl1pPr>
              <a:defRPr/>
            </a:lvl1pPr>
          </a:lstStyle>
          <a:p>
            <a:pPr>
              <a:defRPr/>
            </a:pPr>
            <a:r>
              <a:rPr lang="en-US">
                <a:solidFill>
                  <a:srgbClr val="005CB9"/>
                </a:solidFill>
              </a:rPr>
              <a:t>#</a:t>
            </a:r>
            <a:r>
              <a:rPr lang="en-US" err="1">
                <a:solidFill>
                  <a:srgbClr val="005CB9"/>
                </a:solidFill>
              </a:rPr>
              <a:t>vaccineswork</a:t>
            </a:r>
            <a:endParaRPr lang="en-US">
              <a:solidFill>
                <a:srgbClr val="005CB9"/>
              </a:solidFill>
            </a:endParaRPr>
          </a:p>
        </p:txBody>
      </p:sp>
      <p:sp>
        <p:nvSpPr>
          <p:cNvPr id="7" name="Espace réservé du numéro de diapositive 5"/>
          <p:cNvSpPr>
            <a:spLocks noGrp="1"/>
          </p:cNvSpPr>
          <p:nvPr>
            <p:ph type="sldNum" sz="quarter" idx="16"/>
          </p:nvPr>
        </p:nvSpPr>
        <p:spPr/>
        <p:txBody>
          <a:bodyPr/>
          <a:lstStyle>
            <a:lvl1pPr>
              <a:defRPr/>
            </a:lvl1pPr>
          </a:lstStyle>
          <a:p>
            <a:pPr>
              <a:defRPr/>
            </a:pPr>
            <a:fld id="{D8886677-8A24-41A7-8E0F-301076E1EA36}" type="slidenum">
              <a:rPr lang="en-US">
                <a:solidFill>
                  <a:srgbClr val="343434"/>
                </a:solidFill>
              </a:rPr>
              <a:pPr>
                <a:defRPr/>
              </a:pPr>
              <a:t>‹#›</a:t>
            </a:fld>
            <a:endParaRPr lang="en-US">
              <a:solidFill>
                <a:srgbClr val="343434"/>
              </a:solidFill>
            </a:endParaRPr>
          </a:p>
        </p:txBody>
      </p:sp>
    </p:spTree>
    <p:extLst>
      <p:ext uri="{BB962C8B-B14F-4D97-AF65-F5344CB8AC3E}">
        <p14:creationId xmlns:p14="http://schemas.microsoft.com/office/powerpoint/2010/main" val="3511182807"/>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Text&amp;Content_Layout">
    <p:spTree>
      <p:nvGrpSpPr>
        <p:cNvPr id="1" name=""/>
        <p:cNvGrpSpPr/>
        <p:nvPr/>
      </p:nvGrpSpPr>
      <p:grpSpPr>
        <a:xfrm>
          <a:off x="0" y="0"/>
          <a:ext cx="0" cy="0"/>
          <a:chOff x="0" y="0"/>
          <a:chExt cx="0" cy="0"/>
        </a:xfrm>
      </p:grpSpPr>
      <p:sp>
        <p:nvSpPr>
          <p:cNvPr id="2" name="Titre 1"/>
          <p:cNvSpPr>
            <a:spLocks noGrp="1"/>
          </p:cNvSpPr>
          <p:nvPr>
            <p:ph type="title"/>
          </p:nvPr>
        </p:nvSpPr>
        <p:spPr bwMode="gray"/>
        <p:txBody>
          <a:bodyPr/>
          <a:lstStyle/>
          <a:p>
            <a:r>
              <a:rPr lang="en-US" noProof="0"/>
              <a:t>Click to edit Master title style</a:t>
            </a:r>
          </a:p>
        </p:txBody>
      </p:sp>
      <p:sp>
        <p:nvSpPr>
          <p:cNvPr id="3" name="Espace réservé du contenu 2"/>
          <p:cNvSpPr>
            <a:spLocks noGrp="1"/>
          </p:cNvSpPr>
          <p:nvPr>
            <p:ph idx="1"/>
          </p:nvPr>
        </p:nvSpPr>
        <p:spPr bwMode="gray">
          <a:xfrm>
            <a:off x="935038" y="2781388"/>
            <a:ext cx="7345362" cy="3240000"/>
          </a:xfrm>
        </p:spPr>
        <p:txBody>
          <a:bodyPr/>
          <a:lstStyle>
            <a:lvl2pPr>
              <a:defRPr/>
            </a:lvl2pPr>
            <a:lvl3pPr>
              <a:defRPr/>
            </a:lvl3pPr>
            <a:lvl4pPr>
              <a:defRPr baseline="0"/>
            </a:lvl4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Espace réservé du texte 9"/>
          <p:cNvSpPr>
            <a:spLocks noGrp="1"/>
          </p:cNvSpPr>
          <p:nvPr>
            <p:ph type="body" sz="quarter" idx="13"/>
          </p:nvPr>
        </p:nvSpPr>
        <p:spPr bwMode="gray">
          <a:xfrm>
            <a:off x="935038" y="1304924"/>
            <a:ext cx="7345362" cy="126000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Espace réservé de la date 3"/>
          <p:cNvSpPr>
            <a:spLocks noGrp="1"/>
          </p:cNvSpPr>
          <p:nvPr>
            <p:ph type="dt" sz="half" idx="14"/>
          </p:nvPr>
        </p:nvSpPr>
        <p:spPr/>
        <p:txBody>
          <a:bodyPr/>
          <a:lstStyle>
            <a:lvl1pPr>
              <a:defRPr/>
            </a:lvl1pPr>
          </a:lstStyle>
          <a:p>
            <a:pPr>
              <a:defRPr/>
            </a:pPr>
            <a:r>
              <a:rPr lang="en-US">
                <a:solidFill>
                  <a:prstClr val="white">
                    <a:alpha val="0"/>
                  </a:prstClr>
                </a:solidFill>
              </a:rPr>
              <a:t>Date</a:t>
            </a:r>
          </a:p>
        </p:txBody>
      </p:sp>
      <p:sp>
        <p:nvSpPr>
          <p:cNvPr id="6" name="Espace réservé du pied de page 4"/>
          <p:cNvSpPr>
            <a:spLocks noGrp="1"/>
          </p:cNvSpPr>
          <p:nvPr>
            <p:ph type="ftr" sz="quarter" idx="15"/>
          </p:nvPr>
        </p:nvSpPr>
        <p:spPr/>
        <p:txBody>
          <a:bodyPr/>
          <a:lstStyle>
            <a:lvl1pPr>
              <a:defRPr/>
            </a:lvl1pPr>
          </a:lstStyle>
          <a:p>
            <a:pPr>
              <a:defRPr/>
            </a:pPr>
            <a:r>
              <a:rPr lang="en-US">
                <a:solidFill>
                  <a:srgbClr val="005CB9"/>
                </a:solidFill>
              </a:rPr>
              <a:t>#</a:t>
            </a:r>
            <a:r>
              <a:rPr lang="en-US" err="1">
                <a:solidFill>
                  <a:srgbClr val="005CB9"/>
                </a:solidFill>
              </a:rPr>
              <a:t>vaccineswork</a:t>
            </a:r>
            <a:endParaRPr lang="en-US">
              <a:solidFill>
                <a:srgbClr val="005CB9"/>
              </a:solidFill>
            </a:endParaRPr>
          </a:p>
        </p:txBody>
      </p:sp>
      <p:sp>
        <p:nvSpPr>
          <p:cNvPr id="7" name="Espace réservé du numéro de diapositive 5"/>
          <p:cNvSpPr>
            <a:spLocks noGrp="1"/>
          </p:cNvSpPr>
          <p:nvPr>
            <p:ph type="sldNum" sz="quarter" idx="16"/>
          </p:nvPr>
        </p:nvSpPr>
        <p:spPr/>
        <p:txBody>
          <a:bodyPr/>
          <a:lstStyle>
            <a:lvl1pPr>
              <a:defRPr/>
            </a:lvl1pPr>
          </a:lstStyle>
          <a:p>
            <a:pPr>
              <a:defRPr/>
            </a:pPr>
            <a:fld id="{8779425B-3CAA-48C9-9B95-57BAD5A3D82E}" type="slidenum">
              <a:rPr lang="en-US">
                <a:solidFill>
                  <a:srgbClr val="343434"/>
                </a:solidFill>
              </a:rPr>
              <a:pPr>
                <a:defRPr/>
              </a:pPr>
              <a:t>‹#›</a:t>
            </a:fld>
            <a:endParaRPr lang="en-US">
              <a:solidFill>
                <a:srgbClr val="343434"/>
              </a:solidFill>
            </a:endParaRPr>
          </a:p>
        </p:txBody>
      </p:sp>
    </p:spTree>
    <p:extLst>
      <p:ext uri="{BB962C8B-B14F-4D97-AF65-F5344CB8AC3E}">
        <p14:creationId xmlns:p14="http://schemas.microsoft.com/office/powerpoint/2010/main" val="3148723982"/>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Thank_you_1">
    <p:spTree>
      <p:nvGrpSpPr>
        <p:cNvPr id="1" name=""/>
        <p:cNvGrpSpPr/>
        <p:nvPr/>
      </p:nvGrpSpPr>
      <p:grpSpPr>
        <a:xfrm>
          <a:off x="0" y="0"/>
          <a:ext cx="0" cy="0"/>
          <a:chOff x="0" y="0"/>
          <a:chExt cx="0" cy="0"/>
        </a:xfrm>
      </p:grpSpPr>
      <p:pic>
        <p:nvPicPr>
          <p:cNvPr id="5" name="Image 18" descr="FD_1_L254.png"/>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gray">
          <a:xfrm>
            <a:off x="0" y="0"/>
            <a:ext cx="9144000" cy="51577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6" name="Rectangle 5"/>
          <p:cNvSpPr/>
          <p:nvPr userDrawn="1"/>
        </p:nvSpPr>
        <p:spPr bwMode="gray">
          <a:xfrm>
            <a:off x="3635375" y="5265738"/>
            <a:ext cx="5508625" cy="15922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prstClr val="white"/>
              </a:solidFill>
            </a:endParaRPr>
          </a:p>
        </p:txBody>
      </p:sp>
      <p:pic>
        <p:nvPicPr>
          <p:cNvPr id="7" name="Image 19" descr="Bas_couv.png"/>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gray">
          <a:xfrm>
            <a:off x="0" y="5172075"/>
            <a:ext cx="3635375" cy="16859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8" name="Rectangle 7"/>
          <p:cNvSpPr/>
          <p:nvPr userDrawn="1"/>
        </p:nvSpPr>
        <p:spPr bwMode="gray">
          <a:xfrm>
            <a:off x="3635375" y="6354763"/>
            <a:ext cx="5113338" cy="2873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p>
            <a:pPr algn="r">
              <a:defRPr/>
            </a:pPr>
            <a:r>
              <a:rPr lang="en-US" sz="1000" err="1">
                <a:solidFill>
                  <a:srgbClr val="95D600"/>
                </a:solidFill>
              </a:rPr>
              <a:t>www.gavi.org</a:t>
            </a:r>
            <a:endParaRPr lang="en-US" sz="1000">
              <a:solidFill>
                <a:srgbClr val="95D600"/>
              </a:solidFill>
            </a:endParaRPr>
          </a:p>
        </p:txBody>
      </p:sp>
      <p:cxnSp>
        <p:nvCxnSpPr>
          <p:cNvPr id="10" name="Connecteur droit 13"/>
          <p:cNvCxnSpPr/>
          <p:nvPr userDrawn="1"/>
        </p:nvCxnSpPr>
        <p:spPr bwMode="gray">
          <a:xfrm flipH="1">
            <a:off x="468313" y="3400425"/>
            <a:ext cx="2447925" cy="0"/>
          </a:xfrm>
          <a:prstGeom prst="line">
            <a:avLst/>
          </a:prstGeom>
          <a:ln w="24130">
            <a:solidFill>
              <a:schemeClr val="accent1"/>
            </a:solidFill>
          </a:ln>
        </p:spPr>
        <p:style>
          <a:lnRef idx="1">
            <a:schemeClr val="accent1"/>
          </a:lnRef>
          <a:fillRef idx="0">
            <a:schemeClr val="accent1"/>
          </a:fillRef>
          <a:effectRef idx="0">
            <a:schemeClr val="accent1"/>
          </a:effectRef>
          <a:fontRef idx="minor">
            <a:schemeClr val="tx1"/>
          </a:fontRef>
        </p:style>
      </p:cxnSp>
      <p:sp>
        <p:nvSpPr>
          <p:cNvPr id="9" name="Espace réservé du texte 8"/>
          <p:cNvSpPr>
            <a:spLocks noGrp="1"/>
          </p:cNvSpPr>
          <p:nvPr>
            <p:ph type="body" sz="quarter" idx="13"/>
          </p:nvPr>
        </p:nvSpPr>
        <p:spPr bwMode="gray">
          <a:xfrm>
            <a:off x="468314" y="1036638"/>
            <a:ext cx="4824412" cy="2242966"/>
          </a:xfrm>
        </p:spPr>
        <p:txBody>
          <a:bodyPr anchor="b"/>
          <a:lstStyle>
            <a:lvl1pPr marL="0" indent="0" algn="l">
              <a:lnSpc>
                <a:spcPct val="90000"/>
              </a:lnSpc>
              <a:buNone/>
              <a:defRPr sz="2800" b="1" cap="none" baseline="0">
                <a:solidFill>
                  <a:schemeClr val="bg1"/>
                </a:solidFill>
              </a:defRPr>
            </a:lvl1pPr>
            <a:lvl2pPr marL="0" algn="ctr">
              <a:lnSpc>
                <a:spcPct val="100000"/>
              </a:lnSpc>
              <a:spcBef>
                <a:spcPts val="6900"/>
              </a:spcBef>
              <a:defRPr sz="2000" b="1">
                <a:solidFill>
                  <a:schemeClr val="bg1"/>
                </a:solidFill>
              </a:defRPr>
            </a:lvl2pPr>
          </a:lstStyle>
          <a:p>
            <a:pPr lvl="0"/>
            <a:r>
              <a:rPr lang="en-US" noProof="0"/>
              <a:t>Click to edit Master text styles</a:t>
            </a:r>
          </a:p>
        </p:txBody>
      </p:sp>
      <p:sp>
        <p:nvSpPr>
          <p:cNvPr id="15" name="Espace réservé du texte 14"/>
          <p:cNvSpPr>
            <a:spLocks noGrp="1"/>
          </p:cNvSpPr>
          <p:nvPr>
            <p:ph type="body" sz="quarter" idx="19"/>
          </p:nvPr>
        </p:nvSpPr>
        <p:spPr bwMode="gray">
          <a:xfrm>
            <a:off x="3635376" y="6021388"/>
            <a:ext cx="5113338" cy="324000"/>
          </a:xfrm>
        </p:spPr>
        <p:txBody>
          <a:bodyPr anchor="b"/>
          <a:lstStyle>
            <a:lvl1pPr algn="r">
              <a:lnSpc>
                <a:spcPct val="100000"/>
              </a:lnSpc>
              <a:defRPr sz="1000" b="1">
                <a:solidFill>
                  <a:schemeClr val="accent3"/>
                </a:solidFill>
              </a:defRPr>
            </a:lvl1pPr>
          </a:lstStyle>
          <a:p>
            <a:pPr lvl="0"/>
            <a:r>
              <a:rPr lang="en-US" noProof="0"/>
              <a:t>Click to edit Master text styles</a:t>
            </a:r>
          </a:p>
        </p:txBody>
      </p:sp>
      <p:sp>
        <p:nvSpPr>
          <p:cNvPr id="13" name="Espace réservé pour une image  17"/>
          <p:cNvSpPr>
            <a:spLocks noGrp="1"/>
          </p:cNvSpPr>
          <p:nvPr>
            <p:ph type="pic" sz="quarter" idx="18"/>
          </p:nvPr>
        </p:nvSpPr>
        <p:spPr bwMode="gray">
          <a:xfrm>
            <a:off x="4192588" y="0"/>
            <a:ext cx="4951412" cy="5162400"/>
          </a:xfrm>
          <a:custGeom>
            <a:avLst/>
            <a:gdLst>
              <a:gd name="connsiteX0" fmla="*/ 0 w 3851275"/>
              <a:gd name="connsiteY0" fmla="*/ 0 h 5157788"/>
              <a:gd name="connsiteX1" fmla="*/ 3851275 w 3851275"/>
              <a:gd name="connsiteY1" fmla="*/ 0 h 5157788"/>
              <a:gd name="connsiteX2" fmla="*/ 3851275 w 3851275"/>
              <a:gd name="connsiteY2" fmla="*/ 5157788 h 5157788"/>
              <a:gd name="connsiteX3" fmla="*/ 0 w 3851275"/>
              <a:gd name="connsiteY3" fmla="*/ 5157788 h 5157788"/>
              <a:gd name="connsiteX4" fmla="*/ 0 w 3851275"/>
              <a:gd name="connsiteY4"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0 w 3851275"/>
              <a:gd name="connsiteY3" fmla="*/ 5157788 h 5157788"/>
              <a:gd name="connsiteX4" fmla="*/ 1692275 w 3851275"/>
              <a:gd name="connsiteY4" fmla="*/ 0 h 5157788"/>
              <a:gd name="connsiteX0" fmla="*/ 0 w 2159000"/>
              <a:gd name="connsiteY0" fmla="*/ 0 h 5157788"/>
              <a:gd name="connsiteX1" fmla="*/ 2159000 w 2159000"/>
              <a:gd name="connsiteY1" fmla="*/ 0 h 5157788"/>
              <a:gd name="connsiteX2" fmla="*/ 2159000 w 2159000"/>
              <a:gd name="connsiteY2" fmla="*/ 5157788 h 5157788"/>
              <a:gd name="connsiteX3" fmla="*/ 0 w 2159000"/>
              <a:gd name="connsiteY3" fmla="*/ 5157788 h 5157788"/>
              <a:gd name="connsiteX4" fmla="*/ 0 w 2159000"/>
              <a:gd name="connsiteY4" fmla="*/ 0 h 5157788"/>
              <a:gd name="connsiteX0" fmla="*/ 2625271 w 4784271"/>
              <a:gd name="connsiteY0" fmla="*/ 0 h 5157788"/>
              <a:gd name="connsiteX1" fmla="*/ 4784271 w 4784271"/>
              <a:gd name="connsiteY1" fmla="*/ 0 h 5157788"/>
              <a:gd name="connsiteX2" fmla="*/ 4784271 w 4784271"/>
              <a:gd name="connsiteY2" fmla="*/ 5157788 h 5157788"/>
              <a:gd name="connsiteX3" fmla="*/ 2625271 w 4784271"/>
              <a:gd name="connsiteY3" fmla="*/ 5157788 h 5157788"/>
              <a:gd name="connsiteX4" fmla="*/ 2625271 w 4784271"/>
              <a:gd name="connsiteY4" fmla="*/ 0 h 5157788"/>
              <a:gd name="connsiteX0" fmla="*/ 2625271 w 4784271"/>
              <a:gd name="connsiteY0" fmla="*/ 0 h 5157788"/>
              <a:gd name="connsiteX1" fmla="*/ 4784271 w 4784271"/>
              <a:gd name="connsiteY1" fmla="*/ 0 h 5157788"/>
              <a:gd name="connsiteX2" fmla="*/ 4784271 w 4784271"/>
              <a:gd name="connsiteY2" fmla="*/ 5157788 h 5157788"/>
              <a:gd name="connsiteX3" fmla="*/ 2625271 w 4784271"/>
              <a:gd name="connsiteY3" fmla="*/ 5157788 h 5157788"/>
              <a:gd name="connsiteX4" fmla="*/ 2625271 w 4784271"/>
              <a:gd name="connsiteY4" fmla="*/ 0 h 5157788"/>
              <a:gd name="connsiteX0" fmla="*/ 3568576 w 5727576"/>
              <a:gd name="connsiteY0" fmla="*/ 0 h 5157788"/>
              <a:gd name="connsiteX1" fmla="*/ 5727576 w 5727576"/>
              <a:gd name="connsiteY1" fmla="*/ 0 h 5157788"/>
              <a:gd name="connsiteX2" fmla="*/ 5727576 w 5727576"/>
              <a:gd name="connsiteY2" fmla="*/ 5157788 h 5157788"/>
              <a:gd name="connsiteX3" fmla="*/ 3568576 w 5727576"/>
              <a:gd name="connsiteY3" fmla="*/ 5157788 h 5157788"/>
              <a:gd name="connsiteX4" fmla="*/ 3568576 w 5727576"/>
              <a:gd name="connsiteY4" fmla="*/ 0 h 5157788"/>
              <a:gd name="connsiteX0" fmla="*/ 3306355 w 5465355"/>
              <a:gd name="connsiteY0" fmla="*/ 0 h 5157788"/>
              <a:gd name="connsiteX1" fmla="*/ 5465355 w 5465355"/>
              <a:gd name="connsiteY1" fmla="*/ 0 h 5157788"/>
              <a:gd name="connsiteX2" fmla="*/ 5465355 w 5465355"/>
              <a:gd name="connsiteY2" fmla="*/ 5157788 h 5157788"/>
              <a:gd name="connsiteX3" fmla="*/ 3306355 w 5465355"/>
              <a:gd name="connsiteY3" fmla="*/ 5157788 h 5157788"/>
              <a:gd name="connsiteX4" fmla="*/ 3306355 w 5465355"/>
              <a:gd name="connsiteY4" fmla="*/ 0 h 5157788"/>
              <a:gd name="connsiteX0" fmla="*/ 1416957 w 3575957"/>
              <a:gd name="connsiteY0" fmla="*/ 0 h 5157788"/>
              <a:gd name="connsiteX1" fmla="*/ 3575957 w 3575957"/>
              <a:gd name="connsiteY1" fmla="*/ 0 h 5157788"/>
              <a:gd name="connsiteX2" fmla="*/ 3575957 w 3575957"/>
              <a:gd name="connsiteY2" fmla="*/ 5157788 h 5157788"/>
              <a:gd name="connsiteX3" fmla="*/ 1416957 w 3575957"/>
              <a:gd name="connsiteY3" fmla="*/ 5157788 h 5157788"/>
              <a:gd name="connsiteX4" fmla="*/ 0 w 3575957"/>
              <a:gd name="connsiteY4" fmla="*/ 3339193 h 5157788"/>
              <a:gd name="connsiteX5" fmla="*/ 1416957 w 3575957"/>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6017419"/>
              <a:gd name="connsiteX1" fmla="*/ 3851275 w 3851275"/>
              <a:gd name="connsiteY1" fmla="*/ 0 h 6017419"/>
              <a:gd name="connsiteX2" fmla="*/ 3851275 w 3851275"/>
              <a:gd name="connsiteY2" fmla="*/ 5157788 h 6017419"/>
              <a:gd name="connsiteX3" fmla="*/ 1692275 w 3851275"/>
              <a:gd name="connsiteY3" fmla="*/ 5157788 h 6017419"/>
              <a:gd name="connsiteX4" fmla="*/ 0 w 3851275"/>
              <a:gd name="connsiteY4" fmla="*/ 3284984 h 6017419"/>
              <a:gd name="connsiteX5" fmla="*/ 1692275 w 3851275"/>
              <a:gd name="connsiteY5" fmla="*/ 0 h 6017419"/>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429000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429000 h 5157788"/>
              <a:gd name="connsiteX5" fmla="*/ 1710871 w 3869871"/>
              <a:gd name="connsiteY5" fmla="*/ 0 h 5157788"/>
              <a:gd name="connsiteX0" fmla="*/ 1704975 w 3863975"/>
              <a:gd name="connsiteY0" fmla="*/ 0 h 5157788"/>
              <a:gd name="connsiteX1" fmla="*/ 3863975 w 3863975"/>
              <a:gd name="connsiteY1" fmla="*/ 0 h 5157788"/>
              <a:gd name="connsiteX2" fmla="*/ 3863975 w 3863975"/>
              <a:gd name="connsiteY2" fmla="*/ 5157788 h 5157788"/>
              <a:gd name="connsiteX3" fmla="*/ 1704975 w 3863975"/>
              <a:gd name="connsiteY3" fmla="*/ 5157788 h 5157788"/>
              <a:gd name="connsiteX4" fmla="*/ 12700 w 3863975"/>
              <a:gd name="connsiteY4" fmla="*/ 3429000 h 5157788"/>
              <a:gd name="connsiteX5" fmla="*/ 1704975 w 3863975"/>
              <a:gd name="connsiteY5" fmla="*/ 0 h 5157788"/>
              <a:gd name="connsiteX0" fmla="*/ 1707243 w 3866243"/>
              <a:gd name="connsiteY0" fmla="*/ 0 h 5157788"/>
              <a:gd name="connsiteX1" fmla="*/ 3866243 w 3866243"/>
              <a:gd name="connsiteY1" fmla="*/ 0 h 5157788"/>
              <a:gd name="connsiteX2" fmla="*/ 3866243 w 3866243"/>
              <a:gd name="connsiteY2" fmla="*/ 5157788 h 5157788"/>
              <a:gd name="connsiteX3" fmla="*/ 1707243 w 3866243"/>
              <a:gd name="connsiteY3" fmla="*/ 5157788 h 5157788"/>
              <a:gd name="connsiteX4" fmla="*/ 14968 w 3866243"/>
              <a:gd name="connsiteY4" fmla="*/ 3429000 h 5157788"/>
              <a:gd name="connsiteX5" fmla="*/ 1707243 w 3866243"/>
              <a:gd name="connsiteY5" fmla="*/ 0 h 5157788"/>
              <a:gd name="connsiteX0" fmla="*/ 1130447 w 3866243"/>
              <a:gd name="connsiteY0" fmla="*/ 0 h 5157788"/>
              <a:gd name="connsiteX1" fmla="*/ 3866243 w 3866243"/>
              <a:gd name="connsiteY1" fmla="*/ 0 h 5157788"/>
              <a:gd name="connsiteX2" fmla="*/ 3866243 w 3866243"/>
              <a:gd name="connsiteY2" fmla="*/ 5157788 h 5157788"/>
              <a:gd name="connsiteX3" fmla="*/ 1707243 w 3866243"/>
              <a:gd name="connsiteY3" fmla="*/ 5157788 h 5157788"/>
              <a:gd name="connsiteX4" fmla="*/ 14968 w 3866243"/>
              <a:gd name="connsiteY4" fmla="*/ 3429000 h 5157788"/>
              <a:gd name="connsiteX5" fmla="*/ 1130447 w 3866243"/>
              <a:gd name="connsiteY5" fmla="*/ 0 h 5157788"/>
              <a:gd name="connsiteX0" fmla="*/ 2746143 w 5481939"/>
              <a:gd name="connsiteY0" fmla="*/ 0 h 5157788"/>
              <a:gd name="connsiteX1" fmla="*/ 5481939 w 5481939"/>
              <a:gd name="connsiteY1" fmla="*/ 0 h 5157788"/>
              <a:gd name="connsiteX2" fmla="*/ 5481939 w 5481939"/>
              <a:gd name="connsiteY2" fmla="*/ 5157788 h 5157788"/>
              <a:gd name="connsiteX3" fmla="*/ 585903 w 5481939"/>
              <a:gd name="connsiteY3" fmla="*/ 5153180 h 5157788"/>
              <a:gd name="connsiteX4" fmla="*/ 1630664 w 5481939"/>
              <a:gd name="connsiteY4" fmla="*/ 3429000 h 5157788"/>
              <a:gd name="connsiteX5" fmla="*/ 2746143 w 5481939"/>
              <a:gd name="connsiteY5" fmla="*/ 0 h 5157788"/>
              <a:gd name="connsiteX0" fmla="*/ 2746143 w 5481939"/>
              <a:gd name="connsiteY0" fmla="*/ 0 h 5157788"/>
              <a:gd name="connsiteX1" fmla="*/ 5481939 w 5481939"/>
              <a:gd name="connsiteY1" fmla="*/ 0 h 5157788"/>
              <a:gd name="connsiteX2" fmla="*/ 5481939 w 5481939"/>
              <a:gd name="connsiteY2" fmla="*/ 5157788 h 5157788"/>
              <a:gd name="connsiteX3" fmla="*/ 585903 w 5481939"/>
              <a:gd name="connsiteY3" fmla="*/ 5153180 h 5157788"/>
              <a:gd name="connsiteX4" fmla="*/ 1630664 w 5481939"/>
              <a:gd name="connsiteY4" fmla="*/ 3429000 h 5157788"/>
              <a:gd name="connsiteX5" fmla="*/ 2746143 w 548193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3574235 w 6310031"/>
              <a:gd name="connsiteY0" fmla="*/ 0 h 5157788"/>
              <a:gd name="connsiteX1" fmla="*/ 6310031 w 6310031"/>
              <a:gd name="connsiteY1" fmla="*/ 0 h 5157788"/>
              <a:gd name="connsiteX2" fmla="*/ 6310031 w 6310031"/>
              <a:gd name="connsiteY2" fmla="*/ 5157788 h 5157788"/>
              <a:gd name="connsiteX3" fmla="*/ 585903 w 6310031"/>
              <a:gd name="connsiteY3" fmla="*/ 5153180 h 5157788"/>
              <a:gd name="connsiteX4" fmla="*/ 1738031 w 6310031"/>
              <a:gd name="connsiteY4" fmla="*/ 3389965 h 5157788"/>
              <a:gd name="connsiteX5" fmla="*/ 3574235 w 6310031"/>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296143 w 5724128"/>
              <a:gd name="connsiteY4" fmla="*/ 3461908 h 5157788"/>
              <a:gd name="connsiteX5" fmla="*/ 2988332 w 5724128"/>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1188132 w 5760132"/>
              <a:gd name="connsiteY4" fmla="*/ 3425937 h 5157788"/>
              <a:gd name="connsiteX5" fmla="*/ 3024336 w 5760132"/>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2736304 w 5760132"/>
              <a:gd name="connsiteY4" fmla="*/ 3461908 h 5157788"/>
              <a:gd name="connsiteX5" fmla="*/ 3024336 w 5760132"/>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2736304 w 5760132"/>
              <a:gd name="connsiteY4" fmla="*/ 3461908 h 5157788"/>
              <a:gd name="connsiteX5" fmla="*/ 3024336 w 5760132"/>
              <a:gd name="connsiteY5" fmla="*/ 0 h 5157788"/>
              <a:gd name="connsiteX0" fmla="*/ 2160240 w 4896036"/>
              <a:gd name="connsiteY0" fmla="*/ 0 h 5157788"/>
              <a:gd name="connsiteX1" fmla="*/ 4896036 w 4896036"/>
              <a:gd name="connsiteY1" fmla="*/ 0 h 5157788"/>
              <a:gd name="connsiteX2" fmla="*/ 4896036 w 4896036"/>
              <a:gd name="connsiteY2" fmla="*/ 5157788 h 5157788"/>
              <a:gd name="connsiteX3" fmla="*/ 0 w 4896036"/>
              <a:gd name="connsiteY3" fmla="*/ 5153180 h 5157788"/>
              <a:gd name="connsiteX4" fmla="*/ 1872208 w 4896036"/>
              <a:gd name="connsiteY4" fmla="*/ 3461908 h 5157788"/>
              <a:gd name="connsiteX5" fmla="*/ 2160240 w 4896036"/>
              <a:gd name="connsiteY5" fmla="*/ 0 h 5157788"/>
              <a:gd name="connsiteX0" fmla="*/ 2232248 w 4968044"/>
              <a:gd name="connsiteY0" fmla="*/ 0 h 5157788"/>
              <a:gd name="connsiteX1" fmla="*/ 4968044 w 4968044"/>
              <a:gd name="connsiteY1" fmla="*/ 0 h 5157788"/>
              <a:gd name="connsiteX2" fmla="*/ 4968044 w 4968044"/>
              <a:gd name="connsiteY2" fmla="*/ 5157788 h 5157788"/>
              <a:gd name="connsiteX3" fmla="*/ 0 w 4968044"/>
              <a:gd name="connsiteY3" fmla="*/ 5153180 h 5157788"/>
              <a:gd name="connsiteX4" fmla="*/ 1944216 w 4968044"/>
              <a:gd name="connsiteY4" fmla="*/ 3461908 h 5157788"/>
              <a:gd name="connsiteX5" fmla="*/ 2232248 w 4968044"/>
              <a:gd name="connsiteY5" fmla="*/ 0 h 5157788"/>
              <a:gd name="connsiteX0" fmla="*/ 2207679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207679 w 4943475"/>
              <a:gd name="connsiteY5" fmla="*/ 0 h 5157788"/>
              <a:gd name="connsiteX0" fmla="*/ 2963763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963763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092200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71575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343583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675731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675731 w 4943475"/>
              <a:gd name="connsiteY5" fmla="*/ 0 h 5157788"/>
              <a:gd name="connsiteX0" fmla="*/ 2675731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675731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9672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19672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51412" h="5157788">
                <a:moveTo>
                  <a:pt x="2706687" y="0"/>
                </a:moveTo>
                <a:lnTo>
                  <a:pt x="4951412" y="0"/>
                </a:lnTo>
                <a:lnTo>
                  <a:pt x="4951412" y="5157788"/>
                </a:lnTo>
                <a:lnTo>
                  <a:pt x="0" y="5153180"/>
                </a:lnTo>
                <a:cubicBezTo>
                  <a:pt x="84411" y="4542509"/>
                  <a:pt x="183041" y="4024723"/>
                  <a:pt x="1243508" y="2562613"/>
                </a:cubicBezTo>
                <a:cubicBezTo>
                  <a:pt x="1867447" y="1704780"/>
                  <a:pt x="2665955" y="709265"/>
                  <a:pt x="2706687" y="0"/>
                </a:cubicBezTo>
                <a:close/>
              </a:path>
            </a:pathLst>
          </a:custGeom>
          <a:solidFill>
            <a:schemeClr val="bg2"/>
          </a:solidFill>
          <a:ln w="3175">
            <a:noFill/>
          </a:ln>
        </p:spPr>
        <p:txBody>
          <a:bodyPr tIns="720000" rtlCol="0" anchor="ctr">
            <a:noAutofit/>
          </a:bodyPr>
          <a:lstStyle>
            <a:lvl1pPr algn="ctr">
              <a:defRPr sz="1500">
                <a:solidFill>
                  <a:schemeClr val="bg1"/>
                </a:solidFill>
              </a:defRPr>
            </a:lvl1pPr>
          </a:lstStyle>
          <a:p>
            <a:pPr lvl="0"/>
            <a:r>
              <a:rPr lang="en-US" noProof="0"/>
              <a:t>Click icon to add picture</a:t>
            </a:r>
          </a:p>
        </p:txBody>
      </p:sp>
      <p:sp>
        <p:nvSpPr>
          <p:cNvPr id="11" name="Espace réservé de la date 9"/>
          <p:cNvSpPr>
            <a:spLocks noGrp="1"/>
          </p:cNvSpPr>
          <p:nvPr>
            <p:ph type="dt" sz="half" idx="20"/>
          </p:nvPr>
        </p:nvSpPr>
        <p:spPr/>
        <p:txBody>
          <a:bodyPr/>
          <a:lstStyle>
            <a:lvl1pPr>
              <a:defRPr/>
            </a:lvl1pPr>
          </a:lstStyle>
          <a:p>
            <a:pPr>
              <a:defRPr/>
            </a:pPr>
            <a:r>
              <a:rPr lang="en-US">
                <a:solidFill>
                  <a:prstClr val="white">
                    <a:alpha val="0"/>
                  </a:prstClr>
                </a:solidFill>
              </a:rPr>
              <a:t>Date</a:t>
            </a:r>
          </a:p>
        </p:txBody>
      </p:sp>
      <p:sp>
        <p:nvSpPr>
          <p:cNvPr id="12" name="Espace réservé du numéro de diapositive 10"/>
          <p:cNvSpPr>
            <a:spLocks noGrp="1"/>
          </p:cNvSpPr>
          <p:nvPr>
            <p:ph type="sldNum" sz="quarter" idx="21"/>
          </p:nvPr>
        </p:nvSpPr>
        <p:spPr/>
        <p:txBody>
          <a:bodyPr/>
          <a:lstStyle>
            <a:lvl1pPr>
              <a:defRPr sz="100">
                <a:solidFill>
                  <a:schemeClr val="bg1">
                    <a:alpha val="0"/>
                  </a:schemeClr>
                </a:solidFill>
              </a:defRPr>
            </a:lvl1pPr>
          </a:lstStyle>
          <a:p>
            <a:pPr>
              <a:defRPr/>
            </a:pPr>
            <a:r>
              <a:rPr lang="en-US">
                <a:solidFill>
                  <a:prstClr val="white">
                    <a:alpha val="0"/>
                  </a:prstClr>
                </a:solidFill>
              </a:rPr>
              <a:t>Page: </a:t>
            </a:r>
            <a:fld id="{4AF4F797-1FBC-44F9-B7CF-6A5F893B852E}" type="slidenum">
              <a:rPr lang="en-US">
                <a:solidFill>
                  <a:prstClr val="white">
                    <a:alpha val="0"/>
                  </a:prstClr>
                </a:solidFill>
              </a:rPr>
              <a:pPr>
                <a:defRPr/>
              </a:pPr>
              <a:t>‹#›</a:t>
            </a:fld>
            <a:endParaRPr lang="en-US">
              <a:solidFill>
                <a:prstClr val="white">
                  <a:alpha val="0"/>
                </a:prstClr>
              </a:solidFill>
            </a:endParaRPr>
          </a:p>
        </p:txBody>
      </p:sp>
      <p:sp>
        <p:nvSpPr>
          <p:cNvPr id="14" name="Espace réservé du pied de page 11"/>
          <p:cNvSpPr>
            <a:spLocks noGrp="1"/>
          </p:cNvSpPr>
          <p:nvPr>
            <p:ph type="ftr" sz="quarter" idx="22"/>
          </p:nvPr>
        </p:nvSpPr>
        <p:spPr>
          <a:xfrm>
            <a:off x="468313" y="523875"/>
            <a:ext cx="4824412" cy="360363"/>
          </a:xfrm>
        </p:spPr>
        <p:txBody>
          <a:bodyPr/>
          <a:lstStyle>
            <a:lvl1pPr algn="l">
              <a:defRPr sz="1800" b="0">
                <a:solidFill>
                  <a:schemeClr val="bg1"/>
                </a:solidFill>
              </a:defRPr>
            </a:lvl1pPr>
          </a:lstStyle>
          <a:p>
            <a:pPr>
              <a:defRPr/>
            </a:pPr>
            <a:r>
              <a:rPr lang="en-US">
                <a:solidFill>
                  <a:prstClr val="white"/>
                </a:solidFill>
              </a:rPr>
              <a:t>#</a:t>
            </a:r>
            <a:r>
              <a:rPr lang="en-US" err="1">
                <a:solidFill>
                  <a:prstClr val="white"/>
                </a:solidFill>
              </a:rPr>
              <a:t>vaccineswork</a:t>
            </a:r>
            <a:endParaRPr lang="en-US">
              <a:solidFill>
                <a:prstClr val="white"/>
              </a:solidFill>
            </a:endParaRPr>
          </a:p>
        </p:txBody>
      </p:sp>
    </p:spTree>
    <p:extLst>
      <p:ext uri="{BB962C8B-B14F-4D97-AF65-F5344CB8AC3E}">
        <p14:creationId xmlns:p14="http://schemas.microsoft.com/office/powerpoint/2010/main" val="35278780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ver_Picture_1">
    <p:spTree>
      <p:nvGrpSpPr>
        <p:cNvPr id="1" name=""/>
        <p:cNvGrpSpPr/>
        <p:nvPr/>
      </p:nvGrpSpPr>
      <p:grpSpPr>
        <a:xfrm>
          <a:off x="0" y="0"/>
          <a:ext cx="0" cy="0"/>
          <a:chOff x="0" y="0"/>
          <a:chExt cx="0" cy="0"/>
        </a:xfrm>
      </p:grpSpPr>
      <p:pic>
        <p:nvPicPr>
          <p:cNvPr id="21" name="Image 20" descr="FD_1_L254.png"/>
          <p:cNvPicPr>
            <a:picLocks noChangeAspect="1"/>
          </p:cNvPicPr>
          <p:nvPr userDrawn="1"/>
        </p:nvPicPr>
        <p:blipFill>
          <a:blip r:embed="rId2" cstate="print"/>
          <a:stretch>
            <a:fillRect/>
          </a:stretch>
        </p:blipFill>
        <p:spPr bwMode="gray">
          <a:xfrm>
            <a:off x="0" y="0"/>
            <a:ext cx="9144000" cy="5157788"/>
          </a:xfrm>
          <a:prstGeom prst="rect">
            <a:avLst/>
          </a:prstGeom>
        </p:spPr>
      </p:pic>
      <p:sp>
        <p:nvSpPr>
          <p:cNvPr id="22" name="Rectangle 21"/>
          <p:cNvSpPr/>
          <p:nvPr userDrawn="1"/>
        </p:nvSpPr>
        <p:spPr bwMode="gray">
          <a:xfrm>
            <a:off x="3635375" y="5265204"/>
            <a:ext cx="5508625" cy="15927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pic>
        <p:nvPicPr>
          <p:cNvPr id="20" name="Image 19" descr="Bas_couv.png"/>
          <p:cNvPicPr>
            <a:picLocks noChangeAspect="1"/>
          </p:cNvPicPr>
          <p:nvPr userDrawn="1"/>
        </p:nvPicPr>
        <p:blipFill>
          <a:blip r:embed="rId3" cstate="print"/>
          <a:srcRect r="60243" b="722"/>
          <a:stretch>
            <a:fillRect/>
          </a:stretch>
        </p:blipFill>
        <p:spPr bwMode="gray">
          <a:xfrm>
            <a:off x="0" y="5172520"/>
            <a:ext cx="3635375" cy="1685480"/>
          </a:xfrm>
          <a:prstGeom prst="rect">
            <a:avLst/>
          </a:prstGeom>
        </p:spPr>
      </p:pic>
      <p:sp>
        <p:nvSpPr>
          <p:cNvPr id="9" name="Espace réservé du texte 8"/>
          <p:cNvSpPr>
            <a:spLocks noGrp="1"/>
          </p:cNvSpPr>
          <p:nvPr>
            <p:ph type="body" sz="quarter" idx="13" hasCustomPrompt="1"/>
          </p:nvPr>
        </p:nvSpPr>
        <p:spPr bwMode="gray">
          <a:xfrm>
            <a:off x="468314" y="1036638"/>
            <a:ext cx="4824412" cy="2231392"/>
          </a:xfrm>
        </p:spPr>
        <p:txBody>
          <a:bodyPr anchor="b" anchorCtr="0"/>
          <a:lstStyle>
            <a:lvl1pPr marL="0" indent="0" algn="l">
              <a:lnSpc>
                <a:spcPct val="90000"/>
              </a:lnSpc>
              <a:buNone/>
              <a:defRPr sz="2800" b="1" cap="none" baseline="0">
                <a:solidFill>
                  <a:schemeClr val="bg1"/>
                </a:solidFill>
              </a:defRPr>
            </a:lvl1pPr>
            <a:lvl2pPr marL="0" algn="ctr">
              <a:lnSpc>
                <a:spcPct val="100000"/>
              </a:lnSpc>
              <a:spcBef>
                <a:spcPts val="6900"/>
              </a:spcBef>
              <a:defRPr sz="2000" b="1">
                <a:solidFill>
                  <a:schemeClr val="bg1"/>
                </a:solidFill>
              </a:defRPr>
            </a:lvl2pPr>
          </a:lstStyle>
          <a:p>
            <a:pPr lvl="0"/>
            <a:r>
              <a:rPr lang="en-US" noProof="0"/>
              <a:t>TITLE</a:t>
            </a:r>
          </a:p>
        </p:txBody>
      </p:sp>
      <p:sp>
        <p:nvSpPr>
          <p:cNvPr id="8" name="Espace réservé du texte 8"/>
          <p:cNvSpPr>
            <a:spLocks noGrp="1"/>
          </p:cNvSpPr>
          <p:nvPr>
            <p:ph type="body" sz="quarter" idx="14" hasCustomPrompt="1"/>
          </p:nvPr>
        </p:nvSpPr>
        <p:spPr bwMode="gray">
          <a:xfrm>
            <a:off x="468314" y="3584637"/>
            <a:ext cx="3592800" cy="1477788"/>
          </a:xfrm>
        </p:spPr>
        <p:txBody>
          <a:bodyPr anchor="t" anchorCtr="0"/>
          <a:lstStyle>
            <a:lvl1pPr marL="0" indent="0" algn="l">
              <a:lnSpc>
                <a:spcPct val="90000"/>
              </a:lnSpc>
              <a:buNone/>
              <a:defRPr sz="2000" b="0" baseline="0">
                <a:solidFill>
                  <a:schemeClr val="bg1"/>
                </a:solidFill>
              </a:defRPr>
            </a:lvl1pPr>
            <a:lvl2pPr marL="0" algn="ctr">
              <a:lnSpc>
                <a:spcPct val="100000"/>
              </a:lnSpc>
              <a:spcBef>
                <a:spcPts val="6900"/>
              </a:spcBef>
              <a:defRPr sz="2000" b="1">
                <a:solidFill>
                  <a:schemeClr val="bg1"/>
                </a:solidFill>
              </a:defRPr>
            </a:lvl2pPr>
          </a:lstStyle>
          <a:p>
            <a:pPr lvl="0"/>
            <a:r>
              <a:rPr lang="en-US" noProof="0"/>
              <a:t>SUBTITLE</a:t>
            </a:r>
          </a:p>
        </p:txBody>
      </p:sp>
      <p:sp>
        <p:nvSpPr>
          <p:cNvPr id="10" name="Espace réservé de la date 9"/>
          <p:cNvSpPr>
            <a:spLocks noGrp="1"/>
          </p:cNvSpPr>
          <p:nvPr>
            <p:ph type="dt" sz="half" idx="15"/>
          </p:nvPr>
        </p:nvSpPr>
        <p:spPr bwMode="gray"/>
        <p:txBody>
          <a:bodyPr/>
          <a:lstStyle/>
          <a:p>
            <a:r>
              <a:rPr lang="en-US" noProof="0"/>
              <a:t>Date</a:t>
            </a:r>
          </a:p>
        </p:txBody>
      </p:sp>
      <p:sp>
        <p:nvSpPr>
          <p:cNvPr id="11" name="Espace réservé du numéro de diapositive 10"/>
          <p:cNvSpPr>
            <a:spLocks noGrp="1"/>
          </p:cNvSpPr>
          <p:nvPr>
            <p:ph type="sldNum" sz="quarter" idx="16"/>
          </p:nvPr>
        </p:nvSpPr>
        <p:spPr bwMode="gray"/>
        <p:txBody>
          <a:bodyPr/>
          <a:lstStyle>
            <a:lvl1pPr>
              <a:defRPr sz="100">
                <a:solidFill>
                  <a:schemeClr val="bg1">
                    <a:alpha val="0"/>
                  </a:schemeClr>
                </a:solidFill>
              </a:defRPr>
            </a:lvl1pPr>
          </a:lstStyle>
          <a:p>
            <a:pPr algn="l"/>
            <a:r>
              <a:rPr lang="en-US" noProof="0"/>
              <a:t>Page: </a:t>
            </a:r>
            <a:fld id="{733122C9-A0B9-462F-8757-0847AD287B63}" type="slidenum">
              <a:rPr lang="en-US" noProof="0" smtClean="0"/>
              <a:pPr algn="l"/>
              <a:t>‹#›</a:t>
            </a:fld>
            <a:endParaRPr lang="en-US" noProof="0"/>
          </a:p>
        </p:txBody>
      </p:sp>
      <p:sp>
        <p:nvSpPr>
          <p:cNvPr id="12" name="Espace réservé du pied de page 11"/>
          <p:cNvSpPr>
            <a:spLocks noGrp="1"/>
          </p:cNvSpPr>
          <p:nvPr>
            <p:ph type="ftr" sz="quarter" idx="17"/>
          </p:nvPr>
        </p:nvSpPr>
        <p:spPr bwMode="gray">
          <a:xfrm>
            <a:off x="468312" y="524188"/>
            <a:ext cx="4824413" cy="360000"/>
          </a:xfrm>
        </p:spPr>
        <p:txBody>
          <a:bodyPr/>
          <a:lstStyle>
            <a:lvl1pPr algn="l">
              <a:defRPr sz="1800" b="0">
                <a:solidFill>
                  <a:schemeClr val="bg1"/>
                </a:solidFill>
              </a:defRPr>
            </a:lvl1pPr>
          </a:lstStyle>
          <a:p>
            <a:r>
              <a:rPr lang="en-US" noProof="0"/>
              <a:t>#add your hashtag</a:t>
            </a:r>
          </a:p>
        </p:txBody>
      </p:sp>
      <p:sp>
        <p:nvSpPr>
          <p:cNvPr id="15" name="Espace réservé du texte 14"/>
          <p:cNvSpPr>
            <a:spLocks noGrp="1"/>
          </p:cNvSpPr>
          <p:nvPr>
            <p:ph type="body" sz="quarter" idx="19" hasCustomPrompt="1"/>
          </p:nvPr>
        </p:nvSpPr>
        <p:spPr bwMode="gray">
          <a:xfrm>
            <a:off x="3635376" y="6021388"/>
            <a:ext cx="5113338" cy="324000"/>
          </a:xfrm>
        </p:spPr>
        <p:txBody>
          <a:bodyPr anchor="b" anchorCtr="0"/>
          <a:lstStyle>
            <a:lvl1pPr algn="r">
              <a:lnSpc>
                <a:spcPct val="100000"/>
              </a:lnSpc>
              <a:defRPr sz="1000" b="1">
                <a:solidFill>
                  <a:schemeClr val="accent2"/>
                </a:solidFill>
              </a:defRPr>
            </a:lvl1pPr>
          </a:lstStyle>
          <a:p>
            <a:pPr lvl="0"/>
            <a:r>
              <a:rPr lang="en-US" noProof="0"/>
              <a:t>Write your claim here</a:t>
            </a:r>
          </a:p>
        </p:txBody>
      </p:sp>
      <p:sp>
        <p:nvSpPr>
          <p:cNvPr id="16" name="Rectangle 15"/>
          <p:cNvSpPr/>
          <p:nvPr userDrawn="1"/>
        </p:nvSpPr>
        <p:spPr bwMode="gray">
          <a:xfrm>
            <a:off x="3635375" y="6354202"/>
            <a:ext cx="5113338" cy="2872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r"/>
            <a:r>
              <a:rPr lang="en-US" sz="1000" noProof="0">
                <a:solidFill>
                  <a:schemeClr val="accent3"/>
                </a:solidFill>
              </a:rPr>
              <a:t>www.gavi.org</a:t>
            </a:r>
          </a:p>
        </p:txBody>
      </p:sp>
      <p:sp>
        <p:nvSpPr>
          <p:cNvPr id="24" name="Espace réservé pour une image  17"/>
          <p:cNvSpPr>
            <a:spLocks noGrp="1"/>
          </p:cNvSpPr>
          <p:nvPr>
            <p:ph type="pic" sz="quarter" idx="18" hasCustomPrompt="1"/>
          </p:nvPr>
        </p:nvSpPr>
        <p:spPr bwMode="gray">
          <a:xfrm>
            <a:off x="4192588" y="0"/>
            <a:ext cx="4951412" cy="5162400"/>
          </a:xfrm>
          <a:custGeom>
            <a:avLst/>
            <a:gdLst>
              <a:gd name="connsiteX0" fmla="*/ 0 w 3851275"/>
              <a:gd name="connsiteY0" fmla="*/ 0 h 5157788"/>
              <a:gd name="connsiteX1" fmla="*/ 3851275 w 3851275"/>
              <a:gd name="connsiteY1" fmla="*/ 0 h 5157788"/>
              <a:gd name="connsiteX2" fmla="*/ 3851275 w 3851275"/>
              <a:gd name="connsiteY2" fmla="*/ 5157788 h 5157788"/>
              <a:gd name="connsiteX3" fmla="*/ 0 w 3851275"/>
              <a:gd name="connsiteY3" fmla="*/ 5157788 h 5157788"/>
              <a:gd name="connsiteX4" fmla="*/ 0 w 3851275"/>
              <a:gd name="connsiteY4"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0 w 3851275"/>
              <a:gd name="connsiteY3" fmla="*/ 5157788 h 5157788"/>
              <a:gd name="connsiteX4" fmla="*/ 1692275 w 3851275"/>
              <a:gd name="connsiteY4" fmla="*/ 0 h 5157788"/>
              <a:gd name="connsiteX0" fmla="*/ 0 w 2159000"/>
              <a:gd name="connsiteY0" fmla="*/ 0 h 5157788"/>
              <a:gd name="connsiteX1" fmla="*/ 2159000 w 2159000"/>
              <a:gd name="connsiteY1" fmla="*/ 0 h 5157788"/>
              <a:gd name="connsiteX2" fmla="*/ 2159000 w 2159000"/>
              <a:gd name="connsiteY2" fmla="*/ 5157788 h 5157788"/>
              <a:gd name="connsiteX3" fmla="*/ 0 w 2159000"/>
              <a:gd name="connsiteY3" fmla="*/ 5157788 h 5157788"/>
              <a:gd name="connsiteX4" fmla="*/ 0 w 2159000"/>
              <a:gd name="connsiteY4" fmla="*/ 0 h 5157788"/>
              <a:gd name="connsiteX0" fmla="*/ 2625271 w 4784271"/>
              <a:gd name="connsiteY0" fmla="*/ 0 h 5157788"/>
              <a:gd name="connsiteX1" fmla="*/ 4784271 w 4784271"/>
              <a:gd name="connsiteY1" fmla="*/ 0 h 5157788"/>
              <a:gd name="connsiteX2" fmla="*/ 4784271 w 4784271"/>
              <a:gd name="connsiteY2" fmla="*/ 5157788 h 5157788"/>
              <a:gd name="connsiteX3" fmla="*/ 2625271 w 4784271"/>
              <a:gd name="connsiteY3" fmla="*/ 5157788 h 5157788"/>
              <a:gd name="connsiteX4" fmla="*/ 2625271 w 4784271"/>
              <a:gd name="connsiteY4" fmla="*/ 0 h 5157788"/>
              <a:gd name="connsiteX0" fmla="*/ 2625271 w 4784271"/>
              <a:gd name="connsiteY0" fmla="*/ 0 h 5157788"/>
              <a:gd name="connsiteX1" fmla="*/ 4784271 w 4784271"/>
              <a:gd name="connsiteY1" fmla="*/ 0 h 5157788"/>
              <a:gd name="connsiteX2" fmla="*/ 4784271 w 4784271"/>
              <a:gd name="connsiteY2" fmla="*/ 5157788 h 5157788"/>
              <a:gd name="connsiteX3" fmla="*/ 2625271 w 4784271"/>
              <a:gd name="connsiteY3" fmla="*/ 5157788 h 5157788"/>
              <a:gd name="connsiteX4" fmla="*/ 2625271 w 4784271"/>
              <a:gd name="connsiteY4" fmla="*/ 0 h 5157788"/>
              <a:gd name="connsiteX0" fmla="*/ 3568576 w 5727576"/>
              <a:gd name="connsiteY0" fmla="*/ 0 h 5157788"/>
              <a:gd name="connsiteX1" fmla="*/ 5727576 w 5727576"/>
              <a:gd name="connsiteY1" fmla="*/ 0 h 5157788"/>
              <a:gd name="connsiteX2" fmla="*/ 5727576 w 5727576"/>
              <a:gd name="connsiteY2" fmla="*/ 5157788 h 5157788"/>
              <a:gd name="connsiteX3" fmla="*/ 3568576 w 5727576"/>
              <a:gd name="connsiteY3" fmla="*/ 5157788 h 5157788"/>
              <a:gd name="connsiteX4" fmla="*/ 3568576 w 5727576"/>
              <a:gd name="connsiteY4" fmla="*/ 0 h 5157788"/>
              <a:gd name="connsiteX0" fmla="*/ 3306355 w 5465355"/>
              <a:gd name="connsiteY0" fmla="*/ 0 h 5157788"/>
              <a:gd name="connsiteX1" fmla="*/ 5465355 w 5465355"/>
              <a:gd name="connsiteY1" fmla="*/ 0 h 5157788"/>
              <a:gd name="connsiteX2" fmla="*/ 5465355 w 5465355"/>
              <a:gd name="connsiteY2" fmla="*/ 5157788 h 5157788"/>
              <a:gd name="connsiteX3" fmla="*/ 3306355 w 5465355"/>
              <a:gd name="connsiteY3" fmla="*/ 5157788 h 5157788"/>
              <a:gd name="connsiteX4" fmla="*/ 3306355 w 5465355"/>
              <a:gd name="connsiteY4" fmla="*/ 0 h 5157788"/>
              <a:gd name="connsiteX0" fmla="*/ 1416957 w 3575957"/>
              <a:gd name="connsiteY0" fmla="*/ 0 h 5157788"/>
              <a:gd name="connsiteX1" fmla="*/ 3575957 w 3575957"/>
              <a:gd name="connsiteY1" fmla="*/ 0 h 5157788"/>
              <a:gd name="connsiteX2" fmla="*/ 3575957 w 3575957"/>
              <a:gd name="connsiteY2" fmla="*/ 5157788 h 5157788"/>
              <a:gd name="connsiteX3" fmla="*/ 1416957 w 3575957"/>
              <a:gd name="connsiteY3" fmla="*/ 5157788 h 5157788"/>
              <a:gd name="connsiteX4" fmla="*/ 0 w 3575957"/>
              <a:gd name="connsiteY4" fmla="*/ 3339193 h 5157788"/>
              <a:gd name="connsiteX5" fmla="*/ 1416957 w 3575957"/>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6017419"/>
              <a:gd name="connsiteX1" fmla="*/ 3851275 w 3851275"/>
              <a:gd name="connsiteY1" fmla="*/ 0 h 6017419"/>
              <a:gd name="connsiteX2" fmla="*/ 3851275 w 3851275"/>
              <a:gd name="connsiteY2" fmla="*/ 5157788 h 6017419"/>
              <a:gd name="connsiteX3" fmla="*/ 1692275 w 3851275"/>
              <a:gd name="connsiteY3" fmla="*/ 5157788 h 6017419"/>
              <a:gd name="connsiteX4" fmla="*/ 0 w 3851275"/>
              <a:gd name="connsiteY4" fmla="*/ 3284984 h 6017419"/>
              <a:gd name="connsiteX5" fmla="*/ 1692275 w 3851275"/>
              <a:gd name="connsiteY5" fmla="*/ 0 h 6017419"/>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429000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429000 h 5157788"/>
              <a:gd name="connsiteX5" fmla="*/ 1710871 w 3869871"/>
              <a:gd name="connsiteY5" fmla="*/ 0 h 5157788"/>
              <a:gd name="connsiteX0" fmla="*/ 1704975 w 3863975"/>
              <a:gd name="connsiteY0" fmla="*/ 0 h 5157788"/>
              <a:gd name="connsiteX1" fmla="*/ 3863975 w 3863975"/>
              <a:gd name="connsiteY1" fmla="*/ 0 h 5157788"/>
              <a:gd name="connsiteX2" fmla="*/ 3863975 w 3863975"/>
              <a:gd name="connsiteY2" fmla="*/ 5157788 h 5157788"/>
              <a:gd name="connsiteX3" fmla="*/ 1704975 w 3863975"/>
              <a:gd name="connsiteY3" fmla="*/ 5157788 h 5157788"/>
              <a:gd name="connsiteX4" fmla="*/ 12700 w 3863975"/>
              <a:gd name="connsiteY4" fmla="*/ 3429000 h 5157788"/>
              <a:gd name="connsiteX5" fmla="*/ 1704975 w 3863975"/>
              <a:gd name="connsiteY5" fmla="*/ 0 h 5157788"/>
              <a:gd name="connsiteX0" fmla="*/ 1707243 w 3866243"/>
              <a:gd name="connsiteY0" fmla="*/ 0 h 5157788"/>
              <a:gd name="connsiteX1" fmla="*/ 3866243 w 3866243"/>
              <a:gd name="connsiteY1" fmla="*/ 0 h 5157788"/>
              <a:gd name="connsiteX2" fmla="*/ 3866243 w 3866243"/>
              <a:gd name="connsiteY2" fmla="*/ 5157788 h 5157788"/>
              <a:gd name="connsiteX3" fmla="*/ 1707243 w 3866243"/>
              <a:gd name="connsiteY3" fmla="*/ 5157788 h 5157788"/>
              <a:gd name="connsiteX4" fmla="*/ 14968 w 3866243"/>
              <a:gd name="connsiteY4" fmla="*/ 3429000 h 5157788"/>
              <a:gd name="connsiteX5" fmla="*/ 1707243 w 3866243"/>
              <a:gd name="connsiteY5" fmla="*/ 0 h 5157788"/>
              <a:gd name="connsiteX0" fmla="*/ 1130447 w 3866243"/>
              <a:gd name="connsiteY0" fmla="*/ 0 h 5157788"/>
              <a:gd name="connsiteX1" fmla="*/ 3866243 w 3866243"/>
              <a:gd name="connsiteY1" fmla="*/ 0 h 5157788"/>
              <a:gd name="connsiteX2" fmla="*/ 3866243 w 3866243"/>
              <a:gd name="connsiteY2" fmla="*/ 5157788 h 5157788"/>
              <a:gd name="connsiteX3" fmla="*/ 1707243 w 3866243"/>
              <a:gd name="connsiteY3" fmla="*/ 5157788 h 5157788"/>
              <a:gd name="connsiteX4" fmla="*/ 14968 w 3866243"/>
              <a:gd name="connsiteY4" fmla="*/ 3429000 h 5157788"/>
              <a:gd name="connsiteX5" fmla="*/ 1130447 w 3866243"/>
              <a:gd name="connsiteY5" fmla="*/ 0 h 5157788"/>
              <a:gd name="connsiteX0" fmla="*/ 2746143 w 5481939"/>
              <a:gd name="connsiteY0" fmla="*/ 0 h 5157788"/>
              <a:gd name="connsiteX1" fmla="*/ 5481939 w 5481939"/>
              <a:gd name="connsiteY1" fmla="*/ 0 h 5157788"/>
              <a:gd name="connsiteX2" fmla="*/ 5481939 w 5481939"/>
              <a:gd name="connsiteY2" fmla="*/ 5157788 h 5157788"/>
              <a:gd name="connsiteX3" fmla="*/ 585903 w 5481939"/>
              <a:gd name="connsiteY3" fmla="*/ 5153180 h 5157788"/>
              <a:gd name="connsiteX4" fmla="*/ 1630664 w 5481939"/>
              <a:gd name="connsiteY4" fmla="*/ 3429000 h 5157788"/>
              <a:gd name="connsiteX5" fmla="*/ 2746143 w 5481939"/>
              <a:gd name="connsiteY5" fmla="*/ 0 h 5157788"/>
              <a:gd name="connsiteX0" fmla="*/ 2746143 w 5481939"/>
              <a:gd name="connsiteY0" fmla="*/ 0 h 5157788"/>
              <a:gd name="connsiteX1" fmla="*/ 5481939 w 5481939"/>
              <a:gd name="connsiteY1" fmla="*/ 0 h 5157788"/>
              <a:gd name="connsiteX2" fmla="*/ 5481939 w 5481939"/>
              <a:gd name="connsiteY2" fmla="*/ 5157788 h 5157788"/>
              <a:gd name="connsiteX3" fmla="*/ 585903 w 5481939"/>
              <a:gd name="connsiteY3" fmla="*/ 5153180 h 5157788"/>
              <a:gd name="connsiteX4" fmla="*/ 1630664 w 5481939"/>
              <a:gd name="connsiteY4" fmla="*/ 3429000 h 5157788"/>
              <a:gd name="connsiteX5" fmla="*/ 2746143 w 548193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3574235 w 6310031"/>
              <a:gd name="connsiteY0" fmla="*/ 0 h 5157788"/>
              <a:gd name="connsiteX1" fmla="*/ 6310031 w 6310031"/>
              <a:gd name="connsiteY1" fmla="*/ 0 h 5157788"/>
              <a:gd name="connsiteX2" fmla="*/ 6310031 w 6310031"/>
              <a:gd name="connsiteY2" fmla="*/ 5157788 h 5157788"/>
              <a:gd name="connsiteX3" fmla="*/ 585903 w 6310031"/>
              <a:gd name="connsiteY3" fmla="*/ 5153180 h 5157788"/>
              <a:gd name="connsiteX4" fmla="*/ 1738031 w 6310031"/>
              <a:gd name="connsiteY4" fmla="*/ 3389965 h 5157788"/>
              <a:gd name="connsiteX5" fmla="*/ 3574235 w 6310031"/>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296143 w 5724128"/>
              <a:gd name="connsiteY4" fmla="*/ 3461908 h 5157788"/>
              <a:gd name="connsiteX5" fmla="*/ 2988332 w 5724128"/>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1188132 w 5760132"/>
              <a:gd name="connsiteY4" fmla="*/ 3425937 h 5157788"/>
              <a:gd name="connsiteX5" fmla="*/ 3024336 w 5760132"/>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2736304 w 5760132"/>
              <a:gd name="connsiteY4" fmla="*/ 3461908 h 5157788"/>
              <a:gd name="connsiteX5" fmla="*/ 3024336 w 5760132"/>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2736304 w 5760132"/>
              <a:gd name="connsiteY4" fmla="*/ 3461908 h 5157788"/>
              <a:gd name="connsiteX5" fmla="*/ 3024336 w 5760132"/>
              <a:gd name="connsiteY5" fmla="*/ 0 h 5157788"/>
              <a:gd name="connsiteX0" fmla="*/ 2160240 w 4896036"/>
              <a:gd name="connsiteY0" fmla="*/ 0 h 5157788"/>
              <a:gd name="connsiteX1" fmla="*/ 4896036 w 4896036"/>
              <a:gd name="connsiteY1" fmla="*/ 0 h 5157788"/>
              <a:gd name="connsiteX2" fmla="*/ 4896036 w 4896036"/>
              <a:gd name="connsiteY2" fmla="*/ 5157788 h 5157788"/>
              <a:gd name="connsiteX3" fmla="*/ 0 w 4896036"/>
              <a:gd name="connsiteY3" fmla="*/ 5153180 h 5157788"/>
              <a:gd name="connsiteX4" fmla="*/ 1872208 w 4896036"/>
              <a:gd name="connsiteY4" fmla="*/ 3461908 h 5157788"/>
              <a:gd name="connsiteX5" fmla="*/ 2160240 w 4896036"/>
              <a:gd name="connsiteY5" fmla="*/ 0 h 5157788"/>
              <a:gd name="connsiteX0" fmla="*/ 2232248 w 4968044"/>
              <a:gd name="connsiteY0" fmla="*/ 0 h 5157788"/>
              <a:gd name="connsiteX1" fmla="*/ 4968044 w 4968044"/>
              <a:gd name="connsiteY1" fmla="*/ 0 h 5157788"/>
              <a:gd name="connsiteX2" fmla="*/ 4968044 w 4968044"/>
              <a:gd name="connsiteY2" fmla="*/ 5157788 h 5157788"/>
              <a:gd name="connsiteX3" fmla="*/ 0 w 4968044"/>
              <a:gd name="connsiteY3" fmla="*/ 5153180 h 5157788"/>
              <a:gd name="connsiteX4" fmla="*/ 1944216 w 4968044"/>
              <a:gd name="connsiteY4" fmla="*/ 3461908 h 5157788"/>
              <a:gd name="connsiteX5" fmla="*/ 2232248 w 4968044"/>
              <a:gd name="connsiteY5" fmla="*/ 0 h 5157788"/>
              <a:gd name="connsiteX0" fmla="*/ 2207679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207679 w 4943475"/>
              <a:gd name="connsiteY5" fmla="*/ 0 h 5157788"/>
              <a:gd name="connsiteX0" fmla="*/ 2963763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963763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092200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71575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343583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675731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675731 w 4943475"/>
              <a:gd name="connsiteY5" fmla="*/ 0 h 5157788"/>
              <a:gd name="connsiteX0" fmla="*/ 2675731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675731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9672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19672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51412" h="5157788">
                <a:moveTo>
                  <a:pt x="2706687" y="0"/>
                </a:moveTo>
                <a:lnTo>
                  <a:pt x="4951412" y="0"/>
                </a:lnTo>
                <a:lnTo>
                  <a:pt x="4951412" y="5157788"/>
                </a:lnTo>
                <a:lnTo>
                  <a:pt x="0" y="5153180"/>
                </a:lnTo>
                <a:cubicBezTo>
                  <a:pt x="84411" y="4542509"/>
                  <a:pt x="183041" y="4024723"/>
                  <a:pt x="1243508" y="2562613"/>
                </a:cubicBezTo>
                <a:cubicBezTo>
                  <a:pt x="1867447" y="1704780"/>
                  <a:pt x="2665955" y="709265"/>
                  <a:pt x="2706687" y="0"/>
                </a:cubicBezTo>
                <a:close/>
              </a:path>
            </a:pathLst>
          </a:custGeom>
          <a:solidFill>
            <a:schemeClr val="bg2"/>
          </a:solidFill>
          <a:ln w="3175">
            <a:noFill/>
          </a:ln>
        </p:spPr>
        <p:txBody>
          <a:bodyPr tIns="720000" anchor="ctr" anchorCtr="0"/>
          <a:lstStyle>
            <a:lvl1pPr algn="ctr">
              <a:defRPr sz="1500">
                <a:solidFill>
                  <a:schemeClr val="bg1"/>
                </a:solidFill>
              </a:defRPr>
            </a:lvl1pPr>
          </a:lstStyle>
          <a:p>
            <a:r>
              <a:rPr lang="en-US" noProof="0"/>
              <a:t>Select your own photo</a:t>
            </a:r>
          </a:p>
        </p:txBody>
      </p:sp>
      <p:sp>
        <p:nvSpPr>
          <p:cNvPr id="18" name="Rectangle 17"/>
          <p:cNvSpPr/>
          <p:nvPr userDrawn="1"/>
        </p:nvSpPr>
        <p:spPr bwMode="gray">
          <a:xfrm>
            <a:off x="468313" y="3391895"/>
            <a:ext cx="2448000" cy="252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7" name="Espace réservé du texte 16"/>
          <p:cNvSpPr>
            <a:spLocks noGrp="1"/>
          </p:cNvSpPr>
          <p:nvPr>
            <p:ph type="body" sz="quarter" idx="20" hasCustomPrompt="1"/>
          </p:nvPr>
        </p:nvSpPr>
        <p:spPr bwMode="gray">
          <a:xfrm>
            <a:off x="0" y="5157788"/>
            <a:ext cx="9144000" cy="287337"/>
          </a:xfrm>
          <a:solidFill>
            <a:schemeClr val="bg1"/>
          </a:solidFill>
        </p:spPr>
        <p:txBody>
          <a:bodyPr/>
          <a:lstStyle>
            <a:lvl1pPr>
              <a:defRPr sz="100" b="0">
                <a:solidFill>
                  <a:schemeClr val="bg1">
                    <a:alpha val="0"/>
                  </a:schemeClr>
                </a:solidFill>
              </a:defRPr>
            </a:lvl1pPr>
          </a:lstStyle>
          <a:p>
            <a:pPr lvl="0"/>
            <a:r>
              <a:rPr lang="en-US" noProof="0"/>
              <a:t> </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hank_you_2">
    <p:spTree>
      <p:nvGrpSpPr>
        <p:cNvPr id="1" name=""/>
        <p:cNvGrpSpPr/>
        <p:nvPr/>
      </p:nvGrpSpPr>
      <p:grpSpPr>
        <a:xfrm>
          <a:off x="0" y="0"/>
          <a:ext cx="0" cy="0"/>
          <a:chOff x="0" y="0"/>
          <a:chExt cx="0" cy="0"/>
        </a:xfrm>
      </p:grpSpPr>
      <p:pic>
        <p:nvPicPr>
          <p:cNvPr id="21" name="Image 20" descr="Image_03.jpg"/>
          <p:cNvPicPr>
            <a:picLocks noChangeAspect="1"/>
          </p:cNvPicPr>
          <p:nvPr userDrawn="1"/>
        </p:nvPicPr>
        <p:blipFill>
          <a:blip r:embed="rId2" cstate="print"/>
          <a:stretch>
            <a:fillRect/>
          </a:stretch>
        </p:blipFill>
        <p:spPr bwMode="gray">
          <a:xfrm>
            <a:off x="4068000" y="0"/>
            <a:ext cx="5076000" cy="5185751"/>
          </a:xfrm>
          <a:prstGeom prst="rect">
            <a:avLst/>
          </a:prstGeom>
        </p:spPr>
      </p:pic>
      <p:sp>
        <p:nvSpPr>
          <p:cNvPr id="14" name="Forme libre 13"/>
          <p:cNvSpPr/>
          <p:nvPr userDrawn="1"/>
        </p:nvSpPr>
        <p:spPr bwMode="gray">
          <a:xfrm>
            <a:off x="1" y="0"/>
            <a:ext cx="6899275" cy="5157788"/>
          </a:xfrm>
          <a:custGeom>
            <a:avLst/>
            <a:gdLst>
              <a:gd name="connsiteX0" fmla="*/ 0 w 6899275"/>
              <a:gd name="connsiteY0" fmla="*/ 0 h 5157788"/>
              <a:gd name="connsiteX1" fmla="*/ 6899275 w 6899275"/>
              <a:gd name="connsiteY1" fmla="*/ 0 h 5157788"/>
              <a:gd name="connsiteX2" fmla="*/ 5436096 w 6899275"/>
              <a:gd name="connsiteY2" fmla="*/ 2564905 h 5157788"/>
              <a:gd name="connsiteX3" fmla="*/ 4192589 w 6899275"/>
              <a:gd name="connsiteY3" fmla="*/ 5157788 h 5157788"/>
              <a:gd name="connsiteX4" fmla="*/ 0 w 6899275"/>
              <a:gd name="connsiteY4" fmla="*/ 5157788 h 51577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9275" h="5157788">
                <a:moveTo>
                  <a:pt x="0" y="0"/>
                </a:moveTo>
                <a:lnTo>
                  <a:pt x="6899275" y="0"/>
                </a:lnTo>
                <a:cubicBezTo>
                  <a:pt x="6858543" y="709899"/>
                  <a:pt x="6060035" y="1706304"/>
                  <a:pt x="5436096" y="2564905"/>
                </a:cubicBezTo>
                <a:cubicBezTo>
                  <a:pt x="4375629" y="4028322"/>
                  <a:pt x="4276999" y="4546571"/>
                  <a:pt x="4192589" y="5157788"/>
                </a:cubicBezTo>
                <a:lnTo>
                  <a:pt x="0" y="5157788"/>
                </a:lnTo>
                <a:close/>
              </a:path>
            </a:pathLst>
          </a:custGeom>
          <a:blipFill>
            <a:blip r:embed="rId3" cstate="prin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22" name="Rectangle 21"/>
          <p:cNvSpPr/>
          <p:nvPr userDrawn="1"/>
        </p:nvSpPr>
        <p:spPr bwMode="gray">
          <a:xfrm>
            <a:off x="3635375" y="5265204"/>
            <a:ext cx="5508625" cy="15927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pic>
        <p:nvPicPr>
          <p:cNvPr id="20" name="Image 19" descr="Bas_couv.png"/>
          <p:cNvPicPr>
            <a:picLocks noChangeAspect="1"/>
          </p:cNvPicPr>
          <p:nvPr userDrawn="1"/>
        </p:nvPicPr>
        <p:blipFill>
          <a:blip r:embed="rId4" cstate="print"/>
          <a:srcRect r="60243" b="722"/>
          <a:stretch>
            <a:fillRect/>
          </a:stretch>
        </p:blipFill>
        <p:spPr bwMode="gray">
          <a:xfrm>
            <a:off x="0" y="5172520"/>
            <a:ext cx="3635375" cy="1685480"/>
          </a:xfrm>
          <a:prstGeom prst="rect">
            <a:avLst/>
          </a:prstGeom>
        </p:spPr>
      </p:pic>
      <p:sp>
        <p:nvSpPr>
          <p:cNvPr id="9" name="Espace réservé du texte 8"/>
          <p:cNvSpPr>
            <a:spLocks noGrp="1"/>
          </p:cNvSpPr>
          <p:nvPr>
            <p:ph type="body" sz="quarter" idx="13" hasCustomPrompt="1"/>
          </p:nvPr>
        </p:nvSpPr>
        <p:spPr bwMode="gray">
          <a:xfrm>
            <a:off x="468000" y="1036800"/>
            <a:ext cx="4824412" cy="2232000"/>
          </a:xfrm>
        </p:spPr>
        <p:txBody>
          <a:bodyPr anchor="b" anchorCtr="0"/>
          <a:lstStyle>
            <a:lvl1pPr marL="0" indent="0" algn="l">
              <a:lnSpc>
                <a:spcPct val="90000"/>
              </a:lnSpc>
              <a:buNone/>
              <a:defRPr sz="2800" b="1" cap="none" baseline="0">
                <a:solidFill>
                  <a:schemeClr val="bg1"/>
                </a:solidFill>
              </a:defRPr>
            </a:lvl1pPr>
            <a:lvl2pPr marL="0" algn="ctr">
              <a:lnSpc>
                <a:spcPct val="100000"/>
              </a:lnSpc>
              <a:spcBef>
                <a:spcPts val="6900"/>
              </a:spcBef>
              <a:defRPr sz="2000" b="1">
                <a:solidFill>
                  <a:schemeClr val="bg1"/>
                </a:solidFill>
              </a:defRPr>
            </a:lvl2pPr>
          </a:lstStyle>
          <a:p>
            <a:pPr lvl="0"/>
            <a:r>
              <a:rPr lang="en-US" noProof="0"/>
              <a:t>TITLE</a:t>
            </a:r>
          </a:p>
        </p:txBody>
      </p:sp>
      <p:sp>
        <p:nvSpPr>
          <p:cNvPr id="10" name="Espace réservé de la date 9"/>
          <p:cNvSpPr>
            <a:spLocks noGrp="1"/>
          </p:cNvSpPr>
          <p:nvPr>
            <p:ph type="dt" sz="half" idx="15"/>
          </p:nvPr>
        </p:nvSpPr>
        <p:spPr bwMode="gray"/>
        <p:txBody>
          <a:bodyPr/>
          <a:lstStyle/>
          <a:p>
            <a:r>
              <a:rPr lang="en-US" noProof="0"/>
              <a:t>Date</a:t>
            </a:r>
          </a:p>
        </p:txBody>
      </p:sp>
      <p:sp>
        <p:nvSpPr>
          <p:cNvPr id="11" name="Espace réservé du numéro de diapositive 10"/>
          <p:cNvSpPr>
            <a:spLocks noGrp="1"/>
          </p:cNvSpPr>
          <p:nvPr>
            <p:ph type="sldNum" sz="quarter" idx="16"/>
          </p:nvPr>
        </p:nvSpPr>
        <p:spPr bwMode="gray"/>
        <p:txBody>
          <a:bodyPr/>
          <a:lstStyle>
            <a:lvl1pPr>
              <a:defRPr sz="100">
                <a:solidFill>
                  <a:schemeClr val="bg1">
                    <a:alpha val="0"/>
                  </a:schemeClr>
                </a:solidFill>
              </a:defRPr>
            </a:lvl1pPr>
          </a:lstStyle>
          <a:p>
            <a:pPr algn="l"/>
            <a:r>
              <a:rPr lang="en-US" noProof="0"/>
              <a:t>Page: </a:t>
            </a:r>
            <a:fld id="{733122C9-A0B9-462F-8757-0847AD287B63}" type="slidenum">
              <a:rPr lang="en-US" noProof="0" smtClean="0"/>
              <a:pPr algn="l"/>
              <a:t>‹#›</a:t>
            </a:fld>
            <a:endParaRPr lang="en-US" noProof="0"/>
          </a:p>
        </p:txBody>
      </p:sp>
      <p:sp>
        <p:nvSpPr>
          <p:cNvPr id="12" name="Espace réservé du pied de page 11"/>
          <p:cNvSpPr>
            <a:spLocks noGrp="1"/>
          </p:cNvSpPr>
          <p:nvPr>
            <p:ph type="ftr" sz="quarter" idx="17"/>
          </p:nvPr>
        </p:nvSpPr>
        <p:spPr bwMode="gray">
          <a:xfrm>
            <a:off x="468312" y="524188"/>
            <a:ext cx="4824413" cy="360000"/>
          </a:xfrm>
        </p:spPr>
        <p:txBody>
          <a:bodyPr/>
          <a:lstStyle>
            <a:lvl1pPr algn="l">
              <a:defRPr sz="1800" b="0">
                <a:solidFill>
                  <a:schemeClr val="bg1"/>
                </a:solidFill>
              </a:defRPr>
            </a:lvl1pPr>
          </a:lstStyle>
          <a:p>
            <a:r>
              <a:rPr lang="en-US" noProof="0"/>
              <a:t>#add your hashtag</a:t>
            </a:r>
          </a:p>
        </p:txBody>
      </p:sp>
      <p:sp>
        <p:nvSpPr>
          <p:cNvPr id="15" name="Espace réservé du texte 14"/>
          <p:cNvSpPr>
            <a:spLocks noGrp="1"/>
          </p:cNvSpPr>
          <p:nvPr>
            <p:ph type="body" sz="quarter" idx="19" hasCustomPrompt="1"/>
          </p:nvPr>
        </p:nvSpPr>
        <p:spPr bwMode="gray">
          <a:xfrm>
            <a:off x="3635376" y="6021388"/>
            <a:ext cx="5113338" cy="324000"/>
          </a:xfrm>
        </p:spPr>
        <p:txBody>
          <a:bodyPr anchor="b" anchorCtr="0"/>
          <a:lstStyle>
            <a:lvl1pPr algn="r">
              <a:lnSpc>
                <a:spcPct val="100000"/>
              </a:lnSpc>
              <a:defRPr sz="1000" b="1">
                <a:solidFill>
                  <a:schemeClr val="accent2"/>
                </a:solidFill>
              </a:defRPr>
            </a:lvl1pPr>
          </a:lstStyle>
          <a:p>
            <a:pPr lvl="0"/>
            <a:r>
              <a:rPr lang="en-US" noProof="0"/>
              <a:t>Write your claim here</a:t>
            </a:r>
          </a:p>
        </p:txBody>
      </p:sp>
      <p:sp>
        <p:nvSpPr>
          <p:cNvPr id="16" name="Rectangle 15"/>
          <p:cNvSpPr/>
          <p:nvPr userDrawn="1"/>
        </p:nvSpPr>
        <p:spPr bwMode="gray">
          <a:xfrm>
            <a:off x="3635375" y="6354202"/>
            <a:ext cx="5113338" cy="2872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r"/>
            <a:r>
              <a:rPr lang="en-US" sz="1000" noProof="0">
                <a:solidFill>
                  <a:schemeClr val="accent3"/>
                </a:solidFill>
              </a:rPr>
              <a:t>www.gavi.org</a:t>
            </a:r>
          </a:p>
        </p:txBody>
      </p:sp>
      <p:sp>
        <p:nvSpPr>
          <p:cNvPr id="19" name="Rectangle 18"/>
          <p:cNvSpPr/>
          <p:nvPr userDrawn="1"/>
        </p:nvSpPr>
        <p:spPr bwMode="gray">
          <a:xfrm>
            <a:off x="468313" y="3391895"/>
            <a:ext cx="2448000" cy="252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7" name="Espace réservé du texte 16"/>
          <p:cNvSpPr>
            <a:spLocks noGrp="1"/>
          </p:cNvSpPr>
          <p:nvPr>
            <p:ph type="body" sz="quarter" idx="20" hasCustomPrompt="1"/>
          </p:nvPr>
        </p:nvSpPr>
        <p:spPr bwMode="gray">
          <a:xfrm>
            <a:off x="0" y="5157788"/>
            <a:ext cx="9144000" cy="287337"/>
          </a:xfrm>
          <a:solidFill>
            <a:schemeClr val="bg1"/>
          </a:solidFill>
        </p:spPr>
        <p:txBody>
          <a:bodyPr/>
          <a:lstStyle>
            <a:lvl1pPr>
              <a:defRPr sz="100" b="0">
                <a:solidFill>
                  <a:schemeClr val="bg1">
                    <a:alpha val="0"/>
                  </a:schemeClr>
                </a:solidFill>
              </a:defRPr>
            </a:lvl1pPr>
          </a:lstStyle>
          <a:p>
            <a:pPr lvl="0"/>
            <a:r>
              <a:rPr lang="en-US" noProof="0"/>
              <a:t> </a:t>
            </a:r>
          </a:p>
        </p:txBody>
      </p:sp>
    </p:spTree>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Thank_you_2">
    <p:spTree>
      <p:nvGrpSpPr>
        <p:cNvPr id="1" name=""/>
        <p:cNvGrpSpPr/>
        <p:nvPr/>
      </p:nvGrpSpPr>
      <p:grpSpPr>
        <a:xfrm>
          <a:off x="0" y="0"/>
          <a:ext cx="0" cy="0"/>
          <a:chOff x="0" y="0"/>
          <a:chExt cx="0" cy="0"/>
        </a:xfrm>
      </p:grpSpPr>
      <p:sp>
        <p:nvSpPr>
          <p:cNvPr id="5" name="Rectangle 4"/>
          <p:cNvSpPr/>
          <p:nvPr userDrawn="1"/>
        </p:nvSpPr>
        <p:spPr bwMode="gray">
          <a:xfrm>
            <a:off x="3635375" y="5265738"/>
            <a:ext cx="5508625" cy="15922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prstClr val="white"/>
              </a:solidFill>
            </a:endParaRPr>
          </a:p>
        </p:txBody>
      </p:sp>
      <p:pic>
        <p:nvPicPr>
          <p:cNvPr id="6" name="Image 20" descr="FD_1_L254.png"/>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gray">
          <a:xfrm>
            <a:off x="0" y="0"/>
            <a:ext cx="9144000" cy="51577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7" name="Image 19" descr="Bas_couv.png"/>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gray">
          <a:xfrm>
            <a:off x="0" y="5172075"/>
            <a:ext cx="3635375" cy="16859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8" name="Rectangle 7"/>
          <p:cNvSpPr/>
          <p:nvPr userDrawn="1"/>
        </p:nvSpPr>
        <p:spPr bwMode="gray">
          <a:xfrm>
            <a:off x="3635375" y="6354763"/>
            <a:ext cx="5113338" cy="2873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p>
            <a:pPr algn="r">
              <a:defRPr/>
            </a:pPr>
            <a:r>
              <a:rPr lang="en-US" sz="1000" err="1">
                <a:solidFill>
                  <a:srgbClr val="95D600"/>
                </a:solidFill>
              </a:rPr>
              <a:t>www.gavi.org</a:t>
            </a:r>
            <a:endParaRPr lang="en-US" sz="1000">
              <a:solidFill>
                <a:srgbClr val="95D600"/>
              </a:solidFill>
            </a:endParaRPr>
          </a:p>
        </p:txBody>
      </p:sp>
      <p:cxnSp>
        <p:nvCxnSpPr>
          <p:cNvPr id="10" name="Connecteur droit 13"/>
          <p:cNvCxnSpPr/>
          <p:nvPr userDrawn="1"/>
        </p:nvCxnSpPr>
        <p:spPr bwMode="gray">
          <a:xfrm flipH="1">
            <a:off x="468313" y="3402013"/>
            <a:ext cx="2447925" cy="0"/>
          </a:xfrm>
          <a:prstGeom prst="line">
            <a:avLst/>
          </a:prstGeom>
          <a:ln w="24130">
            <a:solidFill>
              <a:schemeClr val="accent1"/>
            </a:solidFill>
          </a:ln>
        </p:spPr>
        <p:style>
          <a:lnRef idx="1">
            <a:schemeClr val="accent1"/>
          </a:lnRef>
          <a:fillRef idx="0">
            <a:schemeClr val="accent1"/>
          </a:fillRef>
          <a:effectRef idx="0">
            <a:schemeClr val="accent1"/>
          </a:effectRef>
          <a:fontRef idx="minor">
            <a:schemeClr val="tx1"/>
          </a:fontRef>
        </p:style>
      </p:cxnSp>
      <p:sp>
        <p:nvSpPr>
          <p:cNvPr id="9" name="Espace réservé du texte 8"/>
          <p:cNvSpPr>
            <a:spLocks noGrp="1"/>
          </p:cNvSpPr>
          <p:nvPr>
            <p:ph type="body" sz="quarter" idx="13"/>
          </p:nvPr>
        </p:nvSpPr>
        <p:spPr bwMode="gray">
          <a:xfrm>
            <a:off x="468314" y="1036800"/>
            <a:ext cx="4824000" cy="2242800"/>
          </a:xfrm>
        </p:spPr>
        <p:txBody>
          <a:bodyPr anchor="b"/>
          <a:lstStyle>
            <a:lvl1pPr marL="0" indent="0" algn="l">
              <a:lnSpc>
                <a:spcPct val="90000"/>
              </a:lnSpc>
              <a:buNone/>
              <a:defRPr sz="2800" b="1" cap="none" baseline="0">
                <a:solidFill>
                  <a:schemeClr val="bg1"/>
                </a:solidFill>
              </a:defRPr>
            </a:lvl1pPr>
            <a:lvl2pPr marL="0" algn="ctr">
              <a:lnSpc>
                <a:spcPct val="100000"/>
              </a:lnSpc>
              <a:spcBef>
                <a:spcPts val="6900"/>
              </a:spcBef>
              <a:defRPr sz="2000" b="1">
                <a:solidFill>
                  <a:schemeClr val="bg1"/>
                </a:solidFill>
              </a:defRPr>
            </a:lvl2pPr>
          </a:lstStyle>
          <a:p>
            <a:pPr lvl="0"/>
            <a:r>
              <a:rPr lang="en-US" noProof="0"/>
              <a:t>Click to edit Master text styles</a:t>
            </a:r>
          </a:p>
        </p:txBody>
      </p:sp>
      <p:sp>
        <p:nvSpPr>
          <p:cNvPr id="15" name="Espace réservé du texte 14"/>
          <p:cNvSpPr>
            <a:spLocks noGrp="1"/>
          </p:cNvSpPr>
          <p:nvPr>
            <p:ph type="body" sz="quarter" idx="19"/>
          </p:nvPr>
        </p:nvSpPr>
        <p:spPr bwMode="gray">
          <a:xfrm>
            <a:off x="3635376" y="6021388"/>
            <a:ext cx="5113338" cy="324000"/>
          </a:xfrm>
        </p:spPr>
        <p:txBody>
          <a:bodyPr anchor="b"/>
          <a:lstStyle>
            <a:lvl1pPr algn="r">
              <a:lnSpc>
                <a:spcPct val="100000"/>
              </a:lnSpc>
              <a:defRPr sz="1000" b="1">
                <a:solidFill>
                  <a:schemeClr val="accent3"/>
                </a:solidFill>
              </a:defRPr>
            </a:lvl1pPr>
          </a:lstStyle>
          <a:p>
            <a:pPr lvl="0"/>
            <a:r>
              <a:rPr lang="en-US" noProof="0"/>
              <a:t>Click to edit Master text styles</a:t>
            </a:r>
          </a:p>
        </p:txBody>
      </p:sp>
      <p:sp>
        <p:nvSpPr>
          <p:cNvPr id="13" name="Espace réservé pour une image  17"/>
          <p:cNvSpPr>
            <a:spLocks noGrp="1"/>
          </p:cNvSpPr>
          <p:nvPr>
            <p:ph type="pic" sz="quarter" idx="18"/>
          </p:nvPr>
        </p:nvSpPr>
        <p:spPr bwMode="gray">
          <a:xfrm>
            <a:off x="4192588" y="0"/>
            <a:ext cx="4951412" cy="5162400"/>
          </a:xfrm>
          <a:custGeom>
            <a:avLst/>
            <a:gdLst>
              <a:gd name="connsiteX0" fmla="*/ 0 w 3851275"/>
              <a:gd name="connsiteY0" fmla="*/ 0 h 5157788"/>
              <a:gd name="connsiteX1" fmla="*/ 3851275 w 3851275"/>
              <a:gd name="connsiteY1" fmla="*/ 0 h 5157788"/>
              <a:gd name="connsiteX2" fmla="*/ 3851275 w 3851275"/>
              <a:gd name="connsiteY2" fmla="*/ 5157788 h 5157788"/>
              <a:gd name="connsiteX3" fmla="*/ 0 w 3851275"/>
              <a:gd name="connsiteY3" fmla="*/ 5157788 h 5157788"/>
              <a:gd name="connsiteX4" fmla="*/ 0 w 3851275"/>
              <a:gd name="connsiteY4"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0 w 3851275"/>
              <a:gd name="connsiteY3" fmla="*/ 5157788 h 5157788"/>
              <a:gd name="connsiteX4" fmla="*/ 1692275 w 3851275"/>
              <a:gd name="connsiteY4" fmla="*/ 0 h 5157788"/>
              <a:gd name="connsiteX0" fmla="*/ 0 w 2159000"/>
              <a:gd name="connsiteY0" fmla="*/ 0 h 5157788"/>
              <a:gd name="connsiteX1" fmla="*/ 2159000 w 2159000"/>
              <a:gd name="connsiteY1" fmla="*/ 0 h 5157788"/>
              <a:gd name="connsiteX2" fmla="*/ 2159000 w 2159000"/>
              <a:gd name="connsiteY2" fmla="*/ 5157788 h 5157788"/>
              <a:gd name="connsiteX3" fmla="*/ 0 w 2159000"/>
              <a:gd name="connsiteY3" fmla="*/ 5157788 h 5157788"/>
              <a:gd name="connsiteX4" fmla="*/ 0 w 2159000"/>
              <a:gd name="connsiteY4" fmla="*/ 0 h 5157788"/>
              <a:gd name="connsiteX0" fmla="*/ 2625271 w 4784271"/>
              <a:gd name="connsiteY0" fmla="*/ 0 h 5157788"/>
              <a:gd name="connsiteX1" fmla="*/ 4784271 w 4784271"/>
              <a:gd name="connsiteY1" fmla="*/ 0 h 5157788"/>
              <a:gd name="connsiteX2" fmla="*/ 4784271 w 4784271"/>
              <a:gd name="connsiteY2" fmla="*/ 5157788 h 5157788"/>
              <a:gd name="connsiteX3" fmla="*/ 2625271 w 4784271"/>
              <a:gd name="connsiteY3" fmla="*/ 5157788 h 5157788"/>
              <a:gd name="connsiteX4" fmla="*/ 2625271 w 4784271"/>
              <a:gd name="connsiteY4" fmla="*/ 0 h 5157788"/>
              <a:gd name="connsiteX0" fmla="*/ 2625271 w 4784271"/>
              <a:gd name="connsiteY0" fmla="*/ 0 h 5157788"/>
              <a:gd name="connsiteX1" fmla="*/ 4784271 w 4784271"/>
              <a:gd name="connsiteY1" fmla="*/ 0 h 5157788"/>
              <a:gd name="connsiteX2" fmla="*/ 4784271 w 4784271"/>
              <a:gd name="connsiteY2" fmla="*/ 5157788 h 5157788"/>
              <a:gd name="connsiteX3" fmla="*/ 2625271 w 4784271"/>
              <a:gd name="connsiteY3" fmla="*/ 5157788 h 5157788"/>
              <a:gd name="connsiteX4" fmla="*/ 2625271 w 4784271"/>
              <a:gd name="connsiteY4" fmla="*/ 0 h 5157788"/>
              <a:gd name="connsiteX0" fmla="*/ 3568576 w 5727576"/>
              <a:gd name="connsiteY0" fmla="*/ 0 h 5157788"/>
              <a:gd name="connsiteX1" fmla="*/ 5727576 w 5727576"/>
              <a:gd name="connsiteY1" fmla="*/ 0 h 5157788"/>
              <a:gd name="connsiteX2" fmla="*/ 5727576 w 5727576"/>
              <a:gd name="connsiteY2" fmla="*/ 5157788 h 5157788"/>
              <a:gd name="connsiteX3" fmla="*/ 3568576 w 5727576"/>
              <a:gd name="connsiteY3" fmla="*/ 5157788 h 5157788"/>
              <a:gd name="connsiteX4" fmla="*/ 3568576 w 5727576"/>
              <a:gd name="connsiteY4" fmla="*/ 0 h 5157788"/>
              <a:gd name="connsiteX0" fmla="*/ 3306355 w 5465355"/>
              <a:gd name="connsiteY0" fmla="*/ 0 h 5157788"/>
              <a:gd name="connsiteX1" fmla="*/ 5465355 w 5465355"/>
              <a:gd name="connsiteY1" fmla="*/ 0 h 5157788"/>
              <a:gd name="connsiteX2" fmla="*/ 5465355 w 5465355"/>
              <a:gd name="connsiteY2" fmla="*/ 5157788 h 5157788"/>
              <a:gd name="connsiteX3" fmla="*/ 3306355 w 5465355"/>
              <a:gd name="connsiteY3" fmla="*/ 5157788 h 5157788"/>
              <a:gd name="connsiteX4" fmla="*/ 3306355 w 5465355"/>
              <a:gd name="connsiteY4" fmla="*/ 0 h 5157788"/>
              <a:gd name="connsiteX0" fmla="*/ 1416957 w 3575957"/>
              <a:gd name="connsiteY0" fmla="*/ 0 h 5157788"/>
              <a:gd name="connsiteX1" fmla="*/ 3575957 w 3575957"/>
              <a:gd name="connsiteY1" fmla="*/ 0 h 5157788"/>
              <a:gd name="connsiteX2" fmla="*/ 3575957 w 3575957"/>
              <a:gd name="connsiteY2" fmla="*/ 5157788 h 5157788"/>
              <a:gd name="connsiteX3" fmla="*/ 1416957 w 3575957"/>
              <a:gd name="connsiteY3" fmla="*/ 5157788 h 5157788"/>
              <a:gd name="connsiteX4" fmla="*/ 0 w 3575957"/>
              <a:gd name="connsiteY4" fmla="*/ 3339193 h 5157788"/>
              <a:gd name="connsiteX5" fmla="*/ 1416957 w 3575957"/>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6017419"/>
              <a:gd name="connsiteX1" fmla="*/ 3851275 w 3851275"/>
              <a:gd name="connsiteY1" fmla="*/ 0 h 6017419"/>
              <a:gd name="connsiteX2" fmla="*/ 3851275 w 3851275"/>
              <a:gd name="connsiteY2" fmla="*/ 5157788 h 6017419"/>
              <a:gd name="connsiteX3" fmla="*/ 1692275 w 3851275"/>
              <a:gd name="connsiteY3" fmla="*/ 5157788 h 6017419"/>
              <a:gd name="connsiteX4" fmla="*/ 0 w 3851275"/>
              <a:gd name="connsiteY4" fmla="*/ 3284984 h 6017419"/>
              <a:gd name="connsiteX5" fmla="*/ 1692275 w 3851275"/>
              <a:gd name="connsiteY5" fmla="*/ 0 h 6017419"/>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429000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429000 h 5157788"/>
              <a:gd name="connsiteX5" fmla="*/ 1710871 w 3869871"/>
              <a:gd name="connsiteY5" fmla="*/ 0 h 5157788"/>
              <a:gd name="connsiteX0" fmla="*/ 1704975 w 3863975"/>
              <a:gd name="connsiteY0" fmla="*/ 0 h 5157788"/>
              <a:gd name="connsiteX1" fmla="*/ 3863975 w 3863975"/>
              <a:gd name="connsiteY1" fmla="*/ 0 h 5157788"/>
              <a:gd name="connsiteX2" fmla="*/ 3863975 w 3863975"/>
              <a:gd name="connsiteY2" fmla="*/ 5157788 h 5157788"/>
              <a:gd name="connsiteX3" fmla="*/ 1704975 w 3863975"/>
              <a:gd name="connsiteY3" fmla="*/ 5157788 h 5157788"/>
              <a:gd name="connsiteX4" fmla="*/ 12700 w 3863975"/>
              <a:gd name="connsiteY4" fmla="*/ 3429000 h 5157788"/>
              <a:gd name="connsiteX5" fmla="*/ 1704975 w 3863975"/>
              <a:gd name="connsiteY5" fmla="*/ 0 h 5157788"/>
              <a:gd name="connsiteX0" fmla="*/ 1707243 w 3866243"/>
              <a:gd name="connsiteY0" fmla="*/ 0 h 5157788"/>
              <a:gd name="connsiteX1" fmla="*/ 3866243 w 3866243"/>
              <a:gd name="connsiteY1" fmla="*/ 0 h 5157788"/>
              <a:gd name="connsiteX2" fmla="*/ 3866243 w 3866243"/>
              <a:gd name="connsiteY2" fmla="*/ 5157788 h 5157788"/>
              <a:gd name="connsiteX3" fmla="*/ 1707243 w 3866243"/>
              <a:gd name="connsiteY3" fmla="*/ 5157788 h 5157788"/>
              <a:gd name="connsiteX4" fmla="*/ 14968 w 3866243"/>
              <a:gd name="connsiteY4" fmla="*/ 3429000 h 5157788"/>
              <a:gd name="connsiteX5" fmla="*/ 1707243 w 3866243"/>
              <a:gd name="connsiteY5" fmla="*/ 0 h 5157788"/>
              <a:gd name="connsiteX0" fmla="*/ 1130447 w 3866243"/>
              <a:gd name="connsiteY0" fmla="*/ 0 h 5157788"/>
              <a:gd name="connsiteX1" fmla="*/ 3866243 w 3866243"/>
              <a:gd name="connsiteY1" fmla="*/ 0 h 5157788"/>
              <a:gd name="connsiteX2" fmla="*/ 3866243 w 3866243"/>
              <a:gd name="connsiteY2" fmla="*/ 5157788 h 5157788"/>
              <a:gd name="connsiteX3" fmla="*/ 1707243 w 3866243"/>
              <a:gd name="connsiteY3" fmla="*/ 5157788 h 5157788"/>
              <a:gd name="connsiteX4" fmla="*/ 14968 w 3866243"/>
              <a:gd name="connsiteY4" fmla="*/ 3429000 h 5157788"/>
              <a:gd name="connsiteX5" fmla="*/ 1130447 w 3866243"/>
              <a:gd name="connsiteY5" fmla="*/ 0 h 5157788"/>
              <a:gd name="connsiteX0" fmla="*/ 2746143 w 5481939"/>
              <a:gd name="connsiteY0" fmla="*/ 0 h 5157788"/>
              <a:gd name="connsiteX1" fmla="*/ 5481939 w 5481939"/>
              <a:gd name="connsiteY1" fmla="*/ 0 h 5157788"/>
              <a:gd name="connsiteX2" fmla="*/ 5481939 w 5481939"/>
              <a:gd name="connsiteY2" fmla="*/ 5157788 h 5157788"/>
              <a:gd name="connsiteX3" fmla="*/ 585903 w 5481939"/>
              <a:gd name="connsiteY3" fmla="*/ 5153180 h 5157788"/>
              <a:gd name="connsiteX4" fmla="*/ 1630664 w 5481939"/>
              <a:gd name="connsiteY4" fmla="*/ 3429000 h 5157788"/>
              <a:gd name="connsiteX5" fmla="*/ 2746143 w 5481939"/>
              <a:gd name="connsiteY5" fmla="*/ 0 h 5157788"/>
              <a:gd name="connsiteX0" fmla="*/ 2746143 w 5481939"/>
              <a:gd name="connsiteY0" fmla="*/ 0 h 5157788"/>
              <a:gd name="connsiteX1" fmla="*/ 5481939 w 5481939"/>
              <a:gd name="connsiteY1" fmla="*/ 0 h 5157788"/>
              <a:gd name="connsiteX2" fmla="*/ 5481939 w 5481939"/>
              <a:gd name="connsiteY2" fmla="*/ 5157788 h 5157788"/>
              <a:gd name="connsiteX3" fmla="*/ 585903 w 5481939"/>
              <a:gd name="connsiteY3" fmla="*/ 5153180 h 5157788"/>
              <a:gd name="connsiteX4" fmla="*/ 1630664 w 5481939"/>
              <a:gd name="connsiteY4" fmla="*/ 3429000 h 5157788"/>
              <a:gd name="connsiteX5" fmla="*/ 2746143 w 548193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3574235 w 6310031"/>
              <a:gd name="connsiteY0" fmla="*/ 0 h 5157788"/>
              <a:gd name="connsiteX1" fmla="*/ 6310031 w 6310031"/>
              <a:gd name="connsiteY1" fmla="*/ 0 h 5157788"/>
              <a:gd name="connsiteX2" fmla="*/ 6310031 w 6310031"/>
              <a:gd name="connsiteY2" fmla="*/ 5157788 h 5157788"/>
              <a:gd name="connsiteX3" fmla="*/ 585903 w 6310031"/>
              <a:gd name="connsiteY3" fmla="*/ 5153180 h 5157788"/>
              <a:gd name="connsiteX4" fmla="*/ 1738031 w 6310031"/>
              <a:gd name="connsiteY4" fmla="*/ 3389965 h 5157788"/>
              <a:gd name="connsiteX5" fmla="*/ 3574235 w 6310031"/>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296143 w 5724128"/>
              <a:gd name="connsiteY4" fmla="*/ 3461908 h 5157788"/>
              <a:gd name="connsiteX5" fmla="*/ 2988332 w 5724128"/>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1188132 w 5760132"/>
              <a:gd name="connsiteY4" fmla="*/ 3425937 h 5157788"/>
              <a:gd name="connsiteX5" fmla="*/ 3024336 w 5760132"/>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2736304 w 5760132"/>
              <a:gd name="connsiteY4" fmla="*/ 3461908 h 5157788"/>
              <a:gd name="connsiteX5" fmla="*/ 3024336 w 5760132"/>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2736304 w 5760132"/>
              <a:gd name="connsiteY4" fmla="*/ 3461908 h 5157788"/>
              <a:gd name="connsiteX5" fmla="*/ 3024336 w 5760132"/>
              <a:gd name="connsiteY5" fmla="*/ 0 h 5157788"/>
              <a:gd name="connsiteX0" fmla="*/ 2160240 w 4896036"/>
              <a:gd name="connsiteY0" fmla="*/ 0 h 5157788"/>
              <a:gd name="connsiteX1" fmla="*/ 4896036 w 4896036"/>
              <a:gd name="connsiteY1" fmla="*/ 0 h 5157788"/>
              <a:gd name="connsiteX2" fmla="*/ 4896036 w 4896036"/>
              <a:gd name="connsiteY2" fmla="*/ 5157788 h 5157788"/>
              <a:gd name="connsiteX3" fmla="*/ 0 w 4896036"/>
              <a:gd name="connsiteY3" fmla="*/ 5153180 h 5157788"/>
              <a:gd name="connsiteX4" fmla="*/ 1872208 w 4896036"/>
              <a:gd name="connsiteY4" fmla="*/ 3461908 h 5157788"/>
              <a:gd name="connsiteX5" fmla="*/ 2160240 w 4896036"/>
              <a:gd name="connsiteY5" fmla="*/ 0 h 5157788"/>
              <a:gd name="connsiteX0" fmla="*/ 2232248 w 4968044"/>
              <a:gd name="connsiteY0" fmla="*/ 0 h 5157788"/>
              <a:gd name="connsiteX1" fmla="*/ 4968044 w 4968044"/>
              <a:gd name="connsiteY1" fmla="*/ 0 h 5157788"/>
              <a:gd name="connsiteX2" fmla="*/ 4968044 w 4968044"/>
              <a:gd name="connsiteY2" fmla="*/ 5157788 h 5157788"/>
              <a:gd name="connsiteX3" fmla="*/ 0 w 4968044"/>
              <a:gd name="connsiteY3" fmla="*/ 5153180 h 5157788"/>
              <a:gd name="connsiteX4" fmla="*/ 1944216 w 4968044"/>
              <a:gd name="connsiteY4" fmla="*/ 3461908 h 5157788"/>
              <a:gd name="connsiteX5" fmla="*/ 2232248 w 4968044"/>
              <a:gd name="connsiteY5" fmla="*/ 0 h 5157788"/>
              <a:gd name="connsiteX0" fmla="*/ 2207679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207679 w 4943475"/>
              <a:gd name="connsiteY5" fmla="*/ 0 h 5157788"/>
              <a:gd name="connsiteX0" fmla="*/ 2963763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963763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092200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71575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343583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675731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675731 w 4943475"/>
              <a:gd name="connsiteY5" fmla="*/ 0 h 5157788"/>
              <a:gd name="connsiteX0" fmla="*/ 2675731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675731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9672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19672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51412" h="5157788">
                <a:moveTo>
                  <a:pt x="2706687" y="0"/>
                </a:moveTo>
                <a:lnTo>
                  <a:pt x="4951412" y="0"/>
                </a:lnTo>
                <a:lnTo>
                  <a:pt x="4951412" y="5157788"/>
                </a:lnTo>
                <a:lnTo>
                  <a:pt x="0" y="5153180"/>
                </a:lnTo>
                <a:cubicBezTo>
                  <a:pt x="84411" y="4542509"/>
                  <a:pt x="183041" y="4024723"/>
                  <a:pt x="1243508" y="2562613"/>
                </a:cubicBezTo>
                <a:cubicBezTo>
                  <a:pt x="1867447" y="1704780"/>
                  <a:pt x="2665955" y="709265"/>
                  <a:pt x="2706687" y="0"/>
                </a:cubicBezTo>
                <a:close/>
              </a:path>
            </a:pathLst>
          </a:custGeom>
          <a:solidFill>
            <a:schemeClr val="bg2"/>
          </a:solidFill>
          <a:ln w="3175">
            <a:noFill/>
          </a:ln>
        </p:spPr>
        <p:txBody>
          <a:bodyPr tIns="720000" rtlCol="0" anchor="ctr">
            <a:noAutofit/>
          </a:bodyPr>
          <a:lstStyle>
            <a:lvl1pPr algn="ctr">
              <a:defRPr sz="1500">
                <a:solidFill>
                  <a:schemeClr val="bg1"/>
                </a:solidFill>
              </a:defRPr>
            </a:lvl1pPr>
          </a:lstStyle>
          <a:p>
            <a:pPr lvl="0"/>
            <a:r>
              <a:rPr lang="en-US" noProof="0"/>
              <a:t>Click icon to add picture</a:t>
            </a:r>
          </a:p>
        </p:txBody>
      </p:sp>
      <p:sp>
        <p:nvSpPr>
          <p:cNvPr id="11" name="Espace réservé de la date 9"/>
          <p:cNvSpPr>
            <a:spLocks noGrp="1"/>
          </p:cNvSpPr>
          <p:nvPr>
            <p:ph type="dt" sz="half" idx="20"/>
          </p:nvPr>
        </p:nvSpPr>
        <p:spPr/>
        <p:txBody>
          <a:bodyPr/>
          <a:lstStyle>
            <a:lvl1pPr>
              <a:defRPr/>
            </a:lvl1pPr>
          </a:lstStyle>
          <a:p>
            <a:pPr>
              <a:defRPr/>
            </a:pPr>
            <a:r>
              <a:rPr lang="en-US">
                <a:solidFill>
                  <a:prstClr val="white">
                    <a:alpha val="0"/>
                  </a:prstClr>
                </a:solidFill>
              </a:rPr>
              <a:t>Date</a:t>
            </a:r>
          </a:p>
        </p:txBody>
      </p:sp>
      <p:sp>
        <p:nvSpPr>
          <p:cNvPr id="12" name="Espace réservé du numéro de diapositive 10"/>
          <p:cNvSpPr>
            <a:spLocks noGrp="1"/>
          </p:cNvSpPr>
          <p:nvPr>
            <p:ph type="sldNum" sz="quarter" idx="21"/>
          </p:nvPr>
        </p:nvSpPr>
        <p:spPr/>
        <p:txBody>
          <a:bodyPr/>
          <a:lstStyle>
            <a:lvl1pPr>
              <a:defRPr sz="100">
                <a:solidFill>
                  <a:schemeClr val="bg1">
                    <a:alpha val="0"/>
                  </a:schemeClr>
                </a:solidFill>
              </a:defRPr>
            </a:lvl1pPr>
          </a:lstStyle>
          <a:p>
            <a:pPr>
              <a:defRPr/>
            </a:pPr>
            <a:r>
              <a:rPr lang="en-US">
                <a:solidFill>
                  <a:prstClr val="white">
                    <a:alpha val="0"/>
                  </a:prstClr>
                </a:solidFill>
              </a:rPr>
              <a:t>Page: </a:t>
            </a:r>
            <a:fld id="{168EB3F5-198F-4211-80D0-E690EB6CEA77}" type="slidenum">
              <a:rPr lang="en-US">
                <a:solidFill>
                  <a:prstClr val="white">
                    <a:alpha val="0"/>
                  </a:prstClr>
                </a:solidFill>
              </a:rPr>
              <a:pPr>
                <a:defRPr/>
              </a:pPr>
              <a:t>‹#›</a:t>
            </a:fld>
            <a:endParaRPr lang="en-US">
              <a:solidFill>
                <a:prstClr val="white">
                  <a:alpha val="0"/>
                </a:prstClr>
              </a:solidFill>
            </a:endParaRPr>
          </a:p>
        </p:txBody>
      </p:sp>
      <p:sp>
        <p:nvSpPr>
          <p:cNvPr id="14" name="Espace réservé du pied de page 11"/>
          <p:cNvSpPr>
            <a:spLocks noGrp="1"/>
          </p:cNvSpPr>
          <p:nvPr>
            <p:ph type="ftr" sz="quarter" idx="22"/>
          </p:nvPr>
        </p:nvSpPr>
        <p:spPr>
          <a:xfrm>
            <a:off x="468313" y="523875"/>
            <a:ext cx="4824412" cy="360363"/>
          </a:xfrm>
        </p:spPr>
        <p:txBody>
          <a:bodyPr/>
          <a:lstStyle>
            <a:lvl1pPr algn="l">
              <a:defRPr sz="1800" b="0">
                <a:solidFill>
                  <a:schemeClr val="bg1"/>
                </a:solidFill>
              </a:defRPr>
            </a:lvl1pPr>
          </a:lstStyle>
          <a:p>
            <a:pPr>
              <a:defRPr/>
            </a:pPr>
            <a:r>
              <a:rPr lang="en-US">
                <a:solidFill>
                  <a:prstClr val="white"/>
                </a:solidFill>
              </a:rPr>
              <a:t>#</a:t>
            </a:r>
            <a:r>
              <a:rPr lang="en-US" err="1">
                <a:solidFill>
                  <a:prstClr val="white"/>
                </a:solidFill>
              </a:rPr>
              <a:t>vaccineswork</a:t>
            </a:r>
            <a:endParaRPr lang="en-US">
              <a:solidFill>
                <a:prstClr val="white"/>
              </a:solidFill>
            </a:endParaRPr>
          </a:p>
        </p:txBody>
      </p:sp>
    </p:spTree>
    <p:extLst>
      <p:ext uri="{BB962C8B-B14F-4D97-AF65-F5344CB8AC3E}">
        <p14:creationId xmlns:p14="http://schemas.microsoft.com/office/powerpoint/2010/main" val="3458855717"/>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userDrawn="1">
  <p:cSld name="Text and Visual">
    <p:spTree>
      <p:nvGrpSpPr>
        <p:cNvPr id="1" name=""/>
        <p:cNvGrpSpPr/>
        <p:nvPr/>
      </p:nvGrpSpPr>
      <p:grpSpPr>
        <a:xfrm>
          <a:off x="0" y="0"/>
          <a:ext cx="0" cy="0"/>
          <a:chOff x="0" y="0"/>
          <a:chExt cx="0" cy="0"/>
        </a:xfrm>
      </p:grpSpPr>
      <p:sp>
        <p:nvSpPr>
          <p:cNvPr id="2" name="Title 1"/>
          <p:cNvSpPr>
            <a:spLocks noGrp="1"/>
          </p:cNvSpPr>
          <p:nvPr>
            <p:ph type="title"/>
          </p:nvPr>
        </p:nvSpPr>
        <p:spPr>
          <a:xfrm>
            <a:off x="973138" y="225211"/>
            <a:ext cx="7207249" cy="697999"/>
          </a:xfrm>
        </p:spPr>
        <p:txBody>
          <a:bodyPr/>
          <a:lstStyle/>
          <a:p>
            <a:r>
              <a:rPr lang="en-US"/>
              <a:t>Click to edit Master title style</a:t>
            </a:r>
          </a:p>
        </p:txBody>
      </p:sp>
      <p:sp>
        <p:nvSpPr>
          <p:cNvPr id="4" name="Content Placeholder 3"/>
          <p:cNvSpPr>
            <a:spLocks noGrp="1"/>
          </p:cNvSpPr>
          <p:nvPr>
            <p:ph sz="half" idx="2"/>
          </p:nvPr>
        </p:nvSpPr>
        <p:spPr>
          <a:xfrm>
            <a:off x="3425825" y="2302159"/>
            <a:ext cx="4754564" cy="2541673"/>
          </a:xfrm>
        </p:spPr>
        <p:txBody>
          <a:bodyPr/>
          <a:lstStyle>
            <a:lvl1pPr>
              <a:defRPr sz="1600"/>
            </a:lvl1pPr>
            <a:lvl2pPr marL="457200" indent="0">
              <a:buNone/>
              <a:defRPr sz="1600"/>
            </a:lvl2pPr>
            <a:lvl3pPr marL="914400" indent="0">
              <a:buNone/>
              <a:defRPr sz="1600"/>
            </a:lvl3pPr>
            <a:lvl4pPr marL="1371600" indent="0">
              <a:buNone/>
              <a:defRPr sz="1600"/>
            </a:lvl4pPr>
            <a:lvl5pPr marL="1828800" indent="0">
              <a:buNone/>
              <a:defRPr sz="16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p:cNvSpPr>
            <a:spLocks noGrp="1"/>
          </p:cNvSpPr>
          <p:nvPr>
            <p:ph type="pic" sz="quarter" idx="13"/>
          </p:nvPr>
        </p:nvSpPr>
        <p:spPr>
          <a:xfrm>
            <a:off x="973138" y="1247776"/>
            <a:ext cx="2300287" cy="3450384"/>
          </a:xfrm>
        </p:spPr>
        <p:txBody>
          <a:bodyPr rtlCol="0">
            <a:noAutofit/>
          </a:bodyPr>
          <a:lstStyle/>
          <a:p>
            <a:pPr lvl="0"/>
            <a:endParaRPr lang="en-US" noProof="0"/>
          </a:p>
        </p:txBody>
      </p:sp>
      <p:sp>
        <p:nvSpPr>
          <p:cNvPr id="10" name="Content Placeholder 3"/>
          <p:cNvSpPr>
            <a:spLocks noGrp="1"/>
          </p:cNvSpPr>
          <p:nvPr>
            <p:ph sz="half" idx="14"/>
          </p:nvPr>
        </p:nvSpPr>
        <p:spPr>
          <a:xfrm>
            <a:off x="3425825" y="1241426"/>
            <a:ext cx="4754564" cy="879316"/>
          </a:xfrm>
        </p:spPr>
        <p:txBody>
          <a:bodyPr/>
          <a:lstStyle>
            <a:lvl1pPr marL="0" indent="0">
              <a:buNone/>
              <a:defRPr sz="1600">
                <a:solidFill>
                  <a:srgbClr val="005CB9"/>
                </a:solidFill>
              </a:defRPr>
            </a:lvl1pPr>
            <a:lvl2pPr marL="457200" indent="0">
              <a:buNone/>
              <a:defRPr sz="1400">
                <a:solidFill>
                  <a:srgbClr val="005CB9"/>
                </a:solidFill>
              </a:defRPr>
            </a:lvl2pPr>
            <a:lvl3pPr marL="914400" indent="0">
              <a:buNone/>
              <a:defRPr sz="1400">
                <a:solidFill>
                  <a:srgbClr val="005CB9"/>
                </a:solidFill>
              </a:defRPr>
            </a:lvl3pPr>
            <a:lvl4pPr marL="1371600" indent="0">
              <a:buNone/>
              <a:defRPr sz="1400">
                <a:solidFill>
                  <a:srgbClr val="005CB9"/>
                </a:solidFill>
              </a:defRPr>
            </a:lvl4pPr>
            <a:lvl5pPr marL="1828800" indent="0">
              <a:buNone/>
              <a:defRPr sz="1400">
                <a:solidFill>
                  <a:srgbClr val="005CB9"/>
                </a:solidFill>
              </a:defRPr>
            </a:lvl5pPr>
            <a:lvl6pPr>
              <a:defRPr sz="1800"/>
            </a:lvl6pPr>
            <a:lvl7pPr>
              <a:defRPr sz="1800"/>
            </a:lvl7pPr>
            <a:lvl8pPr>
              <a:defRPr sz="1800"/>
            </a:lvl8pPr>
            <a:lvl9pPr>
              <a:defRPr sz="1800"/>
            </a:lvl9pPr>
          </a:lstStyle>
          <a:p>
            <a:pPr lvl="0"/>
            <a:r>
              <a:rPr lang="en-US"/>
              <a:t>Click to edit Master text styles</a:t>
            </a:r>
          </a:p>
        </p:txBody>
      </p:sp>
      <p:sp>
        <p:nvSpPr>
          <p:cNvPr id="6" name="Footer Placeholder 5"/>
          <p:cNvSpPr>
            <a:spLocks noGrp="1"/>
          </p:cNvSpPr>
          <p:nvPr>
            <p:ph type="ftr" sz="quarter" idx="15"/>
          </p:nvPr>
        </p:nvSpPr>
        <p:spPr/>
        <p:txBody>
          <a:bodyPr/>
          <a:lstStyle>
            <a:lvl1pPr>
              <a:defRPr/>
            </a:lvl1pPr>
          </a:lstStyle>
          <a:p>
            <a:pPr>
              <a:defRPr/>
            </a:pPr>
            <a:r>
              <a:rPr lang="en-US">
                <a:solidFill>
                  <a:srgbClr val="005CB9"/>
                </a:solidFill>
              </a:rPr>
              <a:t>Basic facts about </a:t>
            </a:r>
            <a:r>
              <a:rPr lang="en-US" err="1">
                <a:solidFill>
                  <a:srgbClr val="005CB9"/>
                </a:solidFill>
              </a:rPr>
              <a:t>Gavi</a:t>
            </a:r>
            <a:r>
              <a:rPr lang="en-US">
                <a:solidFill>
                  <a:srgbClr val="005CB9"/>
                </a:solidFill>
              </a:rPr>
              <a:t> the Vaccine Alliance</a:t>
            </a:r>
          </a:p>
        </p:txBody>
      </p:sp>
      <p:sp>
        <p:nvSpPr>
          <p:cNvPr id="7" name="Slide Number Placeholder 6"/>
          <p:cNvSpPr>
            <a:spLocks noGrp="1"/>
          </p:cNvSpPr>
          <p:nvPr>
            <p:ph type="sldNum" sz="quarter" idx="16"/>
          </p:nvPr>
        </p:nvSpPr>
        <p:spPr/>
        <p:txBody>
          <a:bodyPr/>
          <a:lstStyle>
            <a:lvl1pPr algn="ctr">
              <a:defRPr/>
            </a:lvl1pPr>
          </a:lstStyle>
          <a:p>
            <a:pPr>
              <a:defRPr/>
            </a:pPr>
            <a:fld id="{FFE8DD00-E6C1-42A5-A44D-4115350A5429}" type="slidenum">
              <a:rPr lang="en-US">
                <a:solidFill>
                  <a:srgbClr val="343434"/>
                </a:solidFill>
              </a:rPr>
              <a:pPr>
                <a:defRPr/>
              </a:pPr>
              <a:t>‹#›</a:t>
            </a:fld>
            <a:endParaRPr lang="en-US">
              <a:solidFill>
                <a:srgbClr val="343434"/>
              </a:solidFill>
            </a:endParaRPr>
          </a:p>
        </p:txBody>
      </p:sp>
    </p:spTree>
    <p:extLst>
      <p:ext uri="{BB962C8B-B14F-4D97-AF65-F5344CB8AC3E}">
        <p14:creationId xmlns:p14="http://schemas.microsoft.com/office/powerpoint/2010/main" val="4089147060"/>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Cover_Blue">
    <p:spTree>
      <p:nvGrpSpPr>
        <p:cNvPr id="1" name=""/>
        <p:cNvGrpSpPr/>
        <p:nvPr/>
      </p:nvGrpSpPr>
      <p:grpSpPr>
        <a:xfrm>
          <a:off x="0" y="0"/>
          <a:ext cx="0" cy="0"/>
          <a:chOff x="0" y="0"/>
          <a:chExt cx="0" cy="0"/>
        </a:xfrm>
      </p:grpSpPr>
      <p:pic>
        <p:nvPicPr>
          <p:cNvPr id="14" name="Image 13" descr="FD_02_bleu.png"/>
          <p:cNvPicPr>
            <a:picLocks noChangeAspect="1"/>
          </p:cNvPicPr>
          <p:nvPr userDrawn="1"/>
        </p:nvPicPr>
        <p:blipFill>
          <a:blip r:embed="rId2" cstate="print"/>
          <a:stretch>
            <a:fillRect/>
          </a:stretch>
        </p:blipFill>
        <p:spPr bwMode="gray">
          <a:xfrm>
            <a:off x="0" y="2"/>
            <a:ext cx="9144000" cy="5157788"/>
          </a:xfrm>
          <a:prstGeom prst="rect">
            <a:avLst/>
          </a:prstGeom>
        </p:spPr>
      </p:pic>
      <p:sp>
        <p:nvSpPr>
          <p:cNvPr id="22" name="Rectangle 21"/>
          <p:cNvSpPr/>
          <p:nvPr userDrawn="1"/>
        </p:nvSpPr>
        <p:spPr bwMode="gray">
          <a:xfrm>
            <a:off x="3635379" y="5265206"/>
            <a:ext cx="5508625" cy="15927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solidFill>
                <a:prstClr val="white"/>
              </a:solidFill>
              <a:sym typeface="Arial"/>
            </a:endParaRPr>
          </a:p>
        </p:txBody>
      </p:sp>
      <p:pic>
        <p:nvPicPr>
          <p:cNvPr id="20" name="Image 19" descr="Bas_couv.png"/>
          <p:cNvPicPr>
            <a:picLocks noChangeAspect="1"/>
          </p:cNvPicPr>
          <p:nvPr userDrawn="1"/>
        </p:nvPicPr>
        <p:blipFill>
          <a:blip r:embed="rId3" cstate="print"/>
          <a:srcRect r="60243" b="722"/>
          <a:stretch>
            <a:fillRect/>
          </a:stretch>
        </p:blipFill>
        <p:spPr bwMode="gray">
          <a:xfrm>
            <a:off x="4" y="5172520"/>
            <a:ext cx="3635375" cy="1685480"/>
          </a:xfrm>
          <a:prstGeom prst="rect">
            <a:avLst/>
          </a:prstGeom>
        </p:spPr>
      </p:pic>
      <p:sp>
        <p:nvSpPr>
          <p:cNvPr id="9" name="Espace réservé du texte 8"/>
          <p:cNvSpPr>
            <a:spLocks noGrp="1"/>
          </p:cNvSpPr>
          <p:nvPr>
            <p:ph type="body" sz="quarter" idx="13" hasCustomPrompt="1"/>
          </p:nvPr>
        </p:nvSpPr>
        <p:spPr bwMode="gray">
          <a:xfrm>
            <a:off x="468314" y="1036800"/>
            <a:ext cx="4824412" cy="2232000"/>
          </a:xfrm>
        </p:spPr>
        <p:txBody>
          <a:bodyPr anchor="b" anchorCtr="0"/>
          <a:lstStyle>
            <a:lvl1pPr marL="0" indent="0" algn="l">
              <a:lnSpc>
                <a:spcPct val="90000"/>
              </a:lnSpc>
              <a:buNone/>
              <a:defRPr sz="2100" b="1" cap="none" baseline="0">
                <a:solidFill>
                  <a:schemeClr val="bg1"/>
                </a:solidFill>
              </a:defRPr>
            </a:lvl1pPr>
            <a:lvl2pPr marL="0" algn="ctr">
              <a:lnSpc>
                <a:spcPct val="100000"/>
              </a:lnSpc>
              <a:spcBef>
                <a:spcPts val="5175"/>
              </a:spcBef>
              <a:defRPr sz="1500" b="1">
                <a:solidFill>
                  <a:schemeClr val="bg1"/>
                </a:solidFill>
              </a:defRPr>
            </a:lvl2pPr>
          </a:lstStyle>
          <a:p>
            <a:pPr lvl="0"/>
            <a:r>
              <a:rPr lang="en-GB" noProof="0"/>
              <a:t>TITLE</a:t>
            </a:r>
          </a:p>
        </p:txBody>
      </p:sp>
      <p:sp>
        <p:nvSpPr>
          <p:cNvPr id="8" name="Espace réservé du texte 8"/>
          <p:cNvSpPr>
            <a:spLocks noGrp="1"/>
          </p:cNvSpPr>
          <p:nvPr>
            <p:ph type="body" sz="quarter" idx="14" hasCustomPrompt="1"/>
          </p:nvPr>
        </p:nvSpPr>
        <p:spPr bwMode="gray">
          <a:xfrm>
            <a:off x="468318" y="3585600"/>
            <a:ext cx="4824411" cy="1479600"/>
          </a:xfrm>
        </p:spPr>
        <p:txBody>
          <a:bodyPr anchor="t" anchorCtr="0"/>
          <a:lstStyle>
            <a:lvl1pPr marL="0" indent="0" algn="l">
              <a:lnSpc>
                <a:spcPct val="90000"/>
              </a:lnSpc>
              <a:buNone/>
              <a:defRPr sz="1500" b="0" baseline="0">
                <a:solidFill>
                  <a:schemeClr val="bg1"/>
                </a:solidFill>
              </a:defRPr>
            </a:lvl1pPr>
            <a:lvl2pPr marL="0" algn="ctr">
              <a:lnSpc>
                <a:spcPct val="100000"/>
              </a:lnSpc>
              <a:spcBef>
                <a:spcPts val="5175"/>
              </a:spcBef>
              <a:defRPr sz="1500" b="1">
                <a:solidFill>
                  <a:schemeClr val="bg1"/>
                </a:solidFill>
              </a:defRPr>
            </a:lvl2pPr>
          </a:lstStyle>
          <a:p>
            <a:pPr lvl="0"/>
            <a:r>
              <a:rPr lang="en-GB" noProof="0"/>
              <a:t>SUBTITLE</a:t>
            </a:r>
          </a:p>
        </p:txBody>
      </p:sp>
      <p:sp>
        <p:nvSpPr>
          <p:cNvPr id="10" name="Espace réservé de la date 9"/>
          <p:cNvSpPr>
            <a:spLocks noGrp="1"/>
          </p:cNvSpPr>
          <p:nvPr>
            <p:ph type="dt" sz="half" idx="15"/>
          </p:nvPr>
        </p:nvSpPr>
        <p:spPr bwMode="gray"/>
        <p:txBody>
          <a:bodyPr/>
          <a:lstStyle/>
          <a:p>
            <a:r>
              <a:rPr lang="en-GB">
                <a:solidFill>
                  <a:prstClr val="white">
                    <a:alpha val="0"/>
                  </a:prstClr>
                </a:solidFill>
              </a:rPr>
              <a:t>Date</a:t>
            </a:r>
          </a:p>
        </p:txBody>
      </p:sp>
      <p:sp>
        <p:nvSpPr>
          <p:cNvPr id="11" name="Espace réservé du numéro de diapositive 10"/>
          <p:cNvSpPr>
            <a:spLocks noGrp="1"/>
          </p:cNvSpPr>
          <p:nvPr>
            <p:ph type="sldNum" sz="quarter" idx="16"/>
          </p:nvPr>
        </p:nvSpPr>
        <p:spPr bwMode="gray"/>
        <p:txBody>
          <a:bodyPr/>
          <a:lstStyle>
            <a:lvl1pPr>
              <a:defRPr sz="100">
                <a:solidFill>
                  <a:schemeClr val="bg1">
                    <a:alpha val="0"/>
                  </a:schemeClr>
                </a:solidFill>
              </a:defRPr>
            </a:lvl1pPr>
          </a:lstStyle>
          <a:p>
            <a:r>
              <a:rPr lang="en-GB">
                <a:solidFill>
                  <a:prstClr val="white">
                    <a:alpha val="0"/>
                  </a:prstClr>
                </a:solidFill>
              </a:rPr>
              <a:t>Page: </a:t>
            </a:r>
            <a:fld id="{733122C9-A0B9-462F-8757-0847AD287B63}" type="slidenum">
              <a:rPr lang="en-GB" smtClean="0">
                <a:solidFill>
                  <a:prstClr val="white">
                    <a:alpha val="0"/>
                  </a:prstClr>
                </a:solidFill>
              </a:rPr>
              <a:pPr/>
              <a:t>‹#›</a:t>
            </a:fld>
            <a:endParaRPr lang="en-GB">
              <a:solidFill>
                <a:prstClr val="white">
                  <a:alpha val="0"/>
                </a:prstClr>
              </a:solidFill>
            </a:endParaRPr>
          </a:p>
        </p:txBody>
      </p:sp>
      <p:sp>
        <p:nvSpPr>
          <p:cNvPr id="12" name="Espace réservé du pied de page 11"/>
          <p:cNvSpPr>
            <a:spLocks noGrp="1"/>
          </p:cNvSpPr>
          <p:nvPr>
            <p:ph type="ftr" sz="quarter" idx="17"/>
          </p:nvPr>
        </p:nvSpPr>
        <p:spPr bwMode="gray">
          <a:xfrm>
            <a:off x="468316" y="524188"/>
            <a:ext cx="4824413" cy="360000"/>
          </a:xfrm>
          <a:prstGeom prst="rect">
            <a:avLst/>
          </a:prstGeom>
        </p:spPr>
        <p:txBody>
          <a:bodyPr/>
          <a:lstStyle>
            <a:lvl1pPr algn="l">
              <a:defRPr sz="1350" b="0">
                <a:solidFill>
                  <a:schemeClr val="bg1"/>
                </a:solidFill>
              </a:defRPr>
            </a:lvl1pPr>
          </a:lstStyle>
          <a:p>
            <a:r>
              <a:rPr lang="en-GB" kern="0">
                <a:solidFill>
                  <a:prstClr val="white"/>
                </a:solidFill>
                <a:cs typeface="Arial"/>
                <a:sym typeface="Arial"/>
              </a:rPr>
              <a:t>#add your hashtag</a:t>
            </a:r>
          </a:p>
        </p:txBody>
      </p:sp>
      <p:sp>
        <p:nvSpPr>
          <p:cNvPr id="15" name="Espace réservé du texte 14"/>
          <p:cNvSpPr>
            <a:spLocks noGrp="1"/>
          </p:cNvSpPr>
          <p:nvPr>
            <p:ph type="body" sz="quarter" idx="19" hasCustomPrompt="1"/>
          </p:nvPr>
        </p:nvSpPr>
        <p:spPr bwMode="gray">
          <a:xfrm>
            <a:off x="3635376" y="6021388"/>
            <a:ext cx="5113338" cy="324000"/>
          </a:xfrm>
        </p:spPr>
        <p:txBody>
          <a:bodyPr anchor="b" anchorCtr="0"/>
          <a:lstStyle>
            <a:lvl1pPr algn="r">
              <a:lnSpc>
                <a:spcPct val="100000"/>
              </a:lnSpc>
              <a:defRPr sz="750" b="1">
                <a:solidFill>
                  <a:schemeClr val="accent2"/>
                </a:solidFill>
              </a:defRPr>
            </a:lvl1pPr>
          </a:lstStyle>
          <a:p>
            <a:pPr lvl="0"/>
            <a:r>
              <a:rPr lang="en-GB" noProof="0"/>
              <a:t>Write your claim here</a:t>
            </a:r>
          </a:p>
        </p:txBody>
      </p:sp>
      <p:sp>
        <p:nvSpPr>
          <p:cNvPr id="16" name="Rectangle 15"/>
          <p:cNvSpPr/>
          <p:nvPr userDrawn="1"/>
        </p:nvSpPr>
        <p:spPr bwMode="gray">
          <a:xfrm>
            <a:off x="3635375" y="6354204"/>
            <a:ext cx="5113338" cy="2872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r"/>
            <a:r>
              <a:rPr lang="en-GB" sz="750">
                <a:solidFill>
                  <a:srgbClr val="95D600"/>
                </a:solidFill>
                <a:sym typeface="Arial"/>
              </a:rPr>
              <a:t>www.gavi.org</a:t>
            </a:r>
          </a:p>
        </p:txBody>
      </p:sp>
      <p:sp>
        <p:nvSpPr>
          <p:cNvPr id="18" name="Rectangle 17"/>
          <p:cNvSpPr/>
          <p:nvPr userDrawn="1"/>
        </p:nvSpPr>
        <p:spPr bwMode="gray">
          <a:xfrm>
            <a:off x="468313" y="3391895"/>
            <a:ext cx="2448000" cy="252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solidFill>
                <a:prstClr val="white"/>
              </a:solidFill>
              <a:sym typeface="Arial"/>
            </a:endParaRPr>
          </a:p>
        </p:txBody>
      </p:sp>
    </p:spTree>
    <p:extLst>
      <p:ext uri="{BB962C8B-B14F-4D97-AF65-F5344CB8AC3E}">
        <p14:creationId xmlns:p14="http://schemas.microsoft.com/office/powerpoint/2010/main" val="26327652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Cover_Picture_2">
    <p:spTree>
      <p:nvGrpSpPr>
        <p:cNvPr id="1" name=""/>
        <p:cNvGrpSpPr/>
        <p:nvPr/>
      </p:nvGrpSpPr>
      <p:grpSpPr>
        <a:xfrm>
          <a:off x="0" y="0"/>
          <a:ext cx="0" cy="0"/>
          <a:chOff x="0" y="0"/>
          <a:chExt cx="0" cy="0"/>
        </a:xfrm>
      </p:grpSpPr>
      <p:pic>
        <p:nvPicPr>
          <p:cNvPr id="21" name="Image 20" descr="FD_1_L254.png"/>
          <p:cNvPicPr>
            <a:picLocks noChangeAspect="1"/>
          </p:cNvPicPr>
          <p:nvPr userDrawn="1"/>
        </p:nvPicPr>
        <p:blipFill>
          <a:blip r:embed="rId2" cstate="print"/>
          <a:stretch>
            <a:fillRect/>
          </a:stretch>
        </p:blipFill>
        <p:spPr bwMode="gray">
          <a:xfrm>
            <a:off x="2" y="2"/>
            <a:ext cx="7432434" cy="5157788"/>
          </a:xfrm>
          <a:prstGeom prst="rect">
            <a:avLst/>
          </a:prstGeom>
        </p:spPr>
      </p:pic>
      <p:sp>
        <p:nvSpPr>
          <p:cNvPr id="22" name="Rectangle 21"/>
          <p:cNvSpPr/>
          <p:nvPr userDrawn="1"/>
        </p:nvSpPr>
        <p:spPr bwMode="gray">
          <a:xfrm>
            <a:off x="3635379" y="5265206"/>
            <a:ext cx="5508625" cy="15927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solidFill>
                <a:prstClr val="white"/>
              </a:solidFill>
              <a:sym typeface="Arial"/>
            </a:endParaRPr>
          </a:p>
        </p:txBody>
      </p:sp>
      <p:pic>
        <p:nvPicPr>
          <p:cNvPr id="20" name="Image 19" descr="Bas_couv.png"/>
          <p:cNvPicPr>
            <a:picLocks noChangeAspect="1"/>
          </p:cNvPicPr>
          <p:nvPr userDrawn="1"/>
        </p:nvPicPr>
        <p:blipFill>
          <a:blip r:embed="rId3" cstate="print"/>
          <a:srcRect r="60243" b="722"/>
          <a:stretch>
            <a:fillRect/>
          </a:stretch>
        </p:blipFill>
        <p:spPr bwMode="gray">
          <a:xfrm>
            <a:off x="4" y="5172520"/>
            <a:ext cx="3635375" cy="1685480"/>
          </a:xfrm>
          <a:prstGeom prst="rect">
            <a:avLst/>
          </a:prstGeom>
        </p:spPr>
      </p:pic>
      <p:sp>
        <p:nvSpPr>
          <p:cNvPr id="9" name="Espace réservé du texte 8"/>
          <p:cNvSpPr>
            <a:spLocks noGrp="1"/>
          </p:cNvSpPr>
          <p:nvPr>
            <p:ph type="body" sz="quarter" idx="13" hasCustomPrompt="1"/>
          </p:nvPr>
        </p:nvSpPr>
        <p:spPr bwMode="gray">
          <a:xfrm>
            <a:off x="468000" y="1036800"/>
            <a:ext cx="4824412" cy="2232000"/>
          </a:xfrm>
        </p:spPr>
        <p:txBody>
          <a:bodyPr anchor="b" anchorCtr="0"/>
          <a:lstStyle>
            <a:lvl1pPr marL="0" indent="0" algn="l">
              <a:lnSpc>
                <a:spcPct val="90000"/>
              </a:lnSpc>
              <a:buNone/>
              <a:defRPr sz="2100" b="1" cap="none" baseline="0">
                <a:solidFill>
                  <a:schemeClr val="bg1"/>
                </a:solidFill>
              </a:defRPr>
            </a:lvl1pPr>
            <a:lvl2pPr marL="0" algn="ctr">
              <a:lnSpc>
                <a:spcPct val="100000"/>
              </a:lnSpc>
              <a:spcBef>
                <a:spcPts val="5175"/>
              </a:spcBef>
              <a:defRPr sz="1500" b="1">
                <a:solidFill>
                  <a:schemeClr val="bg1"/>
                </a:solidFill>
              </a:defRPr>
            </a:lvl2pPr>
          </a:lstStyle>
          <a:p>
            <a:pPr lvl="0"/>
            <a:r>
              <a:rPr lang="en-GB" noProof="0"/>
              <a:t>TITLE</a:t>
            </a:r>
          </a:p>
        </p:txBody>
      </p:sp>
      <p:sp>
        <p:nvSpPr>
          <p:cNvPr id="8" name="Espace réservé du texte 8"/>
          <p:cNvSpPr>
            <a:spLocks noGrp="1"/>
          </p:cNvSpPr>
          <p:nvPr>
            <p:ph type="body" sz="quarter" idx="14" hasCustomPrompt="1"/>
          </p:nvPr>
        </p:nvSpPr>
        <p:spPr bwMode="gray">
          <a:xfrm>
            <a:off x="468314" y="3585600"/>
            <a:ext cx="3592800" cy="1479600"/>
          </a:xfrm>
        </p:spPr>
        <p:txBody>
          <a:bodyPr anchor="t" anchorCtr="0"/>
          <a:lstStyle>
            <a:lvl1pPr marL="0" indent="0" algn="l">
              <a:lnSpc>
                <a:spcPct val="90000"/>
              </a:lnSpc>
              <a:buNone/>
              <a:defRPr sz="1500" b="0" baseline="0">
                <a:solidFill>
                  <a:schemeClr val="bg1"/>
                </a:solidFill>
              </a:defRPr>
            </a:lvl1pPr>
            <a:lvl2pPr marL="0" algn="ctr">
              <a:lnSpc>
                <a:spcPct val="100000"/>
              </a:lnSpc>
              <a:spcBef>
                <a:spcPts val="5175"/>
              </a:spcBef>
              <a:defRPr sz="1500" b="1">
                <a:solidFill>
                  <a:schemeClr val="bg1"/>
                </a:solidFill>
              </a:defRPr>
            </a:lvl2pPr>
          </a:lstStyle>
          <a:p>
            <a:pPr lvl="0"/>
            <a:r>
              <a:rPr lang="en-GB" noProof="0"/>
              <a:t>SUBTITLE</a:t>
            </a:r>
          </a:p>
        </p:txBody>
      </p:sp>
      <p:sp>
        <p:nvSpPr>
          <p:cNvPr id="10" name="Espace réservé de la date 9"/>
          <p:cNvSpPr>
            <a:spLocks noGrp="1"/>
          </p:cNvSpPr>
          <p:nvPr>
            <p:ph type="dt" sz="half" idx="15"/>
          </p:nvPr>
        </p:nvSpPr>
        <p:spPr bwMode="gray"/>
        <p:txBody>
          <a:bodyPr/>
          <a:lstStyle/>
          <a:p>
            <a:r>
              <a:rPr lang="en-GB">
                <a:solidFill>
                  <a:prstClr val="white">
                    <a:alpha val="0"/>
                  </a:prstClr>
                </a:solidFill>
              </a:rPr>
              <a:t>Date</a:t>
            </a:r>
          </a:p>
        </p:txBody>
      </p:sp>
      <p:sp>
        <p:nvSpPr>
          <p:cNvPr id="11" name="Espace réservé du numéro de diapositive 10"/>
          <p:cNvSpPr>
            <a:spLocks noGrp="1"/>
          </p:cNvSpPr>
          <p:nvPr>
            <p:ph type="sldNum" sz="quarter" idx="16"/>
          </p:nvPr>
        </p:nvSpPr>
        <p:spPr bwMode="gray"/>
        <p:txBody>
          <a:bodyPr/>
          <a:lstStyle>
            <a:lvl1pPr>
              <a:defRPr sz="100">
                <a:solidFill>
                  <a:schemeClr val="bg1">
                    <a:alpha val="0"/>
                  </a:schemeClr>
                </a:solidFill>
              </a:defRPr>
            </a:lvl1pPr>
          </a:lstStyle>
          <a:p>
            <a:r>
              <a:rPr lang="en-GB">
                <a:solidFill>
                  <a:prstClr val="white">
                    <a:alpha val="0"/>
                  </a:prstClr>
                </a:solidFill>
              </a:rPr>
              <a:t>Page: </a:t>
            </a:r>
            <a:fld id="{733122C9-A0B9-462F-8757-0847AD287B63}" type="slidenum">
              <a:rPr lang="en-GB" smtClean="0">
                <a:solidFill>
                  <a:prstClr val="white">
                    <a:alpha val="0"/>
                  </a:prstClr>
                </a:solidFill>
              </a:rPr>
              <a:pPr/>
              <a:t>‹#›</a:t>
            </a:fld>
            <a:endParaRPr lang="en-GB">
              <a:solidFill>
                <a:prstClr val="white">
                  <a:alpha val="0"/>
                </a:prstClr>
              </a:solidFill>
            </a:endParaRPr>
          </a:p>
        </p:txBody>
      </p:sp>
      <p:sp>
        <p:nvSpPr>
          <p:cNvPr id="12" name="Espace réservé du pied de page 11"/>
          <p:cNvSpPr>
            <a:spLocks noGrp="1"/>
          </p:cNvSpPr>
          <p:nvPr>
            <p:ph type="ftr" sz="quarter" idx="17"/>
          </p:nvPr>
        </p:nvSpPr>
        <p:spPr bwMode="gray">
          <a:xfrm>
            <a:off x="468316" y="524188"/>
            <a:ext cx="4824413" cy="360000"/>
          </a:xfrm>
          <a:prstGeom prst="rect">
            <a:avLst/>
          </a:prstGeom>
        </p:spPr>
        <p:txBody>
          <a:bodyPr/>
          <a:lstStyle>
            <a:lvl1pPr algn="l">
              <a:defRPr sz="1350" b="0">
                <a:solidFill>
                  <a:schemeClr val="bg1"/>
                </a:solidFill>
              </a:defRPr>
            </a:lvl1pPr>
          </a:lstStyle>
          <a:p>
            <a:r>
              <a:rPr lang="en-GB" kern="0">
                <a:solidFill>
                  <a:prstClr val="white"/>
                </a:solidFill>
                <a:cs typeface="Arial"/>
                <a:sym typeface="Arial"/>
              </a:rPr>
              <a:t>#add your hashtag</a:t>
            </a:r>
          </a:p>
        </p:txBody>
      </p:sp>
      <p:sp>
        <p:nvSpPr>
          <p:cNvPr id="15" name="Espace réservé du texte 14"/>
          <p:cNvSpPr>
            <a:spLocks noGrp="1"/>
          </p:cNvSpPr>
          <p:nvPr>
            <p:ph type="body" sz="quarter" idx="19" hasCustomPrompt="1"/>
          </p:nvPr>
        </p:nvSpPr>
        <p:spPr bwMode="gray">
          <a:xfrm>
            <a:off x="3635376" y="6021388"/>
            <a:ext cx="5113338" cy="324000"/>
          </a:xfrm>
        </p:spPr>
        <p:txBody>
          <a:bodyPr anchor="b" anchorCtr="0"/>
          <a:lstStyle>
            <a:lvl1pPr algn="r">
              <a:lnSpc>
                <a:spcPct val="100000"/>
              </a:lnSpc>
              <a:defRPr sz="750" b="1">
                <a:solidFill>
                  <a:schemeClr val="accent2"/>
                </a:solidFill>
              </a:defRPr>
            </a:lvl1pPr>
          </a:lstStyle>
          <a:p>
            <a:pPr lvl="0"/>
            <a:r>
              <a:rPr lang="en-GB" noProof="0"/>
              <a:t>Write your claim here</a:t>
            </a:r>
          </a:p>
        </p:txBody>
      </p:sp>
      <p:sp>
        <p:nvSpPr>
          <p:cNvPr id="16" name="Rectangle 15"/>
          <p:cNvSpPr/>
          <p:nvPr userDrawn="1"/>
        </p:nvSpPr>
        <p:spPr bwMode="gray">
          <a:xfrm>
            <a:off x="3635375" y="6354204"/>
            <a:ext cx="5113338" cy="2872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r"/>
            <a:r>
              <a:rPr lang="en-GB" sz="750">
                <a:solidFill>
                  <a:srgbClr val="95D600"/>
                </a:solidFill>
                <a:sym typeface="Arial"/>
              </a:rPr>
              <a:t>www.gavi.org</a:t>
            </a:r>
          </a:p>
        </p:txBody>
      </p:sp>
      <p:sp>
        <p:nvSpPr>
          <p:cNvPr id="17" name="Espace réservé du texte 16"/>
          <p:cNvSpPr>
            <a:spLocks noGrp="1"/>
          </p:cNvSpPr>
          <p:nvPr>
            <p:ph type="body" sz="quarter" idx="20" hasCustomPrompt="1"/>
          </p:nvPr>
        </p:nvSpPr>
        <p:spPr bwMode="gray">
          <a:xfrm>
            <a:off x="0" y="5157790"/>
            <a:ext cx="9144000" cy="287337"/>
          </a:xfrm>
          <a:solidFill>
            <a:schemeClr val="bg1"/>
          </a:solidFill>
        </p:spPr>
        <p:txBody>
          <a:bodyPr/>
          <a:lstStyle>
            <a:lvl1pPr>
              <a:defRPr sz="100" b="0">
                <a:solidFill>
                  <a:schemeClr val="bg1">
                    <a:alpha val="0"/>
                  </a:schemeClr>
                </a:solidFill>
              </a:defRPr>
            </a:lvl1pPr>
          </a:lstStyle>
          <a:p>
            <a:pPr lvl="0"/>
            <a:r>
              <a:rPr lang="en-GB" noProof="0"/>
              <a:t> </a:t>
            </a:r>
          </a:p>
        </p:txBody>
      </p:sp>
      <p:sp>
        <p:nvSpPr>
          <p:cNvPr id="18" name="Espace réservé pour une image  17"/>
          <p:cNvSpPr>
            <a:spLocks noGrp="1"/>
          </p:cNvSpPr>
          <p:nvPr>
            <p:ph type="pic" sz="quarter" idx="18" hasCustomPrompt="1"/>
          </p:nvPr>
        </p:nvSpPr>
        <p:spPr bwMode="gray">
          <a:xfrm>
            <a:off x="4283609" y="0"/>
            <a:ext cx="4860391" cy="5162400"/>
          </a:xfrm>
          <a:custGeom>
            <a:avLst/>
            <a:gdLst>
              <a:gd name="connsiteX0" fmla="*/ 0 w 3851275"/>
              <a:gd name="connsiteY0" fmla="*/ 0 h 5157788"/>
              <a:gd name="connsiteX1" fmla="*/ 3851275 w 3851275"/>
              <a:gd name="connsiteY1" fmla="*/ 0 h 5157788"/>
              <a:gd name="connsiteX2" fmla="*/ 3851275 w 3851275"/>
              <a:gd name="connsiteY2" fmla="*/ 5157788 h 5157788"/>
              <a:gd name="connsiteX3" fmla="*/ 0 w 3851275"/>
              <a:gd name="connsiteY3" fmla="*/ 5157788 h 5157788"/>
              <a:gd name="connsiteX4" fmla="*/ 0 w 3851275"/>
              <a:gd name="connsiteY4"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0 w 3851275"/>
              <a:gd name="connsiteY3" fmla="*/ 5157788 h 5157788"/>
              <a:gd name="connsiteX4" fmla="*/ 1692275 w 3851275"/>
              <a:gd name="connsiteY4" fmla="*/ 0 h 5157788"/>
              <a:gd name="connsiteX0" fmla="*/ 0 w 2159000"/>
              <a:gd name="connsiteY0" fmla="*/ 0 h 5157788"/>
              <a:gd name="connsiteX1" fmla="*/ 2159000 w 2159000"/>
              <a:gd name="connsiteY1" fmla="*/ 0 h 5157788"/>
              <a:gd name="connsiteX2" fmla="*/ 2159000 w 2159000"/>
              <a:gd name="connsiteY2" fmla="*/ 5157788 h 5157788"/>
              <a:gd name="connsiteX3" fmla="*/ 0 w 2159000"/>
              <a:gd name="connsiteY3" fmla="*/ 5157788 h 5157788"/>
              <a:gd name="connsiteX4" fmla="*/ 0 w 2159000"/>
              <a:gd name="connsiteY4" fmla="*/ 0 h 5157788"/>
              <a:gd name="connsiteX0" fmla="*/ 2625271 w 4784271"/>
              <a:gd name="connsiteY0" fmla="*/ 0 h 5157788"/>
              <a:gd name="connsiteX1" fmla="*/ 4784271 w 4784271"/>
              <a:gd name="connsiteY1" fmla="*/ 0 h 5157788"/>
              <a:gd name="connsiteX2" fmla="*/ 4784271 w 4784271"/>
              <a:gd name="connsiteY2" fmla="*/ 5157788 h 5157788"/>
              <a:gd name="connsiteX3" fmla="*/ 2625271 w 4784271"/>
              <a:gd name="connsiteY3" fmla="*/ 5157788 h 5157788"/>
              <a:gd name="connsiteX4" fmla="*/ 2625271 w 4784271"/>
              <a:gd name="connsiteY4" fmla="*/ 0 h 5157788"/>
              <a:gd name="connsiteX0" fmla="*/ 2625271 w 4784271"/>
              <a:gd name="connsiteY0" fmla="*/ 0 h 5157788"/>
              <a:gd name="connsiteX1" fmla="*/ 4784271 w 4784271"/>
              <a:gd name="connsiteY1" fmla="*/ 0 h 5157788"/>
              <a:gd name="connsiteX2" fmla="*/ 4784271 w 4784271"/>
              <a:gd name="connsiteY2" fmla="*/ 5157788 h 5157788"/>
              <a:gd name="connsiteX3" fmla="*/ 2625271 w 4784271"/>
              <a:gd name="connsiteY3" fmla="*/ 5157788 h 5157788"/>
              <a:gd name="connsiteX4" fmla="*/ 2625271 w 4784271"/>
              <a:gd name="connsiteY4" fmla="*/ 0 h 5157788"/>
              <a:gd name="connsiteX0" fmla="*/ 3568576 w 5727576"/>
              <a:gd name="connsiteY0" fmla="*/ 0 h 5157788"/>
              <a:gd name="connsiteX1" fmla="*/ 5727576 w 5727576"/>
              <a:gd name="connsiteY1" fmla="*/ 0 h 5157788"/>
              <a:gd name="connsiteX2" fmla="*/ 5727576 w 5727576"/>
              <a:gd name="connsiteY2" fmla="*/ 5157788 h 5157788"/>
              <a:gd name="connsiteX3" fmla="*/ 3568576 w 5727576"/>
              <a:gd name="connsiteY3" fmla="*/ 5157788 h 5157788"/>
              <a:gd name="connsiteX4" fmla="*/ 3568576 w 5727576"/>
              <a:gd name="connsiteY4" fmla="*/ 0 h 5157788"/>
              <a:gd name="connsiteX0" fmla="*/ 3306355 w 5465355"/>
              <a:gd name="connsiteY0" fmla="*/ 0 h 5157788"/>
              <a:gd name="connsiteX1" fmla="*/ 5465355 w 5465355"/>
              <a:gd name="connsiteY1" fmla="*/ 0 h 5157788"/>
              <a:gd name="connsiteX2" fmla="*/ 5465355 w 5465355"/>
              <a:gd name="connsiteY2" fmla="*/ 5157788 h 5157788"/>
              <a:gd name="connsiteX3" fmla="*/ 3306355 w 5465355"/>
              <a:gd name="connsiteY3" fmla="*/ 5157788 h 5157788"/>
              <a:gd name="connsiteX4" fmla="*/ 3306355 w 5465355"/>
              <a:gd name="connsiteY4" fmla="*/ 0 h 5157788"/>
              <a:gd name="connsiteX0" fmla="*/ 1416957 w 3575957"/>
              <a:gd name="connsiteY0" fmla="*/ 0 h 5157788"/>
              <a:gd name="connsiteX1" fmla="*/ 3575957 w 3575957"/>
              <a:gd name="connsiteY1" fmla="*/ 0 h 5157788"/>
              <a:gd name="connsiteX2" fmla="*/ 3575957 w 3575957"/>
              <a:gd name="connsiteY2" fmla="*/ 5157788 h 5157788"/>
              <a:gd name="connsiteX3" fmla="*/ 1416957 w 3575957"/>
              <a:gd name="connsiteY3" fmla="*/ 5157788 h 5157788"/>
              <a:gd name="connsiteX4" fmla="*/ 0 w 3575957"/>
              <a:gd name="connsiteY4" fmla="*/ 3339193 h 5157788"/>
              <a:gd name="connsiteX5" fmla="*/ 1416957 w 3575957"/>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6017419"/>
              <a:gd name="connsiteX1" fmla="*/ 3851275 w 3851275"/>
              <a:gd name="connsiteY1" fmla="*/ 0 h 6017419"/>
              <a:gd name="connsiteX2" fmla="*/ 3851275 w 3851275"/>
              <a:gd name="connsiteY2" fmla="*/ 5157788 h 6017419"/>
              <a:gd name="connsiteX3" fmla="*/ 1692275 w 3851275"/>
              <a:gd name="connsiteY3" fmla="*/ 5157788 h 6017419"/>
              <a:gd name="connsiteX4" fmla="*/ 0 w 3851275"/>
              <a:gd name="connsiteY4" fmla="*/ 3284984 h 6017419"/>
              <a:gd name="connsiteX5" fmla="*/ 1692275 w 3851275"/>
              <a:gd name="connsiteY5" fmla="*/ 0 h 6017419"/>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429000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429000 h 5157788"/>
              <a:gd name="connsiteX5" fmla="*/ 1710871 w 3869871"/>
              <a:gd name="connsiteY5" fmla="*/ 0 h 5157788"/>
              <a:gd name="connsiteX0" fmla="*/ 1704975 w 3863975"/>
              <a:gd name="connsiteY0" fmla="*/ 0 h 5157788"/>
              <a:gd name="connsiteX1" fmla="*/ 3863975 w 3863975"/>
              <a:gd name="connsiteY1" fmla="*/ 0 h 5157788"/>
              <a:gd name="connsiteX2" fmla="*/ 3863975 w 3863975"/>
              <a:gd name="connsiteY2" fmla="*/ 5157788 h 5157788"/>
              <a:gd name="connsiteX3" fmla="*/ 1704975 w 3863975"/>
              <a:gd name="connsiteY3" fmla="*/ 5157788 h 5157788"/>
              <a:gd name="connsiteX4" fmla="*/ 12700 w 3863975"/>
              <a:gd name="connsiteY4" fmla="*/ 3429000 h 5157788"/>
              <a:gd name="connsiteX5" fmla="*/ 1704975 w 3863975"/>
              <a:gd name="connsiteY5" fmla="*/ 0 h 5157788"/>
              <a:gd name="connsiteX0" fmla="*/ 1707243 w 3866243"/>
              <a:gd name="connsiteY0" fmla="*/ 0 h 5157788"/>
              <a:gd name="connsiteX1" fmla="*/ 3866243 w 3866243"/>
              <a:gd name="connsiteY1" fmla="*/ 0 h 5157788"/>
              <a:gd name="connsiteX2" fmla="*/ 3866243 w 3866243"/>
              <a:gd name="connsiteY2" fmla="*/ 5157788 h 5157788"/>
              <a:gd name="connsiteX3" fmla="*/ 1707243 w 3866243"/>
              <a:gd name="connsiteY3" fmla="*/ 5157788 h 5157788"/>
              <a:gd name="connsiteX4" fmla="*/ 14968 w 3866243"/>
              <a:gd name="connsiteY4" fmla="*/ 3429000 h 5157788"/>
              <a:gd name="connsiteX5" fmla="*/ 1707243 w 3866243"/>
              <a:gd name="connsiteY5" fmla="*/ 0 h 5157788"/>
              <a:gd name="connsiteX0" fmla="*/ 1130447 w 3866243"/>
              <a:gd name="connsiteY0" fmla="*/ 0 h 5157788"/>
              <a:gd name="connsiteX1" fmla="*/ 3866243 w 3866243"/>
              <a:gd name="connsiteY1" fmla="*/ 0 h 5157788"/>
              <a:gd name="connsiteX2" fmla="*/ 3866243 w 3866243"/>
              <a:gd name="connsiteY2" fmla="*/ 5157788 h 5157788"/>
              <a:gd name="connsiteX3" fmla="*/ 1707243 w 3866243"/>
              <a:gd name="connsiteY3" fmla="*/ 5157788 h 5157788"/>
              <a:gd name="connsiteX4" fmla="*/ 14968 w 3866243"/>
              <a:gd name="connsiteY4" fmla="*/ 3429000 h 5157788"/>
              <a:gd name="connsiteX5" fmla="*/ 1130447 w 3866243"/>
              <a:gd name="connsiteY5" fmla="*/ 0 h 5157788"/>
              <a:gd name="connsiteX0" fmla="*/ 2746143 w 5481939"/>
              <a:gd name="connsiteY0" fmla="*/ 0 h 5157788"/>
              <a:gd name="connsiteX1" fmla="*/ 5481939 w 5481939"/>
              <a:gd name="connsiteY1" fmla="*/ 0 h 5157788"/>
              <a:gd name="connsiteX2" fmla="*/ 5481939 w 5481939"/>
              <a:gd name="connsiteY2" fmla="*/ 5157788 h 5157788"/>
              <a:gd name="connsiteX3" fmla="*/ 585903 w 5481939"/>
              <a:gd name="connsiteY3" fmla="*/ 5153180 h 5157788"/>
              <a:gd name="connsiteX4" fmla="*/ 1630664 w 5481939"/>
              <a:gd name="connsiteY4" fmla="*/ 3429000 h 5157788"/>
              <a:gd name="connsiteX5" fmla="*/ 2746143 w 5481939"/>
              <a:gd name="connsiteY5" fmla="*/ 0 h 5157788"/>
              <a:gd name="connsiteX0" fmla="*/ 2746143 w 5481939"/>
              <a:gd name="connsiteY0" fmla="*/ 0 h 5157788"/>
              <a:gd name="connsiteX1" fmla="*/ 5481939 w 5481939"/>
              <a:gd name="connsiteY1" fmla="*/ 0 h 5157788"/>
              <a:gd name="connsiteX2" fmla="*/ 5481939 w 5481939"/>
              <a:gd name="connsiteY2" fmla="*/ 5157788 h 5157788"/>
              <a:gd name="connsiteX3" fmla="*/ 585903 w 5481939"/>
              <a:gd name="connsiteY3" fmla="*/ 5153180 h 5157788"/>
              <a:gd name="connsiteX4" fmla="*/ 1630664 w 5481939"/>
              <a:gd name="connsiteY4" fmla="*/ 3429000 h 5157788"/>
              <a:gd name="connsiteX5" fmla="*/ 2746143 w 548193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3574235 w 6310031"/>
              <a:gd name="connsiteY0" fmla="*/ 0 h 5157788"/>
              <a:gd name="connsiteX1" fmla="*/ 6310031 w 6310031"/>
              <a:gd name="connsiteY1" fmla="*/ 0 h 5157788"/>
              <a:gd name="connsiteX2" fmla="*/ 6310031 w 6310031"/>
              <a:gd name="connsiteY2" fmla="*/ 5157788 h 5157788"/>
              <a:gd name="connsiteX3" fmla="*/ 585903 w 6310031"/>
              <a:gd name="connsiteY3" fmla="*/ 5153180 h 5157788"/>
              <a:gd name="connsiteX4" fmla="*/ 1738031 w 6310031"/>
              <a:gd name="connsiteY4" fmla="*/ 3389965 h 5157788"/>
              <a:gd name="connsiteX5" fmla="*/ 3574235 w 6310031"/>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296143 w 5724128"/>
              <a:gd name="connsiteY4" fmla="*/ 3461908 h 5157788"/>
              <a:gd name="connsiteX5" fmla="*/ 2988332 w 5724128"/>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1188132 w 5760132"/>
              <a:gd name="connsiteY4" fmla="*/ 3425937 h 5157788"/>
              <a:gd name="connsiteX5" fmla="*/ 3024336 w 5760132"/>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2736304 w 5760132"/>
              <a:gd name="connsiteY4" fmla="*/ 3461908 h 5157788"/>
              <a:gd name="connsiteX5" fmla="*/ 3024336 w 5760132"/>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2736304 w 5760132"/>
              <a:gd name="connsiteY4" fmla="*/ 3461908 h 5157788"/>
              <a:gd name="connsiteX5" fmla="*/ 3024336 w 5760132"/>
              <a:gd name="connsiteY5" fmla="*/ 0 h 5157788"/>
              <a:gd name="connsiteX0" fmla="*/ 2160240 w 4896036"/>
              <a:gd name="connsiteY0" fmla="*/ 0 h 5157788"/>
              <a:gd name="connsiteX1" fmla="*/ 4896036 w 4896036"/>
              <a:gd name="connsiteY1" fmla="*/ 0 h 5157788"/>
              <a:gd name="connsiteX2" fmla="*/ 4896036 w 4896036"/>
              <a:gd name="connsiteY2" fmla="*/ 5157788 h 5157788"/>
              <a:gd name="connsiteX3" fmla="*/ 0 w 4896036"/>
              <a:gd name="connsiteY3" fmla="*/ 5153180 h 5157788"/>
              <a:gd name="connsiteX4" fmla="*/ 1872208 w 4896036"/>
              <a:gd name="connsiteY4" fmla="*/ 3461908 h 5157788"/>
              <a:gd name="connsiteX5" fmla="*/ 2160240 w 4896036"/>
              <a:gd name="connsiteY5" fmla="*/ 0 h 5157788"/>
              <a:gd name="connsiteX0" fmla="*/ 2232248 w 4968044"/>
              <a:gd name="connsiteY0" fmla="*/ 0 h 5157788"/>
              <a:gd name="connsiteX1" fmla="*/ 4968044 w 4968044"/>
              <a:gd name="connsiteY1" fmla="*/ 0 h 5157788"/>
              <a:gd name="connsiteX2" fmla="*/ 4968044 w 4968044"/>
              <a:gd name="connsiteY2" fmla="*/ 5157788 h 5157788"/>
              <a:gd name="connsiteX3" fmla="*/ 0 w 4968044"/>
              <a:gd name="connsiteY3" fmla="*/ 5153180 h 5157788"/>
              <a:gd name="connsiteX4" fmla="*/ 1944216 w 4968044"/>
              <a:gd name="connsiteY4" fmla="*/ 3461908 h 5157788"/>
              <a:gd name="connsiteX5" fmla="*/ 2232248 w 4968044"/>
              <a:gd name="connsiteY5" fmla="*/ 0 h 5157788"/>
              <a:gd name="connsiteX0" fmla="*/ 2207679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207679 w 4943475"/>
              <a:gd name="connsiteY5" fmla="*/ 0 h 5157788"/>
              <a:gd name="connsiteX0" fmla="*/ 2963763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963763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092200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71575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343583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675731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675731 w 4943475"/>
              <a:gd name="connsiteY5" fmla="*/ 0 h 5157788"/>
              <a:gd name="connsiteX0" fmla="*/ 2675731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675731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9672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19672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51412" h="5157788">
                <a:moveTo>
                  <a:pt x="2706687" y="0"/>
                </a:moveTo>
                <a:lnTo>
                  <a:pt x="4951412" y="0"/>
                </a:lnTo>
                <a:lnTo>
                  <a:pt x="4951412" y="5157788"/>
                </a:lnTo>
                <a:lnTo>
                  <a:pt x="0" y="5153180"/>
                </a:lnTo>
                <a:cubicBezTo>
                  <a:pt x="84411" y="4542509"/>
                  <a:pt x="183041" y="4024723"/>
                  <a:pt x="1243508" y="2562613"/>
                </a:cubicBezTo>
                <a:cubicBezTo>
                  <a:pt x="1867447" y="1704780"/>
                  <a:pt x="2665955" y="709265"/>
                  <a:pt x="2706687" y="0"/>
                </a:cubicBezTo>
                <a:close/>
              </a:path>
            </a:pathLst>
          </a:custGeom>
          <a:solidFill>
            <a:schemeClr val="bg2"/>
          </a:solidFill>
          <a:ln w="3175">
            <a:noFill/>
          </a:ln>
        </p:spPr>
        <p:txBody>
          <a:bodyPr tIns="720000" anchor="ctr" anchorCtr="0"/>
          <a:lstStyle>
            <a:lvl1pPr algn="ctr">
              <a:defRPr sz="1125">
                <a:solidFill>
                  <a:schemeClr val="bg1"/>
                </a:solidFill>
              </a:defRPr>
            </a:lvl1pPr>
          </a:lstStyle>
          <a:p>
            <a:r>
              <a:rPr lang="en-GB" noProof="0"/>
              <a:t>Select your own photo</a:t>
            </a:r>
          </a:p>
        </p:txBody>
      </p:sp>
      <p:sp>
        <p:nvSpPr>
          <p:cNvPr id="19" name="Rectangle 18"/>
          <p:cNvSpPr/>
          <p:nvPr userDrawn="1"/>
        </p:nvSpPr>
        <p:spPr bwMode="gray">
          <a:xfrm>
            <a:off x="468313" y="3391895"/>
            <a:ext cx="2448000" cy="252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solidFill>
                <a:prstClr val="white"/>
              </a:solidFill>
              <a:sym typeface="Arial"/>
            </a:endParaRPr>
          </a:p>
        </p:txBody>
      </p:sp>
    </p:spTree>
    <p:extLst>
      <p:ext uri="{BB962C8B-B14F-4D97-AF65-F5344CB8AC3E}">
        <p14:creationId xmlns:p14="http://schemas.microsoft.com/office/powerpoint/2010/main" val="577566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Chapter_Layout">
    <p:spTree>
      <p:nvGrpSpPr>
        <p:cNvPr id="1" name=""/>
        <p:cNvGrpSpPr/>
        <p:nvPr/>
      </p:nvGrpSpPr>
      <p:grpSpPr>
        <a:xfrm>
          <a:off x="0" y="0"/>
          <a:ext cx="0" cy="0"/>
          <a:chOff x="0" y="0"/>
          <a:chExt cx="0" cy="0"/>
        </a:xfrm>
      </p:grpSpPr>
      <p:pic>
        <p:nvPicPr>
          <p:cNvPr id="18" name="Image 17" descr="FD_03_chap_110x190,5.png"/>
          <p:cNvPicPr>
            <a:picLocks noChangeAspect="1"/>
          </p:cNvPicPr>
          <p:nvPr userDrawn="1"/>
        </p:nvPicPr>
        <p:blipFill>
          <a:blip r:embed="rId2" cstate="print"/>
          <a:stretch>
            <a:fillRect/>
          </a:stretch>
        </p:blipFill>
        <p:spPr bwMode="gray">
          <a:xfrm>
            <a:off x="1" y="0"/>
            <a:ext cx="2849210" cy="6858000"/>
          </a:xfrm>
          <a:prstGeom prst="rect">
            <a:avLst/>
          </a:prstGeom>
        </p:spPr>
      </p:pic>
      <p:sp>
        <p:nvSpPr>
          <p:cNvPr id="2" name="Titre 1"/>
          <p:cNvSpPr>
            <a:spLocks noGrp="1"/>
          </p:cNvSpPr>
          <p:nvPr>
            <p:ph type="title" hasCustomPrompt="1"/>
          </p:nvPr>
        </p:nvSpPr>
        <p:spPr bwMode="gray">
          <a:xfrm>
            <a:off x="2540059" y="1036641"/>
            <a:ext cx="5740343" cy="1268759"/>
          </a:xfrm>
        </p:spPr>
        <p:txBody>
          <a:bodyPr/>
          <a:lstStyle/>
          <a:p>
            <a:r>
              <a:rPr lang="en-GB" noProof="0"/>
              <a:t>TITLE</a:t>
            </a:r>
          </a:p>
        </p:txBody>
      </p:sp>
      <p:sp>
        <p:nvSpPr>
          <p:cNvPr id="10" name="Espace réservé du texte 9"/>
          <p:cNvSpPr>
            <a:spLocks noGrp="1"/>
          </p:cNvSpPr>
          <p:nvPr>
            <p:ph type="body" sz="quarter" idx="13" hasCustomPrompt="1"/>
          </p:nvPr>
        </p:nvSpPr>
        <p:spPr bwMode="gray">
          <a:xfrm>
            <a:off x="2540059" y="2574002"/>
            <a:ext cx="5740343" cy="3447388"/>
          </a:xfrm>
        </p:spPr>
        <p:txBody>
          <a:body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14" name="Espace réservé du texte 9"/>
          <p:cNvSpPr>
            <a:spLocks noGrp="1"/>
          </p:cNvSpPr>
          <p:nvPr>
            <p:ph type="body" sz="quarter" idx="14" hasCustomPrompt="1"/>
          </p:nvPr>
        </p:nvSpPr>
        <p:spPr bwMode="gray">
          <a:xfrm>
            <a:off x="0" y="139975"/>
            <a:ext cx="1838200" cy="5017815"/>
          </a:xfrm>
        </p:spPr>
        <p:txBody>
          <a:bodyPr/>
          <a:lstStyle>
            <a:lvl1pPr algn="r">
              <a:defRPr sz="12450" b="1">
                <a:solidFill>
                  <a:schemeClr val="bg1"/>
                </a:solidFill>
              </a:defRPr>
            </a:lvl1pPr>
          </a:lstStyle>
          <a:p>
            <a:pPr lvl="0"/>
            <a:r>
              <a:rPr lang="en-GB" noProof="0"/>
              <a:t>0</a:t>
            </a:r>
          </a:p>
        </p:txBody>
      </p:sp>
      <p:sp>
        <p:nvSpPr>
          <p:cNvPr id="11" name="Espace réservé de la date 10"/>
          <p:cNvSpPr>
            <a:spLocks noGrp="1"/>
          </p:cNvSpPr>
          <p:nvPr>
            <p:ph type="dt" sz="half" idx="15"/>
          </p:nvPr>
        </p:nvSpPr>
        <p:spPr bwMode="gray"/>
        <p:txBody>
          <a:bodyPr/>
          <a:lstStyle/>
          <a:p>
            <a:r>
              <a:rPr lang="en-GB">
                <a:solidFill>
                  <a:prstClr val="white">
                    <a:alpha val="0"/>
                  </a:prstClr>
                </a:solidFill>
              </a:rPr>
              <a:t>Date</a:t>
            </a:r>
          </a:p>
        </p:txBody>
      </p:sp>
      <p:sp>
        <p:nvSpPr>
          <p:cNvPr id="12" name="Espace réservé du numéro de diapositive 11"/>
          <p:cNvSpPr>
            <a:spLocks noGrp="1"/>
          </p:cNvSpPr>
          <p:nvPr>
            <p:ph type="sldNum" sz="quarter" idx="16"/>
          </p:nvPr>
        </p:nvSpPr>
        <p:spPr bwMode="gray"/>
        <p:txBody>
          <a:bodyPr/>
          <a:lstStyle/>
          <a:p>
            <a:fld id="{733122C9-A0B9-462F-8757-0847AD287B63}" type="slidenum">
              <a:rPr lang="en-GB" smtClean="0">
                <a:solidFill>
                  <a:srgbClr val="343434"/>
                </a:solidFill>
              </a:rPr>
              <a:pPr/>
              <a:t>‹#›</a:t>
            </a:fld>
            <a:endParaRPr lang="en-GB">
              <a:solidFill>
                <a:srgbClr val="343434"/>
              </a:solidFill>
            </a:endParaRPr>
          </a:p>
        </p:txBody>
      </p:sp>
      <p:sp>
        <p:nvSpPr>
          <p:cNvPr id="13" name="Espace réservé du pied de page 12"/>
          <p:cNvSpPr>
            <a:spLocks noGrp="1"/>
          </p:cNvSpPr>
          <p:nvPr>
            <p:ph type="ftr" sz="quarter" idx="17"/>
          </p:nvPr>
        </p:nvSpPr>
        <p:spPr bwMode="gray">
          <a:xfrm>
            <a:off x="2412000" y="6498000"/>
            <a:ext cx="4320000" cy="360000"/>
          </a:xfrm>
          <a:prstGeom prst="rect">
            <a:avLst/>
          </a:prstGeom>
        </p:spPr>
        <p:txBody>
          <a:bodyPr/>
          <a:lstStyle/>
          <a:p>
            <a:r>
              <a:rPr lang="en-GB" sz="1400" kern="0">
                <a:solidFill>
                  <a:srgbClr val="005CB9"/>
                </a:solidFill>
                <a:cs typeface="Arial"/>
                <a:sym typeface="Arial"/>
              </a:rPr>
              <a:t>#add your hashtag</a:t>
            </a:r>
          </a:p>
        </p:txBody>
      </p:sp>
      <p:sp>
        <p:nvSpPr>
          <p:cNvPr id="16" name="Rectangle 15"/>
          <p:cNvSpPr/>
          <p:nvPr userDrawn="1"/>
        </p:nvSpPr>
        <p:spPr bwMode="gray">
          <a:xfrm>
            <a:off x="2540058" y="2377741"/>
            <a:ext cx="1583668" cy="252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solidFill>
                <a:prstClr val="white"/>
              </a:solidFill>
              <a:sym typeface="Arial"/>
            </a:endParaRPr>
          </a:p>
        </p:txBody>
      </p:sp>
    </p:spTree>
    <p:extLst>
      <p:ext uri="{BB962C8B-B14F-4D97-AF65-F5344CB8AC3E}">
        <p14:creationId xmlns:p14="http://schemas.microsoft.com/office/powerpoint/2010/main" val="12309492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Picture&amp;Content_Layout">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p:txBody>
          <a:bodyPr/>
          <a:lstStyle/>
          <a:p>
            <a:r>
              <a:rPr lang="en-GB" noProof="0"/>
              <a:t>TITLE</a:t>
            </a:r>
          </a:p>
        </p:txBody>
      </p:sp>
      <p:sp>
        <p:nvSpPr>
          <p:cNvPr id="3" name="Espace réservé du contenu 2"/>
          <p:cNvSpPr>
            <a:spLocks noGrp="1"/>
          </p:cNvSpPr>
          <p:nvPr>
            <p:ph idx="1" hasCustomPrompt="1"/>
          </p:nvPr>
        </p:nvSpPr>
        <p:spPr bwMode="gray">
          <a:xfrm>
            <a:off x="3635896" y="1304927"/>
            <a:ext cx="4644504" cy="4716463"/>
          </a:xfrm>
        </p:spPr>
        <p:txBody>
          <a:bodyPr/>
          <a:lstStyle>
            <a:lvl2pPr>
              <a:defRPr/>
            </a:lvl2pPr>
            <a:lvl3pPr>
              <a:defRPr/>
            </a:lvl3pPr>
            <a:lvl4pPr>
              <a:defRPr baseline="0"/>
            </a:lvl4pPr>
            <a:lvl5pPr>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9" name="Espace réservé pour une image  8"/>
          <p:cNvSpPr>
            <a:spLocks noGrp="1"/>
          </p:cNvSpPr>
          <p:nvPr>
            <p:ph type="pic" sz="quarter" idx="13" hasCustomPrompt="1"/>
          </p:nvPr>
        </p:nvSpPr>
        <p:spPr bwMode="gray">
          <a:xfrm>
            <a:off x="0" y="1341439"/>
            <a:ext cx="3419038" cy="4679951"/>
          </a:xfrm>
        </p:spPr>
        <p:txBody>
          <a:bodyPr tIns="1008000" anchor="ctr" anchorCtr="0"/>
          <a:lstStyle>
            <a:lvl1pPr algn="ctr">
              <a:defRPr/>
            </a:lvl1pPr>
          </a:lstStyle>
          <a:p>
            <a:r>
              <a:rPr lang="en-GB" noProof="0"/>
              <a:t>Select your own photo</a:t>
            </a:r>
          </a:p>
        </p:txBody>
      </p:sp>
      <p:sp>
        <p:nvSpPr>
          <p:cNvPr id="8" name="Espace réservé de la date 7"/>
          <p:cNvSpPr>
            <a:spLocks noGrp="1"/>
          </p:cNvSpPr>
          <p:nvPr>
            <p:ph type="dt" sz="half" idx="14"/>
          </p:nvPr>
        </p:nvSpPr>
        <p:spPr bwMode="gray"/>
        <p:txBody>
          <a:bodyPr/>
          <a:lstStyle/>
          <a:p>
            <a:r>
              <a:rPr lang="en-GB">
                <a:solidFill>
                  <a:prstClr val="white">
                    <a:alpha val="0"/>
                  </a:prstClr>
                </a:solidFill>
              </a:rPr>
              <a:t>Date</a:t>
            </a:r>
          </a:p>
        </p:txBody>
      </p:sp>
      <p:sp>
        <p:nvSpPr>
          <p:cNvPr id="11" name="Espace réservé du numéro de diapositive 10"/>
          <p:cNvSpPr>
            <a:spLocks noGrp="1"/>
          </p:cNvSpPr>
          <p:nvPr>
            <p:ph type="sldNum" sz="quarter" idx="15"/>
          </p:nvPr>
        </p:nvSpPr>
        <p:spPr bwMode="gray"/>
        <p:txBody>
          <a:bodyPr/>
          <a:lstStyle/>
          <a:p>
            <a:fld id="{733122C9-A0B9-462F-8757-0847AD287B63}" type="slidenum">
              <a:rPr lang="en-GB" smtClean="0">
                <a:solidFill>
                  <a:srgbClr val="343434"/>
                </a:solidFill>
              </a:rPr>
              <a:pPr/>
              <a:t>‹#›</a:t>
            </a:fld>
            <a:endParaRPr lang="en-GB">
              <a:solidFill>
                <a:srgbClr val="343434"/>
              </a:solidFill>
            </a:endParaRPr>
          </a:p>
        </p:txBody>
      </p:sp>
      <p:sp>
        <p:nvSpPr>
          <p:cNvPr id="12" name="Espace réservé du pied de page 11"/>
          <p:cNvSpPr>
            <a:spLocks noGrp="1"/>
          </p:cNvSpPr>
          <p:nvPr>
            <p:ph type="ftr" sz="quarter" idx="16"/>
          </p:nvPr>
        </p:nvSpPr>
        <p:spPr bwMode="gray">
          <a:xfrm>
            <a:off x="2412000" y="6498000"/>
            <a:ext cx="4320000" cy="360000"/>
          </a:xfrm>
          <a:prstGeom prst="rect">
            <a:avLst/>
          </a:prstGeom>
        </p:spPr>
        <p:txBody>
          <a:bodyPr/>
          <a:lstStyle/>
          <a:p>
            <a:r>
              <a:rPr lang="en-GB" sz="1400" kern="0">
                <a:solidFill>
                  <a:srgbClr val="005CB9"/>
                </a:solidFill>
                <a:cs typeface="Arial"/>
                <a:sym typeface="Arial"/>
              </a:rPr>
              <a:t>#add your hashtag</a:t>
            </a:r>
          </a:p>
        </p:txBody>
      </p:sp>
    </p:spTree>
    <p:extLst>
      <p:ext uri="{BB962C8B-B14F-4D97-AF65-F5344CB8AC3E}">
        <p14:creationId xmlns:p14="http://schemas.microsoft.com/office/powerpoint/2010/main" val="37055326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2_Contents_Layout">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p:txBody>
          <a:bodyPr/>
          <a:lstStyle/>
          <a:p>
            <a:r>
              <a:rPr lang="en-GB" noProof="0"/>
              <a:t>TITLE</a:t>
            </a:r>
          </a:p>
        </p:txBody>
      </p:sp>
      <p:sp>
        <p:nvSpPr>
          <p:cNvPr id="3" name="Espace réservé du contenu 2"/>
          <p:cNvSpPr>
            <a:spLocks noGrp="1"/>
          </p:cNvSpPr>
          <p:nvPr>
            <p:ph idx="1" hasCustomPrompt="1"/>
          </p:nvPr>
        </p:nvSpPr>
        <p:spPr bwMode="gray">
          <a:xfrm>
            <a:off x="935038" y="1304927"/>
            <a:ext cx="3564000" cy="4716463"/>
          </a:xfrm>
        </p:spPr>
        <p:txBody>
          <a:bodyPr/>
          <a:lstStyle>
            <a:lvl2pPr>
              <a:defRPr/>
            </a:lvl2pPr>
            <a:lvl3pPr>
              <a:defRPr/>
            </a:lvl3pPr>
            <a:lvl4pPr>
              <a:defRPr baseline="0"/>
            </a:lvl4pPr>
            <a:lvl5pPr>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7" name="Espace réservé de la date 6"/>
          <p:cNvSpPr>
            <a:spLocks noGrp="1"/>
          </p:cNvSpPr>
          <p:nvPr>
            <p:ph type="dt" sz="half" idx="10"/>
          </p:nvPr>
        </p:nvSpPr>
        <p:spPr bwMode="gray"/>
        <p:txBody>
          <a:bodyPr/>
          <a:lstStyle/>
          <a:p>
            <a:r>
              <a:rPr lang="en-GB">
                <a:solidFill>
                  <a:prstClr val="white">
                    <a:alpha val="0"/>
                  </a:prstClr>
                </a:solidFill>
              </a:rPr>
              <a:t>Date</a:t>
            </a:r>
          </a:p>
        </p:txBody>
      </p:sp>
      <p:sp>
        <p:nvSpPr>
          <p:cNvPr id="8" name="Espace réservé du numéro de diapositive 7"/>
          <p:cNvSpPr>
            <a:spLocks noGrp="1"/>
          </p:cNvSpPr>
          <p:nvPr>
            <p:ph type="sldNum" sz="quarter" idx="11"/>
          </p:nvPr>
        </p:nvSpPr>
        <p:spPr bwMode="gray"/>
        <p:txBody>
          <a:bodyPr/>
          <a:lstStyle/>
          <a:p>
            <a:fld id="{733122C9-A0B9-462F-8757-0847AD287B63}" type="slidenum">
              <a:rPr lang="en-GB" smtClean="0">
                <a:solidFill>
                  <a:srgbClr val="343434"/>
                </a:solidFill>
              </a:rPr>
              <a:pPr/>
              <a:t>‹#›</a:t>
            </a:fld>
            <a:endParaRPr lang="en-GB">
              <a:solidFill>
                <a:srgbClr val="343434"/>
              </a:solidFill>
            </a:endParaRPr>
          </a:p>
        </p:txBody>
      </p:sp>
      <p:sp>
        <p:nvSpPr>
          <p:cNvPr id="11" name="Espace réservé du pied de page 10"/>
          <p:cNvSpPr>
            <a:spLocks noGrp="1"/>
          </p:cNvSpPr>
          <p:nvPr>
            <p:ph type="ftr" sz="quarter" idx="12"/>
          </p:nvPr>
        </p:nvSpPr>
        <p:spPr bwMode="gray">
          <a:xfrm>
            <a:off x="2412000" y="6498000"/>
            <a:ext cx="4320000" cy="360000"/>
          </a:xfrm>
          <a:prstGeom prst="rect">
            <a:avLst/>
          </a:prstGeom>
        </p:spPr>
        <p:txBody>
          <a:bodyPr/>
          <a:lstStyle/>
          <a:p>
            <a:r>
              <a:rPr lang="en-GB" sz="1400" kern="0">
                <a:solidFill>
                  <a:srgbClr val="005CB9"/>
                </a:solidFill>
                <a:cs typeface="Arial"/>
                <a:sym typeface="Arial"/>
              </a:rPr>
              <a:t>#add your hashtag</a:t>
            </a:r>
          </a:p>
        </p:txBody>
      </p:sp>
      <p:sp>
        <p:nvSpPr>
          <p:cNvPr id="9" name="Espace réservé du contenu 2"/>
          <p:cNvSpPr>
            <a:spLocks noGrp="1"/>
          </p:cNvSpPr>
          <p:nvPr>
            <p:ph idx="13" hasCustomPrompt="1"/>
          </p:nvPr>
        </p:nvSpPr>
        <p:spPr bwMode="gray">
          <a:xfrm>
            <a:off x="4716400" y="1304927"/>
            <a:ext cx="3564000" cy="4716463"/>
          </a:xfrm>
        </p:spPr>
        <p:txBody>
          <a:bodyPr/>
          <a:lstStyle>
            <a:lvl2pPr>
              <a:defRPr/>
            </a:lvl2pPr>
            <a:lvl3pPr>
              <a:defRPr/>
            </a:lvl3pPr>
            <a:lvl4pPr>
              <a:defRPr baseline="0"/>
            </a:lvl4pPr>
            <a:lvl5pPr>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Tree>
    <p:extLst>
      <p:ext uri="{BB962C8B-B14F-4D97-AF65-F5344CB8AC3E}">
        <p14:creationId xmlns:p14="http://schemas.microsoft.com/office/powerpoint/2010/main" val="17952619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Text&amp;Content_Layout">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p:txBody>
          <a:bodyPr/>
          <a:lstStyle/>
          <a:p>
            <a:r>
              <a:rPr lang="en-GB" noProof="0"/>
              <a:t>TITLE</a:t>
            </a:r>
          </a:p>
        </p:txBody>
      </p:sp>
      <p:sp>
        <p:nvSpPr>
          <p:cNvPr id="3" name="Espace réservé du contenu 2"/>
          <p:cNvSpPr>
            <a:spLocks noGrp="1"/>
          </p:cNvSpPr>
          <p:nvPr>
            <p:ph idx="1" hasCustomPrompt="1"/>
          </p:nvPr>
        </p:nvSpPr>
        <p:spPr bwMode="gray">
          <a:xfrm>
            <a:off x="935038" y="2781388"/>
            <a:ext cx="7345362" cy="3240000"/>
          </a:xfrm>
        </p:spPr>
        <p:txBody>
          <a:bodyPr/>
          <a:lstStyle>
            <a:lvl2pPr>
              <a:defRPr/>
            </a:lvl2pPr>
            <a:lvl3pPr>
              <a:defRPr/>
            </a:lvl3pPr>
            <a:lvl4pPr>
              <a:defRPr baseline="0"/>
            </a:lvl4pPr>
            <a:lvl5pPr>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10" name="Espace réservé du texte 9"/>
          <p:cNvSpPr>
            <a:spLocks noGrp="1"/>
          </p:cNvSpPr>
          <p:nvPr>
            <p:ph type="body" sz="quarter" idx="13" hasCustomPrompt="1"/>
          </p:nvPr>
        </p:nvSpPr>
        <p:spPr bwMode="gray">
          <a:xfrm>
            <a:off x="935038" y="1304924"/>
            <a:ext cx="7345362" cy="1260000"/>
          </a:xfrm>
        </p:spPr>
        <p:txBody>
          <a:body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8" name="Espace réservé de la date 7"/>
          <p:cNvSpPr>
            <a:spLocks noGrp="1"/>
          </p:cNvSpPr>
          <p:nvPr>
            <p:ph type="dt" sz="half" idx="14"/>
          </p:nvPr>
        </p:nvSpPr>
        <p:spPr bwMode="gray"/>
        <p:txBody>
          <a:bodyPr/>
          <a:lstStyle/>
          <a:p>
            <a:r>
              <a:rPr lang="en-GB">
                <a:solidFill>
                  <a:prstClr val="white">
                    <a:alpha val="0"/>
                  </a:prstClr>
                </a:solidFill>
              </a:rPr>
              <a:t>Date</a:t>
            </a:r>
          </a:p>
        </p:txBody>
      </p:sp>
      <p:sp>
        <p:nvSpPr>
          <p:cNvPr id="9" name="Espace réservé du numéro de diapositive 8"/>
          <p:cNvSpPr>
            <a:spLocks noGrp="1"/>
          </p:cNvSpPr>
          <p:nvPr>
            <p:ph type="sldNum" sz="quarter" idx="15"/>
          </p:nvPr>
        </p:nvSpPr>
        <p:spPr bwMode="gray"/>
        <p:txBody>
          <a:bodyPr/>
          <a:lstStyle/>
          <a:p>
            <a:fld id="{733122C9-A0B9-462F-8757-0847AD287B63}" type="slidenum">
              <a:rPr lang="en-GB" smtClean="0">
                <a:solidFill>
                  <a:srgbClr val="343434"/>
                </a:solidFill>
              </a:rPr>
              <a:pPr/>
              <a:t>‹#›</a:t>
            </a:fld>
            <a:endParaRPr lang="en-GB">
              <a:solidFill>
                <a:srgbClr val="343434"/>
              </a:solidFill>
            </a:endParaRPr>
          </a:p>
        </p:txBody>
      </p:sp>
      <p:sp>
        <p:nvSpPr>
          <p:cNvPr id="11" name="Espace réservé du pied de page 10"/>
          <p:cNvSpPr>
            <a:spLocks noGrp="1"/>
          </p:cNvSpPr>
          <p:nvPr>
            <p:ph type="ftr" sz="quarter" idx="16"/>
          </p:nvPr>
        </p:nvSpPr>
        <p:spPr bwMode="gray">
          <a:xfrm>
            <a:off x="2412000" y="6498000"/>
            <a:ext cx="4320000" cy="360000"/>
          </a:xfrm>
          <a:prstGeom prst="rect">
            <a:avLst/>
          </a:prstGeom>
        </p:spPr>
        <p:txBody>
          <a:bodyPr/>
          <a:lstStyle/>
          <a:p>
            <a:r>
              <a:rPr lang="en-GB" sz="1400" kern="0">
                <a:solidFill>
                  <a:srgbClr val="005CB9"/>
                </a:solidFill>
                <a:cs typeface="Arial"/>
                <a:sym typeface="Arial"/>
              </a:rPr>
              <a:t>#add your hashtag</a:t>
            </a:r>
          </a:p>
        </p:txBody>
      </p:sp>
    </p:spTree>
    <p:extLst>
      <p:ext uri="{BB962C8B-B14F-4D97-AF65-F5344CB8AC3E}">
        <p14:creationId xmlns:p14="http://schemas.microsoft.com/office/powerpoint/2010/main" val="15709234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Text&amp;Content&amp;Picture_Layout">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p:txBody>
          <a:bodyPr/>
          <a:lstStyle/>
          <a:p>
            <a:r>
              <a:rPr lang="en-GB" noProof="0"/>
              <a:t>TITLE</a:t>
            </a:r>
          </a:p>
        </p:txBody>
      </p:sp>
      <p:sp>
        <p:nvSpPr>
          <p:cNvPr id="3" name="Espace réservé du contenu 2"/>
          <p:cNvSpPr>
            <a:spLocks noGrp="1"/>
          </p:cNvSpPr>
          <p:nvPr>
            <p:ph idx="1" hasCustomPrompt="1"/>
          </p:nvPr>
        </p:nvSpPr>
        <p:spPr bwMode="gray">
          <a:xfrm>
            <a:off x="935038" y="2781388"/>
            <a:ext cx="4392000" cy="3240000"/>
          </a:xfrm>
        </p:spPr>
        <p:txBody>
          <a:bodyPr/>
          <a:lstStyle>
            <a:lvl2pPr>
              <a:defRPr/>
            </a:lvl2pPr>
            <a:lvl3pPr>
              <a:defRPr/>
            </a:lvl3pPr>
            <a:lvl4pPr>
              <a:defRPr baseline="0"/>
            </a:lvl4pPr>
            <a:lvl5pPr>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10" name="Espace réservé du texte 9"/>
          <p:cNvSpPr>
            <a:spLocks noGrp="1"/>
          </p:cNvSpPr>
          <p:nvPr>
            <p:ph type="body" sz="quarter" idx="13" hasCustomPrompt="1"/>
          </p:nvPr>
        </p:nvSpPr>
        <p:spPr bwMode="gray">
          <a:xfrm>
            <a:off x="935038" y="1304924"/>
            <a:ext cx="7345362" cy="1260000"/>
          </a:xfrm>
        </p:spPr>
        <p:txBody>
          <a:body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8" name="Espace réservé de la date 7"/>
          <p:cNvSpPr>
            <a:spLocks noGrp="1"/>
          </p:cNvSpPr>
          <p:nvPr>
            <p:ph type="dt" sz="half" idx="14"/>
          </p:nvPr>
        </p:nvSpPr>
        <p:spPr bwMode="gray"/>
        <p:txBody>
          <a:bodyPr/>
          <a:lstStyle/>
          <a:p>
            <a:r>
              <a:rPr lang="en-GB">
                <a:solidFill>
                  <a:prstClr val="white">
                    <a:alpha val="0"/>
                  </a:prstClr>
                </a:solidFill>
              </a:rPr>
              <a:t>Date</a:t>
            </a:r>
          </a:p>
        </p:txBody>
      </p:sp>
      <p:sp>
        <p:nvSpPr>
          <p:cNvPr id="9" name="Espace réservé du numéro de diapositive 8"/>
          <p:cNvSpPr>
            <a:spLocks noGrp="1"/>
          </p:cNvSpPr>
          <p:nvPr>
            <p:ph type="sldNum" sz="quarter" idx="15"/>
          </p:nvPr>
        </p:nvSpPr>
        <p:spPr bwMode="gray"/>
        <p:txBody>
          <a:bodyPr/>
          <a:lstStyle/>
          <a:p>
            <a:fld id="{733122C9-A0B9-462F-8757-0847AD287B63}" type="slidenum">
              <a:rPr lang="en-GB" smtClean="0">
                <a:solidFill>
                  <a:srgbClr val="343434"/>
                </a:solidFill>
              </a:rPr>
              <a:pPr/>
              <a:t>‹#›</a:t>
            </a:fld>
            <a:endParaRPr lang="en-GB">
              <a:solidFill>
                <a:srgbClr val="343434"/>
              </a:solidFill>
            </a:endParaRPr>
          </a:p>
        </p:txBody>
      </p:sp>
      <p:sp>
        <p:nvSpPr>
          <p:cNvPr id="11" name="Espace réservé du pied de page 10"/>
          <p:cNvSpPr>
            <a:spLocks noGrp="1"/>
          </p:cNvSpPr>
          <p:nvPr>
            <p:ph type="ftr" sz="quarter" idx="16"/>
          </p:nvPr>
        </p:nvSpPr>
        <p:spPr bwMode="gray">
          <a:xfrm>
            <a:off x="2412000" y="6498000"/>
            <a:ext cx="4320000" cy="360000"/>
          </a:xfrm>
          <a:prstGeom prst="rect">
            <a:avLst/>
          </a:prstGeom>
        </p:spPr>
        <p:txBody>
          <a:bodyPr/>
          <a:lstStyle/>
          <a:p>
            <a:r>
              <a:rPr lang="en-GB" sz="1400" kern="0">
                <a:solidFill>
                  <a:srgbClr val="005CB9"/>
                </a:solidFill>
                <a:cs typeface="Arial"/>
                <a:sym typeface="Arial"/>
              </a:rPr>
              <a:t>#add your hashtag</a:t>
            </a:r>
          </a:p>
        </p:txBody>
      </p:sp>
      <p:sp>
        <p:nvSpPr>
          <p:cNvPr id="12" name="Espace réservé pour une image  8"/>
          <p:cNvSpPr>
            <a:spLocks noGrp="1"/>
          </p:cNvSpPr>
          <p:nvPr>
            <p:ph type="pic" sz="quarter" idx="17" hasCustomPrompt="1"/>
          </p:nvPr>
        </p:nvSpPr>
        <p:spPr bwMode="gray">
          <a:xfrm>
            <a:off x="5544400" y="2781388"/>
            <a:ext cx="2736000" cy="3240000"/>
          </a:xfrm>
        </p:spPr>
        <p:txBody>
          <a:bodyPr tIns="1008000" anchor="ctr" anchorCtr="0"/>
          <a:lstStyle>
            <a:lvl1pPr algn="ctr">
              <a:defRPr/>
            </a:lvl1pPr>
          </a:lstStyle>
          <a:p>
            <a:r>
              <a:rPr lang="en-GB" noProof="0"/>
              <a:t>Select your own photo</a:t>
            </a:r>
          </a:p>
        </p:txBody>
      </p:sp>
    </p:spTree>
    <p:extLst>
      <p:ext uri="{BB962C8B-B14F-4D97-AF65-F5344CB8AC3E}">
        <p14:creationId xmlns:p14="http://schemas.microsoft.com/office/powerpoint/2010/main" val="3867989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Text&amp;2_Contents_Layout">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p:txBody>
          <a:bodyPr/>
          <a:lstStyle/>
          <a:p>
            <a:r>
              <a:rPr lang="en-GB" noProof="0"/>
              <a:t>TITLE</a:t>
            </a:r>
          </a:p>
        </p:txBody>
      </p:sp>
      <p:sp>
        <p:nvSpPr>
          <p:cNvPr id="3" name="Espace réservé du contenu 2"/>
          <p:cNvSpPr>
            <a:spLocks noGrp="1"/>
          </p:cNvSpPr>
          <p:nvPr>
            <p:ph idx="1" hasCustomPrompt="1"/>
          </p:nvPr>
        </p:nvSpPr>
        <p:spPr bwMode="gray">
          <a:xfrm>
            <a:off x="935038" y="2781388"/>
            <a:ext cx="3564000" cy="3240000"/>
          </a:xfrm>
        </p:spPr>
        <p:txBody>
          <a:bodyPr/>
          <a:lstStyle>
            <a:lvl2pPr>
              <a:defRPr/>
            </a:lvl2pPr>
            <a:lvl3pPr>
              <a:defRPr/>
            </a:lvl3pPr>
            <a:lvl4pPr>
              <a:defRPr baseline="0"/>
            </a:lvl4pPr>
            <a:lvl5pPr>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10" name="Espace réservé du texte 9"/>
          <p:cNvSpPr>
            <a:spLocks noGrp="1"/>
          </p:cNvSpPr>
          <p:nvPr>
            <p:ph type="body" sz="quarter" idx="13" hasCustomPrompt="1"/>
          </p:nvPr>
        </p:nvSpPr>
        <p:spPr bwMode="gray">
          <a:xfrm>
            <a:off x="935038" y="1304924"/>
            <a:ext cx="7345362" cy="1260000"/>
          </a:xfrm>
        </p:spPr>
        <p:txBody>
          <a:body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8" name="Espace réservé de la date 7"/>
          <p:cNvSpPr>
            <a:spLocks noGrp="1"/>
          </p:cNvSpPr>
          <p:nvPr>
            <p:ph type="dt" sz="half" idx="14"/>
          </p:nvPr>
        </p:nvSpPr>
        <p:spPr bwMode="gray"/>
        <p:txBody>
          <a:bodyPr/>
          <a:lstStyle/>
          <a:p>
            <a:r>
              <a:rPr lang="en-GB">
                <a:solidFill>
                  <a:prstClr val="white">
                    <a:alpha val="0"/>
                  </a:prstClr>
                </a:solidFill>
              </a:rPr>
              <a:t>Date</a:t>
            </a:r>
          </a:p>
        </p:txBody>
      </p:sp>
      <p:sp>
        <p:nvSpPr>
          <p:cNvPr id="9" name="Espace réservé du numéro de diapositive 8"/>
          <p:cNvSpPr>
            <a:spLocks noGrp="1"/>
          </p:cNvSpPr>
          <p:nvPr>
            <p:ph type="sldNum" sz="quarter" idx="15"/>
          </p:nvPr>
        </p:nvSpPr>
        <p:spPr bwMode="gray"/>
        <p:txBody>
          <a:bodyPr/>
          <a:lstStyle/>
          <a:p>
            <a:fld id="{733122C9-A0B9-462F-8757-0847AD287B63}" type="slidenum">
              <a:rPr lang="en-GB" smtClean="0">
                <a:solidFill>
                  <a:srgbClr val="343434"/>
                </a:solidFill>
              </a:rPr>
              <a:pPr/>
              <a:t>‹#›</a:t>
            </a:fld>
            <a:endParaRPr lang="en-GB">
              <a:solidFill>
                <a:srgbClr val="343434"/>
              </a:solidFill>
            </a:endParaRPr>
          </a:p>
        </p:txBody>
      </p:sp>
      <p:sp>
        <p:nvSpPr>
          <p:cNvPr id="11" name="Espace réservé du pied de page 10"/>
          <p:cNvSpPr>
            <a:spLocks noGrp="1"/>
          </p:cNvSpPr>
          <p:nvPr>
            <p:ph type="ftr" sz="quarter" idx="16"/>
          </p:nvPr>
        </p:nvSpPr>
        <p:spPr bwMode="gray">
          <a:xfrm>
            <a:off x="2412000" y="6498000"/>
            <a:ext cx="4320000" cy="360000"/>
          </a:xfrm>
          <a:prstGeom prst="rect">
            <a:avLst/>
          </a:prstGeom>
        </p:spPr>
        <p:txBody>
          <a:bodyPr/>
          <a:lstStyle/>
          <a:p>
            <a:r>
              <a:rPr lang="en-GB" sz="1400" kern="0">
                <a:solidFill>
                  <a:srgbClr val="005CB9"/>
                </a:solidFill>
                <a:cs typeface="Arial"/>
                <a:sym typeface="Arial"/>
              </a:rPr>
              <a:t>#add your hashtag</a:t>
            </a:r>
          </a:p>
        </p:txBody>
      </p:sp>
      <p:sp>
        <p:nvSpPr>
          <p:cNvPr id="12" name="Espace réservé du contenu 2"/>
          <p:cNvSpPr>
            <a:spLocks noGrp="1"/>
          </p:cNvSpPr>
          <p:nvPr>
            <p:ph idx="17" hasCustomPrompt="1"/>
          </p:nvPr>
        </p:nvSpPr>
        <p:spPr bwMode="gray">
          <a:xfrm>
            <a:off x="4716400" y="2781388"/>
            <a:ext cx="3564000" cy="3240000"/>
          </a:xfrm>
        </p:spPr>
        <p:txBody>
          <a:bodyPr/>
          <a:lstStyle>
            <a:lvl2pPr>
              <a:defRPr/>
            </a:lvl2pPr>
            <a:lvl3pPr>
              <a:defRPr/>
            </a:lvl3pPr>
            <a:lvl4pPr>
              <a:defRPr baseline="0"/>
            </a:lvl4pPr>
            <a:lvl5pPr>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Tree>
    <p:extLst>
      <p:ext uri="{BB962C8B-B14F-4D97-AF65-F5344CB8AC3E}">
        <p14:creationId xmlns:p14="http://schemas.microsoft.com/office/powerpoint/2010/main" val="9859724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hank_you_picture_2">
    <p:spTree>
      <p:nvGrpSpPr>
        <p:cNvPr id="1" name=""/>
        <p:cNvGrpSpPr/>
        <p:nvPr/>
      </p:nvGrpSpPr>
      <p:grpSpPr>
        <a:xfrm>
          <a:off x="0" y="0"/>
          <a:ext cx="0" cy="0"/>
          <a:chOff x="0" y="0"/>
          <a:chExt cx="0" cy="0"/>
        </a:xfrm>
      </p:grpSpPr>
      <p:pic>
        <p:nvPicPr>
          <p:cNvPr id="21" name="Image 20" descr="FD_1_L254.png"/>
          <p:cNvPicPr>
            <a:picLocks noChangeAspect="1"/>
          </p:cNvPicPr>
          <p:nvPr userDrawn="1"/>
        </p:nvPicPr>
        <p:blipFill>
          <a:blip r:embed="rId2" cstate="print"/>
          <a:stretch>
            <a:fillRect/>
          </a:stretch>
        </p:blipFill>
        <p:spPr bwMode="gray">
          <a:xfrm>
            <a:off x="1" y="0"/>
            <a:ext cx="9144000" cy="5157788"/>
          </a:xfrm>
          <a:prstGeom prst="rect">
            <a:avLst/>
          </a:prstGeom>
        </p:spPr>
      </p:pic>
      <p:sp>
        <p:nvSpPr>
          <p:cNvPr id="18" name="Espace réservé pour une image  17"/>
          <p:cNvSpPr>
            <a:spLocks noGrp="1"/>
          </p:cNvSpPr>
          <p:nvPr>
            <p:ph type="pic" sz="quarter" idx="18" hasCustomPrompt="1"/>
          </p:nvPr>
        </p:nvSpPr>
        <p:spPr bwMode="gray">
          <a:xfrm>
            <a:off x="4192588" y="0"/>
            <a:ext cx="4951412" cy="5162400"/>
          </a:xfrm>
          <a:custGeom>
            <a:avLst/>
            <a:gdLst>
              <a:gd name="connsiteX0" fmla="*/ 0 w 3851275"/>
              <a:gd name="connsiteY0" fmla="*/ 0 h 5157788"/>
              <a:gd name="connsiteX1" fmla="*/ 3851275 w 3851275"/>
              <a:gd name="connsiteY1" fmla="*/ 0 h 5157788"/>
              <a:gd name="connsiteX2" fmla="*/ 3851275 w 3851275"/>
              <a:gd name="connsiteY2" fmla="*/ 5157788 h 5157788"/>
              <a:gd name="connsiteX3" fmla="*/ 0 w 3851275"/>
              <a:gd name="connsiteY3" fmla="*/ 5157788 h 5157788"/>
              <a:gd name="connsiteX4" fmla="*/ 0 w 3851275"/>
              <a:gd name="connsiteY4"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0 w 3851275"/>
              <a:gd name="connsiteY3" fmla="*/ 5157788 h 5157788"/>
              <a:gd name="connsiteX4" fmla="*/ 1692275 w 3851275"/>
              <a:gd name="connsiteY4" fmla="*/ 0 h 5157788"/>
              <a:gd name="connsiteX0" fmla="*/ 0 w 2159000"/>
              <a:gd name="connsiteY0" fmla="*/ 0 h 5157788"/>
              <a:gd name="connsiteX1" fmla="*/ 2159000 w 2159000"/>
              <a:gd name="connsiteY1" fmla="*/ 0 h 5157788"/>
              <a:gd name="connsiteX2" fmla="*/ 2159000 w 2159000"/>
              <a:gd name="connsiteY2" fmla="*/ 5157788 h 5157788"/>
              <a:gd name="connsiteX3" fmla="*/ 0 w 2159000"/>
              <a:gd name="connsiteY3" fmla="*/ 5157788 h 5157788"/>
              <a:gd name="connsiteX4" fmla="*/ 0 w 2159000"/>
              <a:gd name="connsiteY4" fmla="*/ 0 h 5157788"/>
              <a:gd name="connsiteX0" fmla="*/ 2625271 w 4784271"/>
              <a:gd name="connsiteY0" fmla="*/ 0 h 5157788"/>
              <a:gd name="connsiteX1" fmla="*/ 4784271 w 4784271"/>
              <a:gd name="connsiteY1" fmla="*/ 0 h 5157788"/>
              <a:gd name="connsiteX2" fmla="*/ 4784271 w 4784271"/>
              <a:gd name="connsiteY2" fmla="*/ 5157788 h 5157788"/>
              <a:gd name="connsiteX3" fmla="*/ 2625271 w 4784271"/>
              <a:gd name="connsiteY3" fmla="*/ 5157788 h 5157788"/>
              <a:gd name="connsiteX4" fmla="*/ 2625271 w 4784271"/>
              <a:gd name="connsiteY4" fmla="*/ 0 h 5157788"/>
              <a:gd name="connsiteX0" fmla="*/ 2625271 w 4784271"/>
              <a:gd name="connsiteY0" fmla="*/ 0 h 5157788"/>
              <a:gd name="connsiteX1" fmla="*/ 4784271 w 4784271"/>
              <a:gd name="connsiteY1" fmla="*/ 0 h 5157788"/>
              <a:gd name="connsiteX2" fmla="*/ 4784271 w 4784271"/>
              <a:gd name="connsiteY2" fmla="*/ 5157788 h 5157788"/>
              <a:gd name="connsiteX3" fmla="*/ 2625271 w 4784271"/>
              <a:gd name="connsiteY3" fmla="*/ 5157788 h 5157788"/>
              <a:gd name="connsiteX4" fmla="*/ 2625271 w 4784271"/>
              <a:gd name="connsiteY4" fmla="*/ 0 h 5157788"/>
              <a:gd name="connsiteX0" fmla="*/ 3568576 w 5727576"/>
              <a:gd name="connsiteY0" fmla="*/ 0 h 5157788"/>
              <a:gd name="connsiteX1" fmla="*/ 5727576 w 5727576"/>
              <a:gd name="connsiteY1" fmla="*/ 0 h 5157788"/>
              <a:gd name="connsiteX2" fmla="*/ 5727576 w 5727576"/>
              <a:gd name="connsiteY2" fmla="*/ 5157788 h 5157788"/>
              <a:gd name="connsiteX3" fmla="*/ 3568576 w 5727576"/>
              <a:gd name="connsiteY3" fmla="*/ 5157788 h 5157788"/>
              <a:gd name="connsiteX4" fmla="*/ 3568576 w 5727576"/>
              <a:gd name="connsiteY4" fmla="*/ 0 h 5157788"/>
              <a:gd name="connsiteX0" fmla="*/ 3306355 w 5465355"/>
              <a:gd name="connsiteY0" fmla="*/ 0 h 5157788"/>
              <a:gd name="connsiteX1" fmla="*/ 5465355 w 5465355"/>
              <a:gd name="connsiteY1" fmla="*/ 0 h 5157788"/>
              <a:gd name="connsiteX2" fmla="*/ 5465355 w 5465355"/>
              <a:gd name="connsiteY2" fmla="*/ 5157788 h 5157788"/>
              <a:gd name="connsiteX3" fmla="*/ 3306355 w 5465355"/>
              <a:gd name="connsiteY3" fmla="*/ 5157788 h 5157788"/>
              <a:gd name="connsiteX4" fmla="*/ 3306355 w 5465355"/>
              <a:gd name="connsiteY4" fmla="*/ 0 h 5157788"/>
              <a:gd name="connsiteX0" fmla="*/ 1416957 w 3575957"/>
              <a:gd name="connsiteY0" fmla="*/ 0 h 5157788"/>
              <a:gd name="connsiteX1" fmla="*/ 3575957 w 3575957"/>
              <a:gd name="connsiteY1" fmla="*/ 0 h 5157788"/>
              <a:gd name="connsiteX2" fmla="*/ 3575957 w 3575957"/>
              <a:gd name="connsiteY2" fmla="*/ 5157788 h 5157788"/>
              <a:gd name="connsiteX3" fmla="*/ 1416957 w 3575957"/>
              <a:gd name="connsiteY3" fmla="*/ 5157788 h 5157788"/>
              <a:gd name="connsiteX4" fmla="*/ 0 w 3575957"/>
              <a:gd name="connsiteY4" fmla="*/ 3339193 h 5157788"/>
              <a:gd name="connsiteX5" fmla="*/ 1416957 w 3575957"/>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6017419"/>
              <a:gd name="connsiteX1" fmla="*/ 3851275 w 3851275"/>
              <a:gd name="connsiteY1" fmla="*/ 0 h 6017419"/>
              <a:gd name="connsiteX2" fmla="*/ 3851275 w 3851275"/>
              <a:gd name="connsiteY2" fmla="*/ 5157788 h 6017419"/>
              <a:gd name="connsiteX3" fmla="*/ 1692275 w 3851275"/>
              <a:gd name="connsiteY3" fmla="*/ 5157788 h 6017419"/>
              <a:gd name="connsiteX4" fmla="*/ 0 w 3851275"/>
              <a:gd name="connsiteY4" fmla="*/ 3284984 h 6017419"/>
              <a:gd name="connsiteX5" fmla="*/ 1692275 w 3851275"/>
              <a:gd name="connsiteY5" fmla="*/ 0 h 6017419"/>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429000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429000 h 5157788"/>
              <a:gd name="connsiteX5" fmla="*/ 1710871 w 3869871"/>
              <a:gd name="connsiteY5" fmla="*/ 0 h 5157788"/>
              <a:gd name="connsiteX0" fmla="*/ 1704975 w 3863975"/>
              <a:gd name="connsiteY0" fmla="*/ 0 h 5157788"/>
              <a:gd name="connsiteX1" fmla="*/ 3863975 w 3863975"/>
              <a:gd name="connsiteY1" fmla="*/ 0 h 5157788"/>
              <a:gd name="connsiteX2" fmla="*/ 3863975 w 3863975"/>
              <a:gd name="connsiteY2" fmla="*/ 5157788 h 5157788"/>
              <a:gd name="connsiteX3" fmla="*/ 1704975 w 3863975"/>
              <a:gd name="connsiteY3" fmla="*/ 5157788 h 5157788"/>
              <a:gd name="connsiteX4" fmla="*/ 12700 w 3863975"/>
              <a:gd name="connsiteY4" fmla="*/ 3429000 h 5157788"/>
              <a:gd name="connsiteX5" fmla="*/ 1704975 w 3863975"/>
              <a:gd name="connsiteY5" fmla="*/ 0 h 5157788"/>
              <a:gd name="connsiteX0" fmla="*/ 1707243 w 3866243"/>
              <a:gd name="connsiteY0" fmla="*/ 0 h 5157788"/>
              <a:gd name="connsiteX1" fmla="*/ 3866243 w 3866243"/>
              <a:gd name="connsiteY1" fmla="*/ 0 h 5157788"/>
              <a:gd name="connsiteX2" fmla="*/ 3866243 w 3866243"/>
              <a:gd name="connsiteY2" fmla="*/ 5157788 h 5157788"/>
              <a:gd name="connsiteX3" fmla="*/ 1707243 w 3866243"/>
              <a:gd name="connsiteY3" fmla="*/ 5157788 h 5157788"/>
              <a:gd name="connsiteX4" fmla="*/ 14968 w 3866243"/>
              <a:gd name="connsiteY4" fmla="*/ 3429000 h 5157788"/>
              <a:gd name="connsiteX5" fmla="*/ 1707243 w 3866243"/>
              <a:gd name="connsiteY5" fmla="*/ 0 h 5157788"/>
              <a:gd name="connsiteX0" fmla="*/ 1130447 w 3866243"/>
              <a:gd name="connsiteY0" fmla="*/ 0 h 5157788"/>
              <a:gd name="connsiteX1" fmla="*/ 3866243 w 3866243"/>
              <a:gd name="connsiteY1" fmla="*/ 0 h 5157788"/>
              <a:gd name="connsiteX2" fmla="*/ 3866243 w 3866243"/>
              <a:gd name="connsiteY2" fmla="*/ 5157788 h 5157788"/>
              <a:gd name="connsiteX3" fmla="*/ 1707243 w 3866243"/>
              <a:gd name="connsiteY3" fmla="*/ 5157788 h 5157788"/>
              <a:gd name="connsiteX4" fmla="*/ 14968 w 3866243"/>
              <a:gd name="connsiteY4" fmla="*/ 3429000 h 5157788"/>
              <a:gd name="connsiteX5" fmla="*/ 1130447 w 3866243"/>
              <a:gd name="connsiteY5" fmla="*/ 0 h 5157788"/>
              <a:gd name="connsiteX0" fmla="*/ 2746143 w 5481939"/>
              <a:gd name="connsiteY0" fmla="*/ 0 h 5157788"/>
              <a:gd name="connsiteX1" fmla="*/ 5481939 w 5481939"/>
              <a:gd name="connsiteY1" fmla="*/ 0 h 5157788"/>
              <a:gd name="connsiteX2" fmla="*/ 5481939 w 5481939"/>
              <a:gd name="connsiteY2" fmla="*/ 5157788 h 5157788"/>
              <a:gd name="connsiteX3" fmla="*/ 585903 w 5481939"/>
              <a:gd name="connsiteY3" fmla="*/ 5153180 h 5157788"/>
              <a:gd name="connsiteX4" fmla="*/ 1630664 w 5481939"/>
              <a:gd name="connsiteY4" fmla="*/ 3429000 h 5157788"/>
              <a:gd name="connsiteX5" fmla="*/ 2746143 w 5481939"/>
              <a:gd name="connsiteY5" fmla="*/ 0 h 5157788"/>
              <a:gd name="connsiteX0" fmla="*/ 2746143 w 5481939"/>
              <a:gd name="connsiteY0" fmla="*/ 0 h 5157788"/>
              <a:gd name="connsiteX1" fmla="*/ 5481939 w 5481939"/>
              <a:gd name="connsiteY1" fmla="*/ 0 h 5157788"/>
              <a:gd name="connsiteX2" fmla="*/ 5481939 w 5481939"/>
              <a:gd name="connsiteY2" fmla="*/ 5157788 h 5157788"/>
              <a:gd name="connsiteX3" fmla="*/ 585903 w 5481939"/>
              <a:gd name="connsiteY3" fmla="*/ 5153180 h 5157788"/>
              <a:gd name="connsiteX4" fmla="*/ 1630664 w 5481939"/>
              <a:gd name="connsiteY4" fmla="*/ 3429000 h 5157788"/>
              <a:gd name="connsiteX5" fmla="*/ 2746143 w 548193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3574235 w 6310031"/>
              <a:gd name="connsiteY0" fmla="*/ 0 h 5157788"/>
              <a:gd name="connsiteX1" fmla="*/ 6310031 w 6310031"/>
              <a:gd name="connsiteY1" fmla="*/ 0 h 5157788"/>
              <a:gd name="connsiteX2" fmla="*/ 6310031 w 6310031"/>
              <a:gd name="connsiteY2" fmla="*/ 5157788 h 5157788"/>
              <a:gd name="connsiteX3" fmla="*/ 585903 w 6310031"/>
              <a:gd name="connsiteY3" fmla="*/ 5153180 h 5157788"/>
              <a:gd name="connsiteX4" fmla="*/ 1738031 w 6310031"/>
              <a:gd name="connsiteY4" fmla="*/ 3389965 h 5157788"/>
              <a:gd name="connsiteX5" fmla="*/ 3574235 w 6310031"/>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296143 w 5724128"/>
              <a:gd name="connsiteY4" fmla="*/ 3461908 h 5157788"/>
              <a:gd name="connsiteX5" fmla="*/ 2988332 w 5724128"/>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1188132 w 5760132"/>
              <a:gd name="connsiteY4" fmla="*/ 3425937 h 5157788"/>
              <a:gd name="connsiteX5" fmla="*/ 3024336 w 5760132"/>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2736304 w 5760132"/>
              <a:gd name="connsiteY4" fmla="*/ 3461908 h 5157788"/>
              <a:gd name="connsiteX5" fmla="*/ 3024336 w 5760132"/>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2736304 w 5760132"/>
              <a:gd name="connsiteY4" fmla="*/ 3461908 h 5157788"/>
              <a:gd name="connsiteX5" fmla="*/ 3024336 w 5760132"/>
              <a:gd name="connsiteY5" fmla="*/ 0 h 5157788"/>
              <a:gd name="connsiteX0" fmla="*/ 2160240 w 4896036"/>
              <a:gd name="connsiteY0" fmla="*/ 0 h 5157788"/>
              <a:gd name="connsiteX1" fmla="*/ 4896036 w 4896036"/>
              <a:gd name="connsiteY1" fmla="*/ 0 h 5157788"/>
              <a:gd name="connsiteX2" fmla="*/ 4896036 w 4896036"/>
              <a:gd name="connsiteY2" fmla="*/ 5157788 h 5157788"/>
              <a:gd name="connsiteX3" fmla="*/ 0 w 4896036"/>
              <a:gd name="connsiteY3" fmla="*/ 5153180 h 5157788"/>
              <a:gd name="connsiteX4" fmla="*/ 1872208 w 4896036"/>
              <a:gd name="connsiteY4" fmla="*/ 3461908 h 5157788"/>
              <a:gd name="connsiteX5" fmla="*/ 2160240 w 4896036"/>
              <a:gd name="connsiteY5" fmla="*/ 0 h 5157788"/>
              <a:gd name="connsiteX0" fmla="*/ 2232248 w 4968044"/>
              <a:gd name="connsiteY0" fmla="*/ 0 h 5157788"/>
              <a:gd name="connsiteX1" fmla="*/ 4968044 w 4968044"/>
              <a:gd name="connsiteY1" fmla="*/ 0 h 5157788"/>
              <a:gd name="connsiteX2" fmla="*/ 4968044 w 4968044"/>
              <a:gd name="connsiteY2" fmla="*/ 5157788 h 5157788"/>
              <a:gd name="connsiteX3" fmla="*/ 0 w 4968044"/>
              <a:gd name="connsiteY3" fmla="*/ 5153180 h 5157788"/>
              <a:gd name="connsiteX4" fmla="*/ 1944216 w 4968044"/>
              <a:gd name="connsiteY4" fmla="*/ 3461908 h 5157788"/>
              <a:gd name="connsiteX5" fmla="*/ 2232248 w 4968044"/>
              <a:gd name="connsiteY5" fmla="*/ 0 h 5157788"/>
              <a:gd name="connsiteX0" fmla="*/ 2207679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207679 w 4943475"/>
              <a:gd name="connsiteY5" fmla="*/ 0 h 5157788"/>
              <a:gd name="connsiteX0" fmla="*/ 2963763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963763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092200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71575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343583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675731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675731 w 4943475"/>
              <a:gd name="connsiteY5" fmla="*/ 0 h 5157788"/>
              <a:gd name="connsiteX0" fmla="*/ 2675731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675731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9672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19672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51412" h="5157788">
                <a:moveTo>
                  <a:pt x="2706687" y="0"/>
                </a:moveTo>
                <a:lnTo>
                  <a:pt x="4951412" y="0"/>
                </a:lnTo>
                <a:lnTo>
                  <a:pt x="4951412" y="5157788"/>
                </a:lnTo>
                <a:lnTo>
                  <a:pt x="0" y="5153180"/>
                </a:lnTo>
                <a:cubicBezTo>
                  <a:pt x="84411" y="4542509"/>
                  <a:pt x="183041" y="4024723"/>
                  <a:pt x="1243508" y="2562613"/>
                </a:cubicBezTo>
                <a:cubicBezTo>
                  <a:pt x="1867447" y="1704780"/>
                  <a:pt x="2665955" y="709265"/>
                  <a:pt x="2706687" y="0"/>
                </a:cubicBezTo>
                <a:close/>
              </a:path>
            </a:pathLst>
          </a:custGeom>
          <a:solidFill>
            <a:schemeClr val="bg2"/>
          </a:solidFill>
          <a:ln w="3175">
            <a:noFill/>
          </a:ln>
        </p:spPr>
        <p:txBody>
          <a:bodyPr tIns="720000" anchor="ctr" anchorCtr="0"/>
          <a:lstStyle>
            <a:lvl1pPr algn="ctr">
              <a:defRPr sz="1500">
                <a:solidFill>
                  <a:schemeClr val="bg1"/>
                </a:solidFill>
              </a:defRPr>
            </a:lvl1pPr>
          </a:lstStyle>
          <a:p>
            <a:r>
              <a:rPr lang="en-US" noProof="0"/>
              <a:t>Select your own photo</a:t>
            </a:r>
          </a:p>
        </p:txBody>
      </p:sp>
      <p:sp>
        <p:nvSpPr>
          <p:cNvPr id="22" name="Rectangle 21"/>
          <p:cNvSpPr/>
          <p:nvPr userDrawn="1"/>
        </p:nvSpPr>
        <p:spPr bwMode="gray">
          <a:xfrm>
            <a:off x="3635375" y="5265204"/>
            <a:ext cx="5508625" cy="15927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pic>
        <p:nvPicPr>
          <p:cNvPr id="20" name="Image 19" descr="Bas_couv.png"/>
          <p:cNvPicPr>
            <a:picLocks noChangeAspect="1"/>
          </p:cNvPicPr>
          <p:nvPr userDrawn="1"/>
        </p:nvPicPr>
        <p:blipFill>
          <a:blip r:embed="rId3" cstate="print"/>
          <a:srcRect r="60243" b="722"/>
          <a:stretch>
            <a:fillRect/>
          </a:stretch>
        </p:blipFill>
        <p:spPr bwMode="gray">
          <a:xfrm>
            <a:off x="0" y="5172520"/>
            <a:ext cx="3635375" cy="1685480"/>
          </a:xfrm>
          <a:prstGeom prst="rect">
            <a:avLst/>
          </a:prstGeom>
        </p:spPr>
      </p:pic>
      <p:sp>
        <p:nvSpPr>
          <p:cNvPr id="9" name="Espace réservé du texte 8"/>
          <p:cNvSpPr>
            <a:spLocks noGrp="1"/>
          </p:cNvSpPr>
          <p:nvPr>
            <p:ph type="body" sz="quarter" idx="13" hasCustomPrompt="1"/>
          </p:nvPr>
        </p:nvSpPr>
        <p:spPr bwMode="gray">
          <a:xfrm>
            <a:off x="468000" y="1036800"/>
            <a:ext cx="4824412" cy="2232000"/>
          </a:xfrm>
        </p:spPr>
        <p:txBody>
          <a:bodyPr anchor="b" anchorCtr="0"/>
          <a:lstStyle>
            <a:lvl1pPr marL="0" indent="0" algn="l">
              <a:lnSpc>
                <a:spcPct val="90000"/>
              </a:lnSpc>
              <a:buNone/>
              <a:defRPr sz="2800" b="1" cap="none" baseline="0">
                <a:solidFill>
                  <a:schemeClr val="bg1"/>
                </a:solidFill>
              </a:defRPr>
            </a:lvl1pPr>
            <a:lvl2pPr marL="0" algn="ctr">
              <a:lnSpc>
                <a:spcPct val="100000"/>
              </a:lnSpc>
              <a:spcBef>
                <a:spcPts val="6900"/>
              </a:spcBef>
              <a:defRPr sz="2000" b="1">
                <a:solidFill>
                  <a:schemeClr val="bg1"/>
                </a:solidFill>
              </a:defRPr>
            </a:lvl2pPr>
          </a:lstStyle>
          <a:p>
            <a:pPr lvl="0"/>
            <a:r>
              <a:rPr lang="en-US" noProof="0"/>
              <a:t>TITLE</a:t>
            </a:r>
          </a:p>
        </p:txBody>
      </p:sp>
      <p:sp>
        <p:nvSpPr>
          <p:cNvPr id="10" name="Espace réservé de la date 9"/>
          <p:cNvSpPr>
            <a:spLocks noGrp="1"/>
          </p:cNvSpPr>
          <p:nvPr>
            <p:ph type="dt" sz="half" idx="15"/>
          </p:nvPr>
        </p:nvSpPr>
        <p:spPr bwMode="gray"/>
        <p:txBody>
          <a:bodyPr/>
          <a:lstStyle/>
          <a:p>
            <a:r>
              <a:rPr lang="en-US" noProof="0"/>
              <a:t>Date</a:t>
            </a:r>
          </a:p>
        </p:txBody>
      </p:sp>
      <p:sp>
        <p:nvSpPr>
          <p:cNvPr id="11" name="Espace réservé du numéro de diapositive 10"/>
          <p:cNvSpPr>
            <a:spLocks noGrp="1"/>
          </p:cNvSpPr>
          <p:nvPr>
            <p:ph type="sldNum" sz="quarter" idx="16"/>
          </p:nvPr>
        </p:nvSpPr>
        <p:spPr bwMode="gray"/>
        <p:txBody>
          <a:bodyPr/>
          <a:lstStyle>
            <a:lvl1pPr>
              <a:defRPr sz="100">
                <a:solidFill>
                  <a:schemeClr val="bg1">
                    <a:alpha val="0"/>
                  </a:schemeClr>
                </a:solidFill>
              </a:defRPr>
            </a:lvl1pPr>
          </a:lstStyle>
          <a:p>
            <a:pPr algn="l"/>
            <a:r>
              <a:rPr lang="en-US" noProof="0"/>
              <a:t>Page: </a:t>
            </a:r>
            <a:fld id="{733122C9-A0B9-462F-8757-0847AD287B63}" type="slidenum">
              <a:rPr lang="en-US" noProof="0" smtClean="0"/>
              <a:pPr algn="l"/>
              <a:t>‹#›</a:t>
            </a:fld>
            <a:endParaRPr lang="en-US" noProof="0"/>
          </a:p>
        </p:txBody>
      </p:sp>
      <p:sp>
        <p:nvSpPr>
          <p:cNvPr id="12" name="Espace réservé du pied de page 11"/>
          <p:cNvSpPr>
            <a:spLocks noGrp="1"/>
          </p:cNvSpPr>
          <p:nvPr>
            <p:ph type="ftr" sz="quarter" idx="17"/>
          </p:nvPr>
        </p:nvSpPr>
        <p:spPr bwMode="gray">
          <a:xfrm>
            <a:off x="468312" y="524188"/>
            <a:ext cx="4824413" cy="360000"/>
          </a:xfrm>
        </p:spPr>
        <p:txBody>
          <a:bodyPr/>
          <a:lstStyle>
            <a:lvl1pPr algn="l">
              <a:defRPr sz="1800" b="0">
                <a:solidFill>
                  <a:schemeClr val="bg1"/>
                </a:solidFill>
              </a:defRPr>
            </a:lvl1pPr>
          </a:lstStyle>
          <a:p>
            <a:r>
              <a:rPr lang="en-US" noProof="0"/>
              <a:t>#add your hashtag</a:t>
            </a:r>
          </a:p>
        </p:txBody>
      </p:sp>
      <p:sp>
        <p:nvSpPr>
          <p:cNvPr id="15" name="Espace réservé du texte 14"/>
          <p:cNvSpPr>
            <a:spLocks noGrp="1"/>
          </p:cNvSpPr>
          <p:nvPr>
            <p:ph type="body" sz="quarter" idx="19" hasCustomPrompt="1"/>
          </p:nvPr>
        </p:nvSpPr>
        <p:spPr bwMode="gray">
          <a:xfrm>
            <a:off x="3635376" y="6021388"/>
            <a:ext cx="5113338" cy="324000"/>
          </a:xfrm>
        </p:spPr>
        <p:txBody>
          <a:bodyPr anchor="b" anchorCtr="0"/>
          <a:lstStyle>
            <a:lvl1pPr algn="r">
              <a:lnSpc>
                <a:spcPct val="100000"/>
              </a:lnSpc>
              <a:defRPr sz="1000" b="1">
                <a:solidFill>
                  <a:schemeClr val="accent2"/>
                </a:solidFill>
              </a:defRPr>
            </a:lvl1pPr>
          </a:lstStyle>
          <a:p>
            <a:pPr lvl="0"/>
            <a:r>
              <a:rPr lang="en-US" noProof="0"/>
              <a:t>Write your claim here</a:t>
            </a:r>
          </a:p>
        </p:txBody>
      </p:sp>
      <p:sp>
        <p:nvSpPr>
          <p:cNvPr id="16" name="Rectangle 15"/>
          <p:cNvSpPr/>
          <p:nvPr userDrawn="1"/>
        </p:nvSpPr>
        <p:spPr bwMode="gray">
          <a:xfrm>
            <a:off x="3635375" y="6354202"/>
            <a:ext cx="5113338" cy="2872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r"/>
            <a:r>
              <a:rPr lang="en-US" sz="1000" noProof="0">
                <a:solidFill>
                  <a:schemeClr val="accent3"/>
                </a:solidFill>
              </a:rPr>
              <a:t>www.gavi.org</a:t>
            </a:r>
          </a:p>
        </p:txBody>
      </p:sp>
      <p:sp>
        <p:nvSpPr>
          <p:cNvPr id="19" name="Rectangle 18"/>
          <p:cNvSpPr/>
          <p:nvPr userDrawn="1"/>
        </p:nvSpPr>
        <p:spPr bwMode="gray">
          <a:xfrm>
            <a:off x="468313" y="3391895"/>
            <a:ext cx="2448000" cy="252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7" name="Espace réservé du texte 16"/>
          <p:cNvSpPr>
            <a:spLocks noGrp="1"/>
          </p:cNvSpPr>
          <p:nvPr>
            <p:ph type="body" sz="quarter" idx="20" hasCustomPrompt="1"/>
          </p:nvPr>
        </p:nvSpPr>
        <p:spPr bwMode="gray">
          <a:xfrm>
            <a:off x="0" y="5157788"/>
            <a:ext cx="9144000" cy="287337"/>
          </a:xfrm>
          <a:solidFill>
            <a:schemeClr val="bg1"/>
          </a:solidFill>
        </p:spPr>
        <p:txBody>
          <a:bodyPr/>
          <a:lstStyle>
            <a:lvl1pPr>
              <a:defRPr sz="100" b="0">
                <a:solidFill>
                  <a:schemeClr val="bg1">
                    <a:alpha val="0"/>
                  </a:schemeClr>
                </a:solidFill>
              </a:defRPr>
            </a:lvl1pPr>
          </a:lstStyle>
          <a:p>
            <a:pPr lvl="0"/>
            <a:r>
              <a:rPr lang="en-US" noProof="0"/>
              <a:t> </a:t>
            </a:r>
          </a:p>
        </p:txBody>
      </p:sp>
    </p:spTree>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Text&amp;3_Contents_Layout">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p:txBody>
          <a:bodyPr/>
          <a:lstStyle/>
          <a:p>
            <a:r>
              <a:rPr lang="en-GB" noProof="0"/>
              <a:t>TITLE</a:t>
            </a:r>
          </a:p>
        </p:txBody>
      </p:sp>
      <p:sp>
        <p:nvSpPr>
          <p:cNvPr id="3" name="Espace réservé du contenu 2"/>
          <p:cNvSpPr>
            <a:spLocks noGrp="1"/>
          </p:cNvSpPr>
          <p:nvPr>
            <p:ph idx="1" hasCustomPrompt="1"/>
          </p:nvPr>
        </p:nvSpPr>
        <p:spPr bwMode="gray">
          <a:xfrm>
            <a:off x="935038" y="2781388"/>
            <a:ext cx="2304000" cy="3240000"/>
          </a:xfrm>
        </p:spPr>
        <p:txBody>
          <a:bodyPr/>
          <a:lstStyle>
            <a:lvl2pPr>
              <a:defRPr/>
            </a:lvl2pPr>
            <a:lvl3pPr>
              <a:defRPr/>
            </a:lvl3pPr>
            <a:lvl4pPr>
              <a:defRPr baseline="0"/>
            </a:lvl4pPr>
            <a:lvl5pPr>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10" name="Espace réservé du texte 9"/>
          <p:cNvSpPr>
            <a:spLocks noGrp="1"/>
          </p:cNvSpPr>
          <p:nvPr>
            <p:ph type="body" sz="quarter" idx="13" hasCustomPrompt="1"/>
          </p:nvPr>
        </p:nvSpPr>
        <p:spPr bwMode="gray">
          <a:xfrm>
            <a:off x="935038" y="1304924"/>
            <a:ext cx="7345362" cy="1260000"/>
          </a:xfrm>
        </p:spPr>
        <p:txBody>
          <a:body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8" name="Espace réservé de la date 7"/>
          <p:cNvSpPr>
            <a:spLocks noGrp="1"/>
          </p:cNvSpPr>
          <p:nvPr>
            <p:ph type="dt" sz="half" idx="14"/>
          </p:nvPr>
        </p:nvSpPr>
        <p:spPr bwMode="gray"/>
        <p:txBody>
          <a:bodyPr/>
          <a:lstStyle/>
          <a:p>
            <a:r>
              <a:rPr lang="en-GB">
                <a:solidFill>
                  <a:prstClr val="white">
                    <a:alpha val="0"/>
                  </a:prstClr>
                </a:solidFill>
              </a:rPr>
              <a:t>Date</a:t>
            </a:r>
          </a:p>
        </p:txBody>
      </p:sp>
      <p:sp>
        <p:nvSpPr>
          <p:cNvPr id="9" name="Espace réservé du numéro de diapositive 8"/>
          <p:cNvSpPr>
            <a:spLocks noGrp="1"/>
          </p:cNvSpPr>
          <p:nvPr>
            <p:ph type="sldNum" sz="quarter" idx="15"/>
          </p:nvPr>
        </p:nvSpPr>
        <p:spPr bwMode="gray"/>
        <p:txBody>
          <a:bodyPr/>
          <a:lstStyle/>
          <a:p>
            <a:fld id="{733122C9-A0B9-462F-8757-0847AD287B63}" type="slidenum">
              <a:rPr lang="en-GB" smtClean="0">
                <a:solidFill>
                  <a:srgbClr val="343434"/>
                </a:solidFill>
              </a:rPr>
              <a:pPr/>
              <a:t>‹#›</a:t>
            </a:fld>
            <a:endParaRPr lang="en-GB">
              <a:solidFill>
                <a:srgbClr val="343434"/>
              </a:solidFill>
            </a:endParaRPr>
          </a:p>
        </p:txBody>
      </p:sp>
      <p:sp>
        <p:nvSpPr>
          <p:cNvPr id="11" name="Espace réservé du pied de page 10"/>
          <p:cNvSpPr>
            <a:spLocks noGrp="1"/>
          </p:cNvSpPr>
          <p:nvPr>
            <p:ph type="ftr" sz="quarter" idx="16"/>
          </p:nvPr>
        </p:nvSpPr>
        <p:spPr bwMode="gray">
          <a:xfrm>
            <a:off x="2412000" y="6498000"/>
            <a:ext cx="4320000" cy="360000"/>
          </a:xfrm>
          <a:prstGeom prst="rect">
            <a:avLst/>
          </a:prstGeom>
        </p:spPr>
        <p:txBody>
          <a:bodyPr/>
          <a:lstStyle/>
          <a:p>
            <a:r>
              <a:rPr lang="en-GB" sz="1400" kern="0">
                <a:solidFill>
                  <a:srgbClr val="005CB9"/>
                </a:solidFill>
                <a:cs typeface="Arial"/>
                <a:sym typeface="Arial"/>
              </a:rPr>
              <a:t>#add your hashtag</a:t>
            </a:r>
          </a:p>
        </p:txBody>
      </p:sp>
      <p:sp>
        <p:nvSpPr>
          <p:cNvPr id="13" name="Espace réservé du contenu 2"/>
          <p:cNvSpPr>
            <a:spLocks noGrp="1"/>
          </p:cNvSpPr>
          <p:nvPr>
            <p:ph idx="17" hasCustomPrompt="1"/>
          </p:nvPr>
        </p:nvSpPr>
        <p:spPr bwMode="gray">
          <a:xfrm>
            <a:off x="3455719" y="2781388"/>
            <a:ext cx="2304000" cy="3240000"/>
          </a:xfrm>
        </p:spPr>
        <p:txBody>
          <a:bodyPr/>
          <a:lstStyle>
            <a:lvl2pPr>
              <a:defRPr/>
            </a:lvl2pPr>
            <a:lvl3pPr>
              <a:defRPr/>
            </a:lvl3pPr>
            <a:lvl4pPr>
              <a:defRPr baseline="0"/>
            </a:lvl4pPr>
            <a:lvl5pPr>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14" name="Espace réservé du contenu 2"/>
          <p:cNvSpPr>
            <a:spLocks noGrp="1"/>
          </p:cNvSpPr>
          <p:nvPr>
            <p:ph idx="18" hasCustomPrompt="1"/>
          </p:nvPr>
        </p:nvSpPr>
        <p:spPr bwMode="gray">
          <a:xfrm>
            <a:off x="5976400" y="2781388"/>
            <a:ext cx="2304000" cy="3240000"/>
          </a:xfrm>
        </p:spPr>
        <p:txBody>
          <a:bodyPr/>
          <a:lstStyle>
            <a:lvl2pPr>
              <a:defRPr/>
            </a:lvl2pPr>
            <a:lvl3pPr>
              <a:defRPr/>
            </a:lvl3pPr>
            <a:lvl4pPr>
              <a:defRPr baseline="0"/>
            </a:lvl4pPr>
            <a:lvl5pPr>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Tree>
    <p:extLst>
      <p:ext uri="{BB962C8B-B14F-4D97-AF65-F5344CB8AC3E}">
        <p14:creationId xmlns:p14="http://schemas.microsoft.com/office/powerpoint/2010/main" val="14826209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4_Contents_Layout">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p:txBody>
          <a:bodyPr/>
          <a:lstStyle/>
          <a:p>
            <a:r>
              <a:rPr lang="en-GB" noProof="0"/>
              <a:t>TITLE</a:t>
            </a:r>
          </a:p>
        </p:txBody>
      </p:sp>
      <p:sp>
        <p:nvSpPr>
          <p:cNvPr id="3" name="Espace réservé du contenu 2"/>
          <p:cNvSpPr>
            <a:spLocks noGrp="1"/>
          </p:cNvSpPr>
          <p:nvPr>
            <p:ph idx="1" hasCustomPrompt="1"/>
          </p:nvPr>
        </p:nvSpPr>
        <p:spPr bwMode="gray">
          <a:xfrm>
            <a:off x="935038" y="1304924"/>
            <a:ext cx="3564000" cy="2250000"/>
          </a:xfrm>
        </p:spPr>
        <p:txBody>
          <a:bodyPr/>
          <a:lstStyle>
            <a:lvl2pPr>
              <a:defRPr/>
            </a:lvl2pPr>
            <a:lvl3pPr>
              <a:defRPr/>
            </a:lvl3pPr>
            <a:lvl4pPr>
              <a:defRPr baseline="0"/>
            </a:lvl4pPr>
            <a:lvl5pPr>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7" name="Espace réservé de la date 6"/>
          <p:cNvSpPr>
            <a:spLocks noGrp="1"/>
          </p:cNvSpPr>
          <p:nvPr>
            <p:ph type="dt" sz="half" idx="10"/>
          </p:nvPr>
        </p:nvSpPr>
        <p:spPr bwMode="gray"/>
        <p:txBody>
          <a:bodyPr/>
          <a:lstStyle/>
          <a:p>
            <a:r>
              <a:rPr lang="en-GB">
                <a:solidFill>
                  <a:prstClr val="white">
                    <a:alpha val="0"/>
                  </a:prstClr>
                </a:solidFill>
              </a:rPr>
              <a:t>Date</a:t>
            </a:r>
          </a:p>
        </p:txBody>
      </p:sp>
      <p:sp>
        <p:nvSpPr>
          <p:cNvPr id="8" name="Espace réservé du numéro de diapositive 7"/>
          <p:cNvSpPr>
            <a:spLocks noGrp="1"/>
          </p:cNvSpPr>
          <p:nvPr>
            <p:ph type="sldNum" sz="quarter" idx="11"/>
          </p:nvPr>
        </p:nvSpPr>
        <p:spPr bwMode="gray"/>
        <p:txBody>
          <a:bodyPr/>
          <a:lstStyle/>
          <a:p>
            <a:fld id="{733122C9-A0B9-462F-8757-0847AD287B63}" type="slidenum">
              <a:rPr lang="en-GB" smtClean="0">
                <a:solidFill>
                  <a:srgbClr val="343434"/>
                </a:solidFill>
              </a:rPr>
              <a:pPr/>
              <a:t>‹#›</a:t>
            </a:fld>
            <a:endParaRPr lang="en-GB">
              <a:solidFill>
                <a:srgbClr val="343434"/>
              </a:solidFill>
            </a:endParaRPr>
          </a:p>
        </p:txBody>
      </p:sp>
      <p:sp>
        <p:nvSpPr>
          <p:cNvPr id="11" name="Espace réservé du pied de page 10"/>
          <p:cNvSpPr>
            <a:spLocks noGrp="1"/>
          </p:cNvSpPr>
          <p:nvPr>
            <p:ph type="ftr" sz="quarter" idx="12"/>
          </p:nvPr>
        </p:nvSpPr>
        <p:spPr bwMode="gray">
          <a:xfrm>
            <a:off x="2412000" y="6498000"/>
            <a:ext cx="4320000" cy="360000"/>
          </a:xfrm>
          <a:prstGeom prst="rect">
            <a:avLst/>
          </a:prstGeom>
        </p:spPr>
        <p:txBody>
          <a:bodyPr/>
          <a:lstStyle/>
          <a:p>
            <a:r>
              <a:rPr lang="en-GB" sz="1400" kern="0">
                <a:solidFill>
                  <a:srgbClr val="005CB9"/>
                </a:solidFill>
                <a:cs typeface="Arial"/>
                <a:sym typeface="Arial"/>
              </a:rPr>
              <a:t>#add your hashtag</a:t>
            </a:r>
          </a:p>
        </p:txBody>
      </p:sp>
      <p:sp>
        <p:nvSpPr>
          <p:cNvPr id="9" name="Espace réservé du contenu 2"/>
          <p:cNvSpPr>
            <a:spLocks noGrp="1"/>
          </p:cNvSpPr>
          <p:nvPr>
            <p:ph idx="13" hasCustomPrompt="1"/>
          </p:nvPr>
        </p:nvSpPr>
        <p:spPr bwMode="gray">
          <a:xfrm>
            <a:off x="4716400" y="1304925"/>
            <a:ext cx="3564000" cy="2250000"/>
          </a:xfrm>
        </p:spPr>
        <p:txBody>
          <a:bodyPr/>
          <a:lstStyle>
            <a:lvl2pPr>
              <a:defRPr/>
            </a:lvl2pPr>
            <a:lvl3pPr>
              <a:defRPr/>
            </a:lvl3pPr>
            <a:lvl4pPr>
              <a:defRPr baseline="0"/>
            </a:lvl4pPr>
            <a:lvl5pPr>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13" name="Espace réservé du contenu 2"/>
          <p:cNvSpPr>
            <a:spLocks noGrp="1"/>
          </p:cNvSpPr>
          <p:nvPr>
            <p:ph idx="14" hasCustomPrompt="1"/>
          </p:nvPr>
        </p:nvSpPr>
        <p:spPr bwMode="gray">
          <a:xfrm>
            <a:off x="935038" y="3771388"/>
            <a:ext cx="3564000" cy="2250000"/>
          </a:xfrm>
        </p:spPr>
        <p:txBody>
          <a:bodyPr/>
          <a:lstStyle>
            <a:lvl2pPr>
              <a:defRPr/>
            </a:lvl2pPr>
            <a:lvl3pPr>
              <a:defRPr/>
            </a:lvl3pPr>
            <a:lvl4pPr>
              <a:defRPr baseline="0"/>
            </a:lvl4pPr>
            <a:lvl5pPr>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14" name="Espace réservé du contenu 2"/>
          <p:cNvSpPr>
            <a:spLocks noGrp="1"/>
          </p:cNvSpPr>
          <p:nvPr>
            <p:ph idx="15" hasCustomPrompt="1"/>
          </p:nvPr>
        </p:nvSpPr>
        <p:spPr bwMode="gray">
          <a:xfrm>
            <a:off x="4716400" y="3771388"/>
            <a:ext cx="3564000" cy="2250000"/>
          </a:xfrm>
        </p:spPr>
        <p:txBody>
          <a:bodyPr/>
          <a:lstStyle>
            <a:lvl2pPr>
              <a:defRPr/>
            </a:lvl2pPr>
            <a:lvl3pPr>
              <a:defRPr/>
            </a:lvl3pPr>
            <a:lvl4pPr>
              <a:defRPr baseline="0"/>
            </a:lvl4pPr>
            <a:lvl5pPr>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Tree>
    <p:extLst>
      <p:ext uri="{BB962C8B-B14F-4D97-AF65-F5344CB8AC3E}">
        <p14:creationId xmlns:p14="http://schemas.microsoft.com/office/powerpoint/2010/main" val="4719863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Picture_Layout">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p:txBody>
          <a:bodyPr/>
          <a:lstStyle/>
          <a:p>
            <a:r>
              <a:rPr lang="en-GB" noProof="0"/>
              <a:t>TITLE</a:t>
            </a:r>
          </a:p>
        </p:txBody>
      </p:sp>
      <p:sp>
        <p:nvSpPr>
          <p:cNvPr id="8" name="Espace réservé de la date 7"/>
          <p:cNvSpPr>
            <a:spLocks noGrp="1"/>
          </p:cNvSpPr>
          <p:nvPr>
            <p:ph type="dt" sz="half" idx="14"/>
          </p:nvPr>
        </p:nvSpPr>
        <p:spPr bwMode="gray"/>
        <p:txBody>
          <a:bodyPr/>
          <a:lstStyle/>
          <a:p>
            <a:r>
              <a:rPr lang="en-GB">
                <a:solidFill>
                  <a:prstClr val="white">
                    <a:alpha val="0"/>
                  </a:prstClr>
                </a:solidFill>
              </a:rPr>
              <a:t>Date</a:t>
            </a:r>
          </a:p>
        </p:txBody>
      </p:sp>
      <p:sp>
        <p:nvSpPr>
          <p:cNvPr id="9" name="Espace réservé du numéro de diapositive 8"/>
          <p:cNvSpPr>
            <a:spLocks noGrp="1"/>
          </p:cNvSpPr>
          <p:nvPr>
            <p:ph type="sldNum" sz="quarter" idx="15"/>
          </p:nvPr>
        </p:nvSpPr>
        <p:spPr bwMode="gray"/>
        <p:txBody>
          <a:bodyPr/>
          <a:lstStyle/>
          <a:p>
            <a:fld id="{733122C9-A0B9-462F-8757-0847AD287B63}" type="slidenum">
              <a:rPr lang="en-GB" smtClean="0">
                <a:solidFill>
                  <a:srgbClr val="343434"/>
                </a:solidFill>
              </a:rPr>
              <a:pPr/>
              <a:t>‹#›</a:t>
            </a:fld>
            <a:endParaRPr lang="en-GB">
              <a:solidFill>
                <a:srgbClr val="343434"/>
              </a:solidFill>
            </a:endParaRPr>
          </a:p>
        </p:txBody>
      </p:sp>
      <p:sp>
        <p:nvSpPr>
          <p:cNvPr id="11" name="Espace réservé du pied de page 10"/>
          <p:cNvSpPr>
            <a:spLocks noGrp="1"/>
          </p:cNvSpPr>
          <p:nvPr>
            <p:ph type="ftr" sz="quarter" idx="16"/>
          </p:nvPr>
        </p:nvSpPr>
        <p:spPr bwMode="gray">
          <a:xfrm>
            <a:off x="2412000" y="6498000"/>
            <a:ext cx="4320000" cy="360000"/>
          </a:xfrm>
          <a:prstGeom prst="rect">
            <a:avLst/>
          </a:prstGeom>
        </p:spPr>
        <p:txBody>
          <a:bodyPr/>
          <a:lstStyle/>
          <a:p>
            <a:r>
              <a:rPr lang="en-GB" sz="1400" kern="0">
                <a:solidFill>
                  <a:srgbClr val="005CB9"/>
                </a:solidFill>
                <a:cs typeface="Arial"/>
                <a:sym typeface="Arial"/>
              </a:rPr>
              <a:t>#add your hashtag</a:t>
            </a:r>
          </a:p>
        </p:txBody>
      </p:sp>
      <p:sp>
        <p:nvSpPr>
          <p:cNvPr id="12" name="Espace réservé pour une image  8"/>
          <p:cNvSpPr>
            <a:spLocks noGrp="1"/>
          </p:cNvSpPr>
          <p:nvPr>
            <p:ph type="pic" sz="quarter" idx="17" hasCustomPrompt="1"/>
          </p:nvPr>
        </p:nvSpPr>
        <p:spPr bwMode="gray">
          <a:xfrm>
            <a:off x="935038" y="1341439"/>
            <a:ext cx="7345362" cy="4679951"/>
          </a:xfrm>
        </p:spPr>
        <p:txBody>
          <a:bodyPr tIns="1008000" anchor="ctr" anchorCtr="0"/>
          <a:lstStyle>
            <a:lvl1pPr algn="ctr">
              <a:defRPr/>
            </a:lvl1pPr>
          </a:lstStyle>
          <a:p>
            <a:r>
              <a:rPr lang="en-GB" noProof="0"/>
              <a:t>Select your own photo</a:t>
            </a:r>
          </a:p>
        </p:txBody>
      </p:sp>
    </p:spTree>
    <p:extLst>
      <p:ext uri="{BB962C8B-B14F-4D97-AF65-F5344CB8AC3E}">
        <p14:creationId xmlns:p14="http://schemas.microsoft.com/office/powerpoint/2010/main" val="26462893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Text&amp;4_Blocks_Layout">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p:txBody>
          <a:bodyPr/>
          <a:lstStyle/>
          <a:p>
            <a:r>
              <a:rPr lang="en-GB" noProof="0"/>
              <a:t>TITLE</a:t>
            </a:r>
          </a:p>
        </p:txBody>
      </p:sp>
      <p:sp>
        <p:nvSpPr>
          <p:cNvPr id="10" name="Espace réservé du texte 9"/>
          <p:cNvSpPr>
            <a:spLocks noGrp="1"/>
          </p:cNvSpPr>
          <p:nvPr>
            <p:ph type="body" sz="quarter" idx="13" hasCustomPrompt="1"/>
          </p:nvPr>
        </p:nvSpPr>
        <p:spPr bwMode="gray">
          <a:xfrm>
            <a:off x="935038" y="1304925"/>
            <a:ext cx="7345362" cy="936627"/>
          </a:xfrm>
        </p:spPr>
        <p:txBody>
          <a:body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8" name="Espace réservé de la date 7"/>
          <p:cNvSpPr>
            <a:spLocks noGrp="1"/>
          </p:cNvSpPr>
          <p:nvPr>
            <p:ph type="dt" sz="half" idx="14"/>
          </p:nvPr>
        </p:nvSpPr>
        <p:spPr bwMode="gray"/>
        <p:txBody>
          <a:bodyPr/>
          <a:lstStyle/>
          <a:p>
            <a:r>
              <a:rPr lang="en-GB">
                <a:solidFill>
                  <a:prstClr val="white">
                    <a:alpha val="0"/>
                  </a:prstClr>
                </a:solidFill>
              </a:rPr>
              <a:t>Date</a:t>
            </a:r>
          </a:p>
        </p:txBody>
      </p:sp>
      <p:sp>
        <p:nvSpPr>
          <p:cNvPr id="9" name="Espace réservé du numéro de diapositive 8"/>
          <p:cNvSpPr>
            <a:spLocks noGrp="1"/>
          </p:cNvSpPr>
          <p:nvPr>
            <p:ph type="sldNum" sz="quarter" idx="15"/>
          </p:nvPr>
        </p:nvSpPr>
        <p:spPr bwMode="gray"/>
        <p:txBody>
          <a:bodyPr/>
          <a:lstStyle/>
          <a:p>
            <a:fld id="{733122C9-A0B9-462F-8757-0847AD287B63}" type="slidenum">
              <a:rPr lang="en-GB" smtClean="0">
                <a:solidFill>
                  <a:srgbClr val="343434"/>
                </a:solidFill>
              </a:rPr>
              <a:pPr/>
              <a:t>‹#›</a:t>
            </a:fld>
            <a:endParaRPr lang="en-GB">
              <a:solidFill>
                <a:srgbClr val="343434"/>
              </a:solidFill>
            </a:endParaRPr>
          </a:p>
        </p:txBody>
      </p:sp>
      <p:sp>
        <p:nvSpPr>
          <p:cNvPr id="11" name="Espace réservé du pied de page 10"/>
          <p:cNvSpPr>
            <a:spLocks noGrp="1"/>
          </p:cNvSpPr>
          <p:nvPr>
            <p:ph type="ftr" sz="quarter" idx="16"/>
          </p:nvPr>
        </p:nvSpPr>
        <p:spPr bwMode="gray">
          <a:xfrm>
            <a:off x="2412000" y="6498000"/>
            <a:ext cx="4320000" cy="360000"/>
          </a:xfrm>
          <a:prstGeom prst="rect">
            <a:avLst/>
          </a:prstGeom>
        </p:spPr>
        <p:txBody>
          <a:bodyPr/>
          <a:lstStyle/>
          <a:p>
            <a:r>
              <a:rPr lang="en-GB" sz="1400" kern="0">
                <a:solidFill>
                  <a:srgbClr val="005CB9"/>
                </a:solidFill>
                <a:cs typeface="Arial"/>
                <a:sym typeface="Arial"/>
              </a:rPr>
              <a:t>#add your hashtag</a:t>
            </a:r>
          </a:p>
        </p:txBody>
      </p:sp>
      <p:sp>
        <p:nvSpPr>
          <p:cNvPr id="21" name="Espace réservé du texte 9"/>
          <p:cNvSpPr>
            <a:spLocks noGrp="1"/>
          </p:cNvSpPr>
          <p:nvPr>
            <p:ph type="body" sz="quarter" idx="19" hasCustomPrompt="1"/>
          </p:nvPr>
        </p:nvSpPr>
        <p:spPr bwMode="gray">
          <a:xfrm>
            <a:off x="935038" y="2241551"/>
            <a:ext cx="3564000" cy="324000"/>
          </a:xfrm>
          <a:solidFill>
            <a:schemeClr val="accent1"/>
          </a:solidFill>
          <a:ln w="9525">
            <a:solidFill>
              <a:schemeClr val="accent1"/>
            </a:solidFill>
          </a:ln>
        </p:spPr>
        <p:txBody>
          <a:bodyPr anchor="ctr" anchorCtr="0"/>
          <a:lstStyle>
            <a:lvl1pPr algn="ctr">
              <a:lnSpc>
                <a:spcPct val="100000"/>
              </a:lnSpc>
              <a:defRPr>
                <a:solidFill>
                  <a:schemeClr val="bg1"/>
                </a:solidFill>
              </a:defRPr>
            </a:lvl1pPr>
          </a:lstStyle>
          <a:p>
            <a:pPr lvl="0"/>
            <a:r>
              <a:rPr lang="en-GB" noProof="0"/>
              <a:t>Text level 1</a:t>
            </a:r>
          </a:p>
        </p:txBody>
      </p:sp>
      <p:sp>
        <p:nvSpPr>
          <p:cNvPr id="22" name="Espace réservé du texte 9"/>
          <p:cNvSpPr>
            <a:spLocks noGrp="1"/>
          </p:cNvSpPr>
          <p:nvPr>
            <p:ph type="body" sz="quarter" idx="20" hasCustomPrompt="1"/>
          </p:nvPr>
        </p:nvSpPr>
        <p:spPr bwMode="gray">
          <a:xfrm>
            <a:off x="935038" y="2565551"/>
            <a:ext cx="3564000" cy="1350000"/>
          </a:xfrm>
          <a:ln w="9525">
            <a:solidFill>
              <a:schemeClr val="accent1"/>
            </a:solidFill>
          </a:ln>
        </p:spPr>
        <p:txBody>
          <a:bodyPr tIns="72000"/>
          <a:lstStyle>
            <a:lvl1pPr marL="243000" indent="-135000">
              <a:lnSpc>
                <a:spcPct val="100000"/>
              </a:lnSpc>
              <a:spcBef>
                <a:spcPts val="225"/>
              </a:spcBef>
              <a:buClr>
                <a:schemeClr val="accent3"/>
              </a:buClr>
              <a:buFont typeface="Arial" pitchFamily="34" charset="0"/>
              <a:buChar char="•"/>
              <a:defRPr sz="1350">
                <a:solidFill>
                  <a:schemeClr val="tx1"/>
                </a:solidFill>
              </a:defRPr>
            </a:lvl1pPr>
            <a:lvl2pPr marL="378000">
              <a:buClr>
                <a:schemeClr val="tx1"/>
              </a:buClr>
              <a:defRPr sz="1200" b="0"/>
            </a:lvl2pPr>
            <a:lvl3pPr indent="0">
              <a:buNone/>
              <a:defRPr/>
            </a:lvl3pPr>
            <a:lvl4pPr marL="513000" indent="-135000">
              <a:buClr>
                <a:schemeClr val="tx1"/>
              </a:buClr>
              <a:buFont typeface="Arial" pitchFamily="34" charset="0"/>
              <a:buChar char="•"/>
              <a:defRPr sz="1050"/>
            </a:lvl4pPr>
          </a:lstStyle>
          <a:p>
            <a:pPr lvl="0"/>
            <a:r>
              <a:rPr lang="en-GB" noProof="0"/>
              <a:t>Text level 2</a:t>
            </a:r>
          </a:p>
          <a:p>
            <a:pPr lvl="1"/>
            <a:r>
              <a:rPr lang="en-GB" noProof="0"/>
              <a:t>Text level 3</a:t>
            </a:r>
          </a:p>
          <a:p>
            <a:pPr lvl="2"/>
            <a:r>
              <a:rPr lang="en-GB" noProof="0"/>
              <a:t>Text level 4</a:t>
            </a:r>
          </a:p>
          <a:p>
            <a:pPr lvl="3"/>
            <a:r>
              <a:rPr lang="en-GB" noProof="0"/>
              <a:t>Text level 5</a:t>
            </a:r>
          </a:p>
        </p:txBody>
      </p:sp>
      <p:sp>
        <p:nvSpPr>
          <p:cNvPr id="23" name="Espace réservé du texte 9"/>
          <p:cNvSpPr>
            <a:spLocks noGrp="1"/>
          </p:cNvSpPr>
          <p:nvPr>
            <p:ph type="body" sz="quarter" idx="21" hasCustomPrompt="1"/>
          </p:nvPr>
        </p:nvSpPr>
        <p:spPr bwMode="gray">
          <a:xfrm>
            <a:off x="4716400" y="2241551"/>
            <a:ext cx="3564000" cy="324000"/>
          </a:xfrm>
          <a:solidFill>
            <a:schemeClr val="accent2"/>
          </a:solidFill>
          <a:ln w="9525">
            <a:solidFill>
              <a:schemeClr val="accent2"/>
            </a:solidFill>
          </a:ln>
        </p:spPr>
        <p:txBody>
          <a:bodyPr anchor="ctr" anchorCtr="0"/>
          <a:lstStyle>
            <a:lvl1pPr algn="ctr">
              <a:lnSpc>
                <a:spcPct val="100000"/>
              </a:lnSpc>
              <a:defRPr>
                <a:solidFill>
                  <a:schemeClr val="bg1"/>
                </a:solidFill>
              </a:defRPr>
            </a:lvl1pPr>
          </a:lstStyle>
          <a:p>
            <a:pPr lvl="0"/>
            <a:r>
              <a:rPr lang="en-GB" noProof="0"/>
              <a:t>Text level 1</a:t>
            </a:r>
          </a:p>
        </p:txBody>
      </p:sp>
      <p:sp>
        <p:nvSpPr>
          <p:cNvPr id="24" name="Espace réservé du texte 9"/>
          <p:cNvSpPr>
            <a:spLocks noGrp="1"/>
          </p:cNvSpPr>
          <p:nvPr>
            <p:ph type="body" sz="quarter" idx="22" hasCustomPrompt="1"/>
          </p:nvPr>
        </p:nvSpPr>
        <p:spPr bwMode="gray">
          <a:xfrm>
            <a:off x="4716400" y="2565551"/>
            <a:ext cx="3564000" cy="1350000"/>
          </a:xfrm>
          <a:ln w="9525">
            <a:solidFill>
              <a:schemeClr val="accent2"/>
            </a:solidFill>
          </a:ln>
        </p:spPr>
        <p:txBody>
          <a:bodyPr tIns="72000"/>
          <a:lstStyle>
            <a:lvl1pPr marL="243000" indent="-135000">
              <a:lnSpc>
                <a:spcPct val="100000"/>
              </a:lnSpc>
              <a:spcBef>
                <a:spcPts val="225"/>
              </a:spcBef>
              <a:buClr>
                <a:schemeClr val="accent3"/>
              </a:buClr>
              <a:buFont typeface="Arial" pitchFamily="34" charset="0"/>
              <a:buChar char="•"/>
              <a:defRPr sz="1350">
                <a:solidFill>
                  <a:schemeClr val="tx1"/>
                </a:solidFill>
              </a:defRPr>
            </a:lvl1pPr>
            <a:lvl2pPr marL="378000">
              <a:buClr>
                <a:schemeClr val="tx1"/>
              </a:buClr>
              <a:defRPr sz="1200" b="0"/>
            </a:lvl2pPr>
            <a:lvl3pPr indent="0">
              <a:buNone/>
              <a:defRPr/>
            </a:lvl3pPr>
            <a:lvl4pPr marL="513000" indent="-135000">
              <a:buClr>
                <a:schemeClr val="tx1"/>
              </a:buClr>
              <a:buFont typeface="Arial" pitchFamily="34" charset="0"/>
              <a:buChar char="•"/>
              <a:defRPr sz="1050"/>
            </a:lvl4pPr>
          </a:lstStyle>
          <a:p>
            <a:pPr lvl="0"/>
            <a:r>
              <a:rPr lang="en-GB" noProof="0"/>
              <a:t>Text level 2</a:t>
            </a:r>
          </a:p>
          <a:p>
            <a:pPr lvl="1"/>
            <a:r>
              <a:rPr lang="en-GB" noProof="0"/>
              <a:t>Text level 3</a:t>
            </a:r>
          </a:p>
          <a:p>
            <a:pPr lvl="2"/>
            <a:r>
              <a:rPr lang="en-GB" noProof="0"/>
              <a:t>Text level 4</a:t>
            </a:r>
          </a:p>
          <a:p>
            <a:pPr lvl="3"/>
            <a:r>
              <a:rPr lang="en-GB" noProof="0"/>
              <a:t>Text level 5</a:t>
            </a:r>
          </a:p>
        </p:txBody>
      </p:sp>
      <p:sp>
        <p:nvSpPr>
          <p:cNvPr id="25" name="Espace réservé du texte 9"/>
          <p:cNvSpPr>
            <a:spLocks noGrp="1"/>
          </p:cNvSpPr>
          <p:nvPr>
            <p:ph type="body" sz="quarter" idx="23" hasCustomPrompt="1"/>
          </p:nvPr>
        </p:nvSpPr>
        <p:spPr bwMode="gray">
          <a:xfrm>
            <a:off x="935038" y="4131488"/>
            <a:ext cx="3564000" cy="324000"/>
          </a:xfrm>
          <a:solidFill>
            <a:schemeClr val="accent3"/>
          </a:solidFill>
          <a:ln w="9525">
            <a:solidFill>
              <a:schemeClr val="accent3"/>
            </a:solidFill>
          </a:ln>
        </p:spPr>
        <p:txBody>
          <a:bodyPr anchor="ctr" anchorCtr="0"/>
          <a:lstStyle>
            <a:lvl1pPr algn="ctr">
              <a:lnSpc>
                <a:spcPct val="100000"/>
              </a:lnSpc>
              <a:defRPr>
                <a:solidFill>
                  <a:schemeClr val="bg1"/>
                </a:solidFill>
              </a:defRPr>
            </a:lvl1pPr>
          </a:lstStyle>
          <a:p>
            <a:pPr lvl="0"/>
            <a:r>
              <a:rPr lang="en-GB" noProof="0"/>
              <a:t>Text level 1</a:t>
            </a:r>
          </a:p>
        </p:txBody>
      </p:sp>
      <p:sp>
        <p:nvSpPr>
          <p:cNvPr id="26" name="Espace réservé du texte 9"/>
          <p:cNvSpPr>
            <a:spLocks noGrp="1"/>
          </p:cNvSpPr>
          <p:nvPr>
            <p:ph type="body" sz="quarter" idx="24" hasCustomPrompt="1"/>
          </p:nvPr>
        </p:nvSpPr>
        <p:spPr bwMode="gray">
          <a:xfrm>
            <a:off x="935038" y="4455488"/>
            <a:ext cx="3564000" cy="1350000"/>
          </a:xfrm>
          <a:ln w="9525">
            <a:solidFill>
              <a:schemeClr val="accent3"/>
            </a:solidFill>
          </a:ln>
        </p:spPr>
        <p:txBody>
          <a:bodyPr tIns="72000"/>
          <a:lstStyle>
            <a:lvl1pPr marL="243000" indent="-135000">
              <a:lnSpc>
                <a:spcPct val="100000"/>
              </a:lnSpc>
              <a:spcBef>
                <a:spcPts val="225"/>
              </a:spcBef>
              <a:buClr>
                <a:schemeClr val="accent3"/>
              </a:buClr>
              <a:buFont typeface="Arial" pitchFamily="34" charset="0"/>
              <a:buChar char="•"/>
              <a:defRPr sz="1350">
                <a:solidFill>
                  <a:schemeClr val="tx1"/>
                </a:solidFill>
              </a:defRPr>
            </a:lvl1pPr>
            <a:lvl2pPr marL="378000">
              <a:buClr>
                <a:schemeClr val="tx1"/>
              </a:buClr>
              <a:defRPr sz="1200" b="0"/>
            </a:lvl2pPr>
            <a:lvl3pPr indent="0">
              <a:buNone/>
              <a:defRPr/>
            </a:lvl3pPr>
            <a:lvl4pPr marL="513000" indent="-135000">
              <a:buClr>
                <a:schemeClr val="tx1"/>
              </a:buClr>
              <a:buFont typeface="Arial" pitchFamily="34" charset="0"/>
              <a:buChar char="•"/>
              <a:defRPr sz="1050"/>
            </a:lvl4pPr>
          </a:lstStyle>
          <a:p>
            <a:pPr lvl="0"/>
            <a:r>
              <a:rPr lang="en-GB" noProof="0"/>
              <a:t>Text level 2</a:t>
            </a:r>
          </a:p>
          <a:p>
            <a:pPr lvl="1"/>
            <a:r>
              <a:rPr lang="en-GB" noProof="0"/>
              <a:t>Text level 3</a:t>
            </a:r>
          </a:p>
          <a:p>
            <a:pPr lvl="2"/>
            <a:r>
              <a:rPr lang="en-GB" noProof="0"/>
              <a:t>Text level 4</a:t>
            </a:r>
          </a:p>
          <a:p>
            <a:pPr lvl="3"/>
            <a:r>
              <a:rPr lang="en-GB" noProof="0"/>
              <a:t>Text level 5</a:t>
            </a:r>
          </a:p>
        </p:txBody>
      </p:sp>
      <p:sp>
        <p:nvSpPr>
          <p:cNvPr id="27" name="Espace réservé du texte 9"/>
          <p:cNvSpPr>
            <a:spLocks noGrp="1"/>
          </p:cNvSpPr>
          <p:nvPr>
            <p:ph type="body" sz="quarter" idx="25" hasCustomPrompt="1"/>
          </p:nvPr>
        </p:nvSpPr>
        <p:spPr bwMode="gray">
          <a:xfrm>
            <a:off x="4716400" y="4131488"/>
            <a:ext cx="3564000" cy="324000"/>
          </a:xfrm>
          <a:solidFill>
            <a:schemeClr val="bg2"/>
          </a:solidFill>
          <a:ln w="9525">
            <a:solidFill>
              <a:schemeClr val="bg2"/>
            </a:solidFill>
          </a:ln>
        </p:spPr>
        <p:txBody>
          <a:bodyPr anchor="ctr" anchorCtr="0"/>
          <a:lstStyle>
            <a:lvl1pPr algn="ctr">
              <a:lnSpc>
                <a:spcPct val="100000"/>
              </a:lnSpc>
              <a:defRPr>
                <a:solidFill>
                  <a:schemeClr val="bg1"/>
                </a:solidFill>
              </a:defRPr>
            </a:lvl1pPr>
          </a:lstStyle>
          <a:p>
            <a:pPr lvl="0"/>
            <a:r>
              <a:rPr lang="en-GB" noProof="0"/>
              <a:t>Text level 1</a:t>
            </a:r>
          </a:p>
        </p:txBody>
      </p:sp>
      <p:sp>
        <p:nvSpPr>
          <p:cNvPr id="28" name="Espace réservé du texte 9"/>
          <p:cNvSpPr>
            <a:spLocks noGrp="1"/>
          </p:cNvSpPr>
          <p:nvPr>
            <p:ph type="body" sz="quarter" idx="26" hasCustomPrompt="1"/>
          </p:nvPr>
        </p:nvSpPr>
        <p:spPr bwMode="gray">
          <a:xfrm>
            <a:off x="4716400" y="4455488"/>
            <a:ext cx="3564000" cy="1350000"/>
          </a:xfrm>
          <a:ln w="9525">
            <a:solidFill>
              <a:schemeClr val="bg2"/>
            </a:solidFill>
          </a:ln>
        </p:spPr>
        <p:txBody>
          <a:bodyPr tIns="72000"/>
          <a:lstStyle>
            <a:lvl1pPr marL="243000" indent="-135000">
              <a:lnSpc>
                <a:spcPct val="100000"/>
              </a:lnSpc>
              <a:spcBef>
                <a:spcPts val="225"/>
              </a:spcBef>
              <a:buClr>
                <a:schemeClr val="accent3"/>
              </a:buClr>
              <a:buFont typeface="Arial" pitchFamily="34" charset="0"/>
              <a:buChar char="•"/>
              <a:defRPr sz="1350">
                <a:solidFill>
                  <a:schemeClr val="tx1"/>
                </a:solidFill>
              </a:defRPr>
            </a:lvl1pPr>
            <a:lvl2pPr marL="378000">
              <a:buClr>
                <a:schemeClr val="tx1"/>
              </a:buClr>
              <a:defRPr sz="1200" b="0"/>
            </a:lvl2pPr>
            <a:lvl3pPr indent="0">
              <a:buNone/>
              <a:defRPr/>
            </a:lvl3pPr>
            <a:lvl4pPr marL="513000" indent="-135000">
              <a:buClr>
                <a:schemeClr val="tx1"/>
              </a:buClr>
              <a:buFont typeface="Arial" pitchFamily="34" charset="0"/>
              <a:buChar char="•"/>
              <a:defRPr sz="1050"/>
            </a:lvl4pPr>
          </a:lstStyle>
          <a:p>
            <a:pPr lvl="0"/>
            <a:r>
              <a:rPr lang="en-GB" noProof="0"/>
              <a:t>Text level 2</a:t>
            </a:r>
          </a:p>
          <a:p>
            <a:pPr lvl="1"/>
            <a:r>
              <a:rPr lang="en-GB" noProof="0"/>
              <a:t>Text level 3</a:t>
            </a:r>
          </a:p>
          <a:p>
            <a:pPr lvl="2"/>
            <a:r>
              <a:rPr lang="en-GB" noProof="0"/>
              <a:t>Text level 4</a:t>
            </a:r>
          </a:p>
          <a:p>
            <a:pPr lvl="3"/>
            <a:r>
              <a:rPr lang="en-GB" noProof="0"/>
              <a:t>Text level 5</a:t>
            </a:r>
          </a:p>
        </p:txBody>
      </p:sp>
    </p:spTree>
    <p:extLst>
      <p:ext uri="{BB962C8B-B14F-4D97-AF65-F5344CB8AC3E}">
        <p14:creationId xmlns:p14="http://schemas.microsoft.com/office/powerpoint/2010/main" val="30524063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4_Blocks_Layout">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p:txBody>
          <a:bodyPr/>
          <a:lstStyle/>
          <a:p>
            <a:r>
              <a:rPr lang="en-GB" noProof="0"/>
              <a:t>TITLE</a:t>
            </a:r>
          </a:p>
        </p:txBody>
      </p:sp>
      <p:sp>
        <p:nvSpPr>
          <p:cNvPr id="8" name="Espace réservé de la date 7"/>
          <p:cNvSpPr>
            <a:spLocks noGrp="1"/>
          </p:cNvSpPr>
          <p:nvPr>
            <p:ph type="dt" sz="half" idx="14"/>
          </p:nvPr>
        </p:nvSpPr>
        <p:spPr bwMode="gray"/>
        <p:txBody>
          <a:bodyPr/>
          <a:lstStyle/>
          <a:p>
            <a:r>
              <a:rPr lang="en-GB">
                <a:solidFill>
                  <a:prstClr val="white">
                    <a:alpha val="0"/>
                  </a:prstClr>
                </a:solidFill>
              </a:rPr>
              <a:t>Date</a:t>
            </a:r>
          </a:p>
        </p:txBody>
      </p:sp>
      <p:sp>
        <p:nvSpPr>
          <p:cNvPr id="9" name="Espace réservé du numéro de diapositive 8"/>
          <p:cNvSpPr>
            <a:spLocks noGrp="1"/>
          </p:cNvSpPr>
          <p:nvPr>
            <p:ph type="sldNum" sz="quarter" idx="15"/>
          </p:nvPr>
        </p:nvSpPr>
        <p:spPr bwMode="gray"/>
        <p:txBody>
          <a:bodyPr/>
          <a:lstStyle/>
          <a:p>
            <a:fld id="{733122C9-A0B9-462F-8757-0847AD287B63}" type="slidenum">
              <a:rPr lang="en-GB" smtClean="0">
                <a:solidFill>
                  <a:srgbClr val="343434"/>
                </a:solidFill>
              </a:rPr>
              <a:pPr/>
              <a:t>‹#›</a:t>
            </a:fld>
            <a:endParaRPr lang="en-GB">
              <a:solidFill>
                <a:srgbClr val="343434"/>
              </a:solidFill>
            </a:endParaRPr>
          </a:p>
        </p:txBody>
      </p:sp>
      <p:sp>
        <p:nvSpPr>
          <p:cNvPr id="11" name="Espace réservé du pied de page 10"/>
          <p:cNvSpPr>
            <a:spLocks noGrp="1"/>
          </p:cNvSpPr>
          <p:nvPr>
            <p:ph type="ftr" sz="quarter" idx="16"/>
          </p:nvPr>
        </p:nvSpPr>
        <p:spPr bwMode="gray">
          <a:xfrm>
            <a:off x="2412000" y="6498000"/>
            <a:ext cx="4320000" cy="360000"/>
          </a:xfrm>
          <a:prstGeom prst="rect">
            <a:avLst/>
          </a:prstGeom>
        </p:spPr>
        <p:txBody>
          <a:bodyPr/>
          <a:lstStyle/>
          <a:p>
            <a:r>
              <a:rPr lang="en-GB" sz="1400" kern="0">
                <a:solidFill>
                  <a:srgbClr val="005CB9"/>
                </a:solidFill>
                <a:cs typeface="Arial"/>
                <a:sym typeface="Arial"/>
              </a:rPr>
              <a:t>#add your hashtag</a:t>
            </a:r>
          </a:p>
        </p:txBody>
      </p:sp>
      <p:sp>
        <p:nvSpPr>
          <p:cNvPr id="21" name="Espace réservé du texte 9"/>
          <p:cNvSpPr>
            <a:spLocks noGrp="1"/>
          </p:cNvSpPr>
          <p:nvPr>
            <p:ph type="body" sz="quarter" idx="19" hasCustomPrompt="1"/>
          </p:nvPr>
        </p:nvSpPr>
        <p:spPr bwMode="gray">
          <a:xfrm>
            <a:off x="935038" y="1341437"/>
            <a:ext cx="1440000" cy="792000"/>
          </a:xfrm>
          <a:solidFill>
            <a:schemeClr val="accent1"/>
          </a:solidFill>
          <a:ln w="9525">
            <a:solidFill>
              <a:schemeClr val="accent1"/>
            </a:solidFill>
          </a:ln>
        </p:spPr>
        <p:txBody>
          <a:bodyPr anchor="ctr" anchorCtr="0"/>
          <a:lstStyle>
            <a:lvl1pPr algn="ctr">
              <a:lnSpc>
                <a:spcPct val="100000"/>
              </a:lnSpc>
              <a:defRPr>
                <a:solidFill>
                  <a:schemeClr val="bg1"/>
                </a:solidFill>
              </a:defRPr>
            </a:lvl1pPr>
          </a:lstStyle>
          <a:p>
            <a:pPr lvl="0"/>
            <a:r>
              <a:rPr lang="en-GB" noProof="0"/>
              <a:t>Text level 1</a:t>
            </a:r>
          </a:p>
        </p:txBody>
      </p:sp>
      <p:sp>
        <p:nvSpPr>
          <p:cNvPr id="22" name="Espace réservé du texte 9"/>
          <p:cNvSpPr>
            <a:spLocks noGrp="1"/>
          </p:cNvSpPr>
          <p:nvPr>
            <p:ph type="body" sz="quarter" idx="20" hasCustomPrompt="1"/>
          </p:nvPr>
        </p:nvSpPr>
        <p:spPr bwMode="gray">
          <a:xfrm>
            <a:off x="2376000" y="1341437"/>
            <a:ext cx="5904400" cy="792000"/>
          </a:xfrm>
          <a:ln w="9525">
            <a:solidFill>
              <a:schemeClr val="accent1"/>
            </a:solidFill>
          </a:ln>
        </p:spPr>
        <p:txBody>
          <a:bodyPr tIns="72000"/>
          <a:lstStyle>
            <a:lvl1pPr marL="243000" indent="-135000">
              <a:lnSpc>
                <a:spcPct val="100000"/>
              </a:lnSpc>
              <a:spcBef>
                <a:spcPts val="225"/>
              </a:spcBef>
              <a:buClr>
                <a:schemeClr val="accent3"/>
              </a:buClr>
              <a:buFont typeface="Arial" pitchFamily="34" charset="0"/>
              <a:buChar char="•"/>
              <a:defRPr sz="1350">
                <a:solidFill>
                  <a:schemeClr val="tx1"/>
                </a:solidFill>
              </a:defRPr>
            </a:lvl1pPr>
            <a:lvl2pPr marL="378000">
              <a:buClr>
                <a:schemeClr val="tx1"/>
              </a:buClr>
              <a:defRPr sz="1200" b="0"/>
            </a:lvl2pPr>
            <a:lvl3pPr indent="0">
              <a:buNone/>
              <a:defRPr/>
            </a:lvl3pPr>
            <a:lvl4pPr marL="513000" indent="-135000">
              <a:buClr>
                <a:schemeClr val="tx1"/>
              </a:buClr>
              <a:buFont typeface="Arial" pitchFamily="34" charset="0"/>
              <a:buChar char="•"/>
              <a:defRPr sz="1050"/>
            </a:lvl4pPr>
          </a:lstStyle>
          <a:p>
            <a:pPr lvl="0"/>
            <a:r>
              <a:rPr lang="en-GB" noProof="0"/>
              <a:t>Text level 2</a:t>
            </a:r>
          </a:p>
          <a:p>
            <a:pPr lvl="1"/>
            <a:r>
              <a:rPr lang="en-GB" noProof="0"/>
              <a:t>Text level 3</a:t>
            </a:r>
          </a:p>
          <a:p>
            <a:pPr lvl="2"/>
            <a:r>
              <a:rPr lang="en-GB" noProof="0"/>
              <a:t>Text level 4</a:t>
            </a:r>
          </a:p>
          <a:p>
            <a:pPr lvl="3"/>
            <a:r>
              <a:rPr lang="en-GB" noProof="0"/>
              <a:t>Text level 5</a:t>
            </a:r>
          </a:p>
        </p:txBody>
      </p:sp>
      <p:sp>
        <p:nvSpPr>
          <p:cNvPr id="16" name="Espace réservé du texte 9"/>
          <p:cNvSpPr>
            <a:spLocks noGrp="1"/>
          </p:cNvSpPr>
          <p:nvPr>
            <p:ph type="body" sz="quarter" idx="21" hasCustomPrompt="1"/>
          </p:nvPr>
        </p:nvSpPr>
        <p:spPr bwMode="gray">
          <a:xfrm>
            <a:off x="935038" y="2349555"/>
            <a:ext cx="1440000" cy="792000"/>
          </a:xfrm>
          <a:solidFill>
            <a:schemeClr val="accent2"/>
          </a:solidFill>
          <a:ln w="9525">
            <a:solidFill>
              <a:schemeClr val="accent2"/>
            </a:solidFill>
          </a:ln>
        </p:spPr>
        <p:txBody>
          <a:bodyPr anchor="ctr" anchorCtr="0"/>
          <a:lstStyle>
            <a:lvl1pPr algn="ctr">
              <a:lnSpc>
                <a:spcPct val="100000"/>
              </a:lnSpc>
              <a:defRPr>
                <a:solidFill>
                  <a:schemeClr val="bg1"/>
                </a:solidFill>
              </a:defRPr>
            </a:lvl1pPr>
          </a:lstStyle>
          <a:p>
            <a:pPr lvl="0"/>
            <a:r>
              <a:rPr lang="en-GB" noProof="0"/>
              <a:t>Text level 1</a:t>
            </a:r>
          </a:p>
        </p:txBody>
      </p:sp>
      <p:sp>
        <p:nvSpPr>
          <p:cNvPr id="17" name="Espace réservé du texte 9"/>
          <p:cNvSpPr>
            <a:spLocks noGrp="1"/>
          </p:cNvSpPr>
          <p:nvPr>
            <p:ph type="body" sz="quarter" idx="22" hasCustomPrompt="1"/>
          </p:nvPr>
        </p:nvSpPr>
        <p:spPr bwMode="gray">
          <a:xfrm>
            <a:off x="2376000" y="2349555"/>
            <a:ext cx="5904400" cy="792000"/>
          </a:xfrm>
          <a:ln w="9525">
            <a:solidFill>
              <a:schemeClr val="accent2"/>
            </a:solidFill>
          </a:ln>
        </p:spPr>
        <p:txBody>
          <a:bodyPr tIns="72000"/>
          <a:lstStyle>
            <a:lvl1pPr marL="243000" indent="-135000">
              <a:lnSpc>
                <a:spcPct val="100000"/>
              </a:lnSpc>
              <a:spcBef>
                <a:spcPts val="225"/>
              </a:spcBef>
              <a:buClr>
                <a:schemeClr val="accent3"/>
              </a:buClr>
              <a:buFont typeface="Arial" pitchFamily="34" charset="0"/>
              <a:buChar char="•"/>
              <a:defRPr sz="1350">
                <a:solidFill>
                  <a:schemeClr val="tx1"/>
                </a:solidFill>
              </a:defRPr>
            </a:lvl1pPr>
            <a:lvl2pPr marL="378000">
              <a:buClr>
                <a:schemeClr val="tx1"/>
              </a:buClr>
              <a:defRPr sz="1200" b="0"/>
            </a:lvl2pPr>
            <a:lvl3pPr indent="0">
              <a:buNone/>
              <a:defRPr/>
            </a:lvl3pPr>
            <a:lvl4pPr marL="513000" indent="-135000">
              <a:buClr>
                <a:schemeClr val="tx1"/>
              </a:buClr>
              <a:buFont typeface="Arial" pitchFamily="34" charset="0"/>
              <a:buChar char="•"/>
              <a:defRPr sz="1050"/>
            </a:lvl4pPr>
          </a:lstStyle>
          <a:p>
            <a:pPr lvl="0"/>
            <a:r>
              <a:rPr lang="en-GB" noProof="0"/>
              <a:t>Text level 2</a:t>
            </a:r>
          </a:p>
          <a:p>
            <a:pPr lvl="1"/>
            <a:r>
              <a:rPr lang="en-GB" noProof="0"/>
              <a:t>Text level 3</a:t>
            </a:r>
          </a:p>
          <a:p>
            <a:pPr lvl="2"/>
            <a:r>
              <a:rPr lang="en-GB" noProof="0"/>
              <a:t>Text level 4</a:t>
            </a:r>
          </a:p>
          <a:p>
            <a:pPr lvl="3"/>
            <a:r>
              <a:rPr lang="en-GB" noProof="0"/>
              <a:t>Text level 5</a:t>
            </a:r>
          </a:p>
        </p:txBody>
      </p:sp>
      <p:sp>
        <p:nvSpPr>
          <p:cNvPr id="18" name="Espace réservé du texte 9"/>
          <p:cNvSpPr>
            <a:spLocks noGrp="1"/>
          </p:cNvSpPr>
          <p:nvPr>
            <p:ph type="body" sz="quarter" idx="23" hasCustomPrompt="1"/>
          </p:nvPr>
        </p:nvSpPr>
        <p:spPr bwMode="gray">
          <a:xfrm>
            <a:off x="935038" y="3357672"/>
            <a:ext cx="1440000" cy="792000"/>
          </a:xfrm>
          <a:solidFill>
            <a:schemeClr val="accent3"/>
          </a:solidFill>
          <a:ln w="9525">
            <a:solidFill>
              <a:schemeClr val="accent3"/>
            </a:solidFill>
          </a:ln>
        </p:spPr>
        <p:txBody>
          <a:bodyPr anchor="ctr" anchorCtr="0"/>
          <a:lstStyle>
            <a:lvl1pPr algn="ctr">
              <a:lnSpc>
                <a:spcPct val="100000"/>
              </a:lnSpc>
              <a:defRPr>
                <a:solidFill>
                  <a:schemeClr val="bg1"/>
                </a:solidFill>
              </a:defRPr>
            </a:lvl1pPr>
          </a:lstStyle>
          <a:p>
            <a:pPr lvl="0"/>
            <a:r>
              <a:rPr lang="en-GB" noProof="0"/>
              <a:t>Text level 1</a:t>
            </a:r>
          </a:p>
        </p:txBody>
      </p:sp>
      <p:sp>
        <p:nvSpPr>
          <p:cNvPr id="19" name="Espace réservé du texte 9"/>
          <p:cNvSpPr>
            <a:spLocks noGrp="1"/>
          </p:cNvSpPr>
          <p:nvPr>
            <p:ph type="body" sz="quarter" idx="24" hasCustomPrompt="1"/>
          </p:nvPr>
        </p:nvSpPr>
        <p:spPr bwMode="gray">
          <a:xfrm>
            <a:off x="2376000" y="3357672"/>
            <a:ext cx="5904400" cy="792000"/>
          </a:xfrm>
          <a:ln w="9525">
            <a:solidFill>
              <a:schemeClr val="accent3"/>
            </a:solidFill>
          </a:ln>
        </p:spPr>
        <p:txBody>
          <a:bodyPr tIns="72000"/>
          <a:lstStyle>
            <a:lvl1pPr marL="243000" indent="-135000">
              <a:lnSpc>
                <a:spcPct val="100000"/>
              </a:lnSpc>
              <a:spcBef>
                <a:spcPts val="225"/>
              </a:spcBef>
              <a:buClr>
                <a:schemeClr val="accent3"/>
              </a:buClr>
              <a:buFont typeface="Arial" pitchFamily="34" charset="0"/>
              <a:buChar char="•"/>
              <a:defRPr sz="1350">
                <a:solidFill>
                  <a:schemeClr val="tx1"/>
                </a:solidFill>
              </a:defRPr>
            </a:lvl1pPr>
            <a:lvl2pPr marL="378000">
              <a:buClr>
                <a:schemeClr val="tx1"/>
              </a:buClr>
              <a:defRPr sz="1200" b="0"/>
            </a:lvl2pPr>
            <a:lvl3pPr indent="0">
              <a:buNone/>
              <a:defRPr/>
            </a:lvl3pPr>
            <a:lvl4pPr marL="513000" indent="-135000">
              <a:buClr>
                <a:schemeClr val="tx1"/>
              </a:buClr>
              <a:buFont typeface="Arial" pitchFamily="34" charset="0"/>
              <a:buChar char="•"/>
              <a:defRPr sz="1050"/>
            </a:lvl4pPr>
          </a:lstStyle>
          <a:p>
            <a:pPr lvl="0"/>
            <a:r>
              <a:rPr lang="en-GB" noProof="0"/>
              <a:t>Text level 2</a:t>
            </a:r>
          </a:p>
          <a:p>
            <a:pPr lvl="1"/>
            <a:r>
              <a:rPr lang="en-GB" noProof="0"/>
              <a:t>Text level 3</a:t>
            </a:r>
          </a:p>
          <a:p>
            <a:pPr lvl="2"/>
            <a:r>
              <a:rPr lang="en-GB" noProof="0"/>
              <a:t>Text level 4</a:t>
            </a:r>
          </a:p>
          <a:p>
            <a:pPr lvl="3"/>
            <a:r>
              <a:rPr lang="en-GB" noProof="0"/>
              <a:t>Text level 5</a:t>
            </a:r>
          </a:p>
        </p:txBody>
      </p:sp>
      <p:sp>
        <p:nvSpPr>
          <p:cNvPr id="20" name="Espace réservé du texte 9"/>
          <p:cNvSpPr>
            <a:spLocks noGrp="1"/>
          </p:cNvSpPr>
          <p:nvPr>
            <p:ph type="body" sz="quarter" idx="25" hasCustomPrompt="1"/>
          </p:nvPr>
        </p:nvSpPr>
        <p:spPr bwMode="gray">
          <a:xfrm>
            <a:off x="935038" y="4365788"/>
            <a:ext cx="1440000" cy="792000"/>
          </a:xfrm>
          <a:solidFill>
            <a:schemeClr val="bg2"/>
          </a:solidFill>
          <a:ln w="9525">
            <a:solidFill>
              <a:schemeClr val="bg2"/>
            </a:solidFill>
          </a:ln>
        </p:spPr>
        <p:txBody>
          <a:bodyPr anchor="ctr" anchorCtr="0"/>
          <a:lstStyle>
            <a:lvl1pPr algn="ctr">
              <a:lnSpc>
                <a:spcPct val="100000"/>
              </a:lnSpc>
              <a:defRPr>
                <a:solidFill>
                  <a:schemeClr val="bg1"/>
                </a:solidFill>
              </a:defRPr>
            </a:lvl1pPr>
          </a:lstStyle>
          <a:p>
            <a:pPr lvl="0"/>
            <a:r>
              <a:rPr lang="en-GB" noProof="0"/>
              <a:t>Text level 1</a:t>
            </a:r>
          </a:p>
        </p:txBody>
      </p:sp>
      <p:sp>
        <p:nvSpPr>
          <p:cNvPr id="29" name="Espace réservé du texte 9"/>
          <p:cNvSpPr>
            <a:spLocks noGrp="1"/>
          </p:cNvSpPr>
          <p:nvPr>
            <p:ph type="body" sz="quarter" idx="26" hasCustomPrompt="1"/>
          </p:nvPr>
        </p:nvSpPr>
        <p:spPr bwMode="gray">
          <a:xfrm>
            <a:off x="2376000" y="4365788"/>
            <a:ext cx="5904400" cy="792000"/>
          </a:xfrm>
          <a:ln w="9525">
            <a:solidFill>
              <a:schemeClr val="bg2"/>
            </a:solidFill>
          </a:ln>
        </p:spPr>
        <p:txBody>
          <a:bodyPr tIns="72000"/>
          <a:lstStyle>
            <a:lvl1pPr marL="243000" indent="-135000">
              <a:lnSpc>
                <a:spcPct val="100000"/>
              </a:lnSpc>
              <a:spcBef>
                <a:spcPts val="225"/>
              </a:spcBef>
              <a:buClr>
                <a:schemeClr val="accent3"/>
              </a:buClr>
              <a:buFont typeface="Arial" pitchFamily="34" charset="0"/>
              <a:buChar char="•"/>
              <a:defRPr sz="1350">
                <a:solidFill>
                  <a:schemeClr val="tx1"/>
                </a:solidFill>
              </a:defRPr>
            </a:lvl1pPr>
            <a:lvl2pPr marL="378000">
              <a:buClr>
                <a:schemeClr val="tx1"/>
              </a:buClr>
              <a:defRPr sz="1200" b="0"/>
            </a:lvl2pPr>
            <a:lvl3pPr indent="0">
              <a:buNone/>
              <a:defRPr/>
            </a:lvl3pPr>
            <a:lvl4pPr marL="513000" indent="-135000">
              <a:buClr>
                <a:schemeClr val="tx1"/>
              </a:buClr>
              <a:buFont typeface="Arial" pitchFamily="34" charset="0"/>
              <a:buChar char="•"/>
              <a:defRPr sz="1050"/>
            </a:lvl4pPr>
          </a:lstStyle>
          <a:p>
            <a:pPr lvl="0"/>
            <a:r>
              <a:rPr lang="en-GB" noProof="0"/>
              <a:t>Text level 2</a:t>
            </a:r>
          </a:p>
          <a:p>
            <a:pPr lvl="1"/>
            <a:r>
              <a:rPr lang="en-GB" noProof="0"/>
              <a:t>Text level 3</a:t>
            </a:r>
          </a:p>
          <a:p>
            <a:pPr lvl="2"/>
            <a:r>
              <a:rPr lang="en-GB" noProof="0"/>
              <a:t>Text level 4</a:t>
            </a:r>
          </a:p>
          <a:p>
            <a:pPr lvl="3"/>
            <a:r>
              <a:rPr lang="en-GB" noProof="0"/>
              <a:t>Text level 5</a:t>
            </a:r>
          </a:p>
        </p:txBody>
      </p:sp>
    </p:spTree>
    <p:extLst>
      <p:ext uri="{BB962C8B-B14F-4D97-AF65-F5344CB8AC3E}">
        <p14:creationId xmlns:p14="http://schemas.microsoft.com/office/powerpoint/2010/main" val="14460545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2_Blocks_Layout">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p:txBody>
          <a:bodyPr/>
          <a:lstStyle/>
          <a:p>
            <a:r>
              <a:rPr lang="en-GB" noProof="0"/>
              <a:t>TITLE</a:t>
            </a:r>
          </a:p>
        </p:txBody>
      </p:sp>
      <p:sp>
        <p:nvSpPr>
          <p:cNvPr id="8" name="Espace réservé de la date 7"/>
          <p:cNvSpPr>
            <a:spLocks noGrp="1"/>
          </p:cNvSpPr>
          <p:nvPr>
            <p:ph type="dt" sz="half" idx="14"/>
          </p:nvPr>
        </p:nvSpPr>
        <p:spPr bwMode="gray"/>
        <p:txBody>
          <a:bodyPr/>
          <a:lstStyle/>
          <a:p>
            <a:r>
              <a:rPr lang="en-GB">
                <a:solidFill>
                  <a:prstClr val="white">
                    <a:alpha val="0"/>
                  </a:prstClr>
                </a:solidFill>
              </a:rPr>
              <a:t>Date</a:t>
            </a:r>
          </a:p>
        </p:txBody>
      </p:sp>
      <p:sp>
        <p:nvSpPr>
          <p:cNvPr id="9" name="Espace réservé du numéro de diapositive 8"/>
          <p:cNvSpPr>
            <a:spLocks noGrp="1"/>
          </p:cNvSpPr>
          <p:nvPr>
            <p:ph type="sldNum" sz="quarter" idx="15"/>
          </p:nvPr>
        </p:nvSpPr>
        <p:spPr bwMode="gray"/>
        <p:txBody>
          <a:bodyPr/>
          <a:lstStyle/>
          <a:p>
            <a:fld id="{733122C9-A0B9-462F-8757-0847AD287B63}" type="slidenum">
              <a:rPr lang="en-GB" smtClean="0">
                <a:solidFill>
                  <a:srgbClr val="343434"/>
                </a:solidFill>
              </a:rPr>
              <a:pPr/>
              <a:t>‹#›</a:t>
            </a:fld>
            <a:endParaRPr lang="en-GB">
              <a:solidFill>
                <a:srgbClr val="343434"/>
              </a:solidFill>
            </a:endParaRPr>
          </a:p>
        </p:txBody>
      </p:sp>
      <p:sp>
        <p:nvSpPr>
          <p:cNvPr id="11" name="Espace réservé du pied de page 10"/>
          <p:cNvSpPr>
            <a:spLocks noGrp="1"/>
          </p:cNvSpPr>
          <p:nvPr>
            <p:ph type="ftr" sz="quarter" idx="16"/>
          </p:nvPr>
        </p:nvSpPr>
        <p:spPr bwMode="gray">
          <a:xfrm>
            <a:off x="2412000" y="6498000"/>
            <a:ext cx="4320000" cy="360000"/>
          </a:xfrm>
          <a:prstGeom prst="rect">
            <a:avLst/>
          </a:prstGeom>
        </p:spPr>
        <p:txBody>
          <a:bodyPr/>
          <a:lstStyle/>
          <a:p>
            <a:r>
              <a:rPr lang="en-GB" sz="1400" kern="0">
                <a:solidFill>
                  <a:srgbClr val="005CB9"/>
                </a:solidFill>
                <a:cs typeface="Arial"/>
                <a:sym typeface="Arial"/>
              </a:rPr>
              <a:t>#add your hashtag</a:t>
            </a:r>
          </a:p>
        </p:txBody>
      </p:sp>
      <p:sp>
        <p:nvSpPr>
          <p:cNvPr id="21" name="Espace réservé du texte 9"/>
          <p:cNvSpPr>
            <a:spLocks noGrp="1"/>
          </p:cNvSpPr>
          <p:nvPr>
            <p:ph type="body" sz="quarter" idx="19" hasCustomPrompt="1"/>
          </p:nvPr>
        </p:nvSpPr>
        <p:spPr bwMode="gray">
          <a:xfrm>
            <a:off x="935038" y="1341437"/>
            <a:ext cx="3564000" cy="335715"/>
          </a:xfrm>
          <a:solidFill>
            <a:schemeClr val="accent2"/>
          </a:solidFill>
          <a:ln w="9525">
            <a:solidFill>
              <a:schemeClr val="bg2"/>
            </a:solidFill>
          </a:ln>
        </p:spPr>
        <p:txBody>
          <a:bodyPr anchor="ctr" anchorCtr="0"/>
          <a:lstStyle>
            <a:lvl1pPr algn="ctr">
              <a:lnSpc>
                <a:spcPct val="100000"/>
              </a:lnSpc>
              <a:defRPr>
                <a:solidFill>
                  <a:schemeClr val="bg1"/>
                </a:solidFill>
              </a:defRPr>
            </a:lvl1pPr>
          </a:lstStyle>
          <a:p>
            <a:pPr lvl="0"/>
            <a:r>
              <a:rPr lang="en-GB" noProof="0"/>
              <a:t>Text level 1</a:t>
            </a:r>
          </a:p>
        </p:txBody>
      </p:sp>
      <p:sp>
        <p:nvSpPr>
          <p:cNvPr id="22" name="Espace réservé du texte 9"/>
          <p:cNvSpPr>
            <a:spLocks noGrp="1"/>
          </p:cNvSpPr>
          <p:nvPr>
            <p:ph type="body" sz="quarter" idx="20" hasCustomPrompt="1"/>
          </p:nvPr>
        </p:nvSpPr>
        <p:spPr bwMode="gray">
          <a:xfrm>
            <a:off x="935038" y="1665437"/>
            <a:ext cx="3564000" cy="4140051"/>
          </a:xfrm>
          <a:ln w="9525">
            <a:solidFill>
              <a:schemeClr val="bg2"/>
            </a:solidFill>
          </a:ln>
        </p:spPr>
        <p:txBody>
          <a:bodyPr tIns="72000"/>
          <a:lstStyle>
            <a:lvl1pPr marL="243000" indent="-135000">
              <a:lnSpc>
                <a:spcPct val="100000"/>
              </a:lnSpc>
              <a:spcBef>
                <a:spcPts val="225"/>
              </a:spcBef>
              <a:buClr>
                <a:schemeClr val="accent3"/>
              </a:buClr>
              <a:buFont typeface="Arial" pitchFamily="34" charset="0"/>
              <a:buChar char="•"/>
              <a:defRPr sz="1350">
                <a:solidFill>
                  <a:schemeClr val="tx1"/>
                </a:solidFill>
              </a:defRPr>
            </a:lvl1pPr>
            <a:lvl2pPr marL="378000">
              <a:buClr>
                <a:schemeClr val="tx1"/>
              </a:buClr>
              <a:defRPr sz="1200" b="0"/>
            </a:lvl2pPr>
            <a:lvl3pPr indent="0">
              <a:buNone/>
              <a:defRPr/>
            </a:lvl3pPr>
            <a:lvl4pPr marL="513000" indent="-135000">
              <a:buClr>
                <a:schemeClr val="tx1"/>
              </a:buClr>
              <a:buFont typeface="Arial" pitchFamily="34" charset="0"/>
              <a:buChar char="•"/>
              <a:defRPr sz="1050"/>
            </a:lvl4pPr>
          </a:lstStyle>
          <a:p>
            <a:pPr lvl="0"/>
            <a:r>
              <a:rPr lang="en-GB" noProof="0"/>
              <a:t>Text level 2</a:t>
            </a:r>
          </a:p>
          <a:p>
            <a:pPr lvl="1"/>
            <a:r>
              <a:rPr lang="en-GB" noProof="0"/>
              <a:t>Text level 3</a:t>
            </a:r>
          </a:p>
          <a:p>
            <a:pPr lvl="2"/>
            <a:r>
              <a:rPr lang="en-GB" noProof="0"/>
              <a:t>Text level 4</a:t>
            </a:r>
          </a:p>
          <a:p>
            <a:pPr lvl="3"/>
            <a:r>
              <a:rPr lang="en-GB" noProof="0"/>
              <a:t>Text level 5</a:t>
            </a:r>
          </a:p>
        </p:txBody>
      </p:sp>
      <p:sp>
        <p:nvSpPr>
          <p:cNvPr id="23" name="Espace réservé du texte 9"/>
          <p:cNvSpPr>
            <a:spLocks noGrp="1"/>
          </p:cNvSpPr>
          <p:nvPr>
            <p:ph type="body" sz="quarter" idx="21" hasCustomPrompt="1"/>
          </p:nvPr>
        </p:nvSpPr>
        <p:spPr bwMode="gray">
          <a:xfrm>
            <a:off x="4716400" y="1341437"/>
            <a:ext cx="3564000" cy="335715"/>
          </a:xfrm>
          <a:solidFill>
            <a:schemeClr val="accent2"/>
          </a:solidFill>
          <a:ln w="9525">
            <a:solidFill>
              <a:schemeClr val="bg2"/>
            </a:solidFill>
          </a:ln>
        </p:spPr>
        <p:txBody>
          <a:bodyPr anchor="ctr" anchorCtr="0"/>
          <a:lstStyle>
            <a:lvl1pPr algn="ctr">
              <a:lnSpc>
                <a:spcPct val="100000"/>
              </a:lnSpc>
              <a:defRPr>
                <a:solidFill>
                  <a:schemeClr val="bg1"/>
                </a:solidFill>
              </a:defRPr>
            </a:lvl1pPr>
          </a:lstStyle>
          <a:p>
            <a:pPr lvl="0"/>
            <a:r>
              <a:rPr lang="en-GB" noProof="0"/>
              <a:t>Text level 1</a:t>
            </a:r>
          </a:p>
        </p:txBody>
      </p:sp>
      <p:sp>
        <p:nvSpPr>
          <p:cNvPr id="24" name="Espace réservé du texte 9"/>
          <p:cNvSpPr>
            <a:spLocks noGrp="1"/>
          </p:cNvSpPr>
          <p:nvPr>
            <p:ph type="body" sz="quarter" idx="22" hasCustomPrompt="1"/>
          </p:nvPr>
        </p:nvSpPr>
        <p:spPr bwMode="gray">
          <a:xfrm>
            <a:off x="4716400" y="1665437"/>
            <a:ext cx="3564000" cy="4140051"/>
          </a:xfrm>
          <a:ln w="9525">
            <a:solidFill>
              <a:schemeClr val="bg2"/>
            </a:solidFill>
          </a:ln>
        </p:spPr>
        <p:txBody>
          <a:bodyPr tIns="72000"/>
          <a:lstStyle>
            <a:lvl1pPr marL="243000" indent="-135000">
              <a:lnSpc>
                <a:spcPct val="100000"/>
              </a:lnSpc>
              <a:spcBef>
                <a:spcPts val="225"/>
              </a:spcBef>
              <a:buClr>
                <a:schemeClr val="accent3"/>
              </a:buClr>
              <a:buFont typeface="Arial" pitchFamily="34" charset="0"/>
              <a:buChar char="•"/>
              <a:defRPr sz="1350">
                <a:solidFill>
                  <a:schemeClr val="tx1"/>
                </a:solidFill>
              </a:defRPr>
            </a:lvl1pPr>
            <a:lvl2pPr marL="378000">
              <a:buClr>
                <a:schemeClr val="tx1"/>
              </a:buClr>
              <a:defRPr sz="1200" b="0"/>
            </a:lvl2pPr>
            <a:lvl3pPr indent="0">
              <a:buNone/>
              <a:defRPr/>
            </a:lvl3pPr>
            <a:lvl4pPr marL="513000" indent="-135000">
              <a:buClr>
                <a:schemeClr val="tx1"/>
              </a:buClr>
              <a:buFont typeface="Arial" pitchFamily="34" charset="0"/>
              <a:buChar char="•"/>
              <a:defRPr sz="1050"/>
            </a:lvl4pPr>
          </a:lstStyle>
          <a:p>
            <a:pPr lvl="0"/>
            <a:r>
              <a:rPr lang="en-GB" noProof="0"/>
              <a:t>Text level 2</a:t>
            </a:r>
          </a:p>
          <a:p>
            <a:pPr lvl="1"/>
            <a:r>
              <a:rPr lang="en-GB" noProof="0"/>
              <a:t>Text level 3</a:t>
            </a:r>
          </a:p>
          <a:p>
            <a:pPr lvl="2"/>
            <a:r>
              <a:rPr lang="en-GB" noProof="0"/>
              <a:t>Text level 4</a:t>
            </a:r>
          </a:p>
          <a:p>
            <a:pPr lvl="3"/>
            <a:r>
              <a:rPr lang="en-GB" noProof="0"/>
              <a:t>Text level 5</a:t>
            </a:r>
          </a:p>
        </p:txBody>
      </p:sp>
    </p:spTree>
    <p:extLst>
      <p:ext uri="{BB962C8B-B14F-4D97-AF65-F5344CB8AC3E}">
        <p14:creationId xmlns:p14="http://schemas.microsoft.com/office/powerpoint/2010/main" val="17321341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Thank_you_2">
    <p:spTree>
      <p:nvGrpSpPr>
        <p:cNvPr id="1" name=""/>
        <p:cNvGrpSpPr/>
        <p:nvPr/>
      </p:nvGrpSpPr>
      <p:grpSpPr>
        <a:xfrm>
          <a:off x="0" y="0"/>
          <a:ext cx="0" cy="0"/>
          <a:chOff x="0" y="0"/>
          <a:chExt cx="0" cy="0"/>
        </a:xfrm>
      </p:grpSpPr>
      <p:pic>
        <p:nvPicPr>
          <p:cNvPr id="21" name="Image 20" descr="Image_03.jpg"/>
          <p:cNvPicPr>
            <a:picLocks noChangeAspect="1"/>
          </p:cNvPicPr>
          <p:nvPr userDrawn="1"/>
        </p:nvPicPr>
        <p:blipFill>
          <a:blip r:embed="rId2" cstate="print"/>
          <a:stretch>
            <a:fillRect/>
          </a:stretch>
        </p:blipFill>
        <p:spPr bwMode="gray">
          <a:xfrm>
            <a:off x="4068000" y="3"/>
            <a:ext cx="5076000" cy="5185751"/>
          </a:xfrm>
          <a:prstGeom prst="rect">
            <a:avLst/>
          </a:prstGeom>
        </p:spPr>
      </p:pic>
      <p:sp>
        <p:nvSpPr>
          <p:cNvPr id="14" name="Forme libre 13"/>
          <p:cNvSpPr/>
          <p:nvPr userDrawn="1"/>
        </p:nvSpPr>
        <p:spPr bwMode="gray">
          <a:xfrm>
            <a:off x="5" y="2"/>
            <a:ext cx="6899275" cy="5157788"/>
          </a:xfrm>
          <a:custGeom>
            <a:avLst/>
            <a:gdLst>
              <a:gd name="connsiteX0" fmla="*/ 0 w 6899275"/>
              <a:gd name="connsiteY0" fmla="*/ 0 h 5157788"/>
              <a:gd name="connsiteX1" fmla="*/ 6899275 w 6899275"/>
              <a:gd name="connsiteY1" fmla="*/ 0 h 5157788"/>
              <a:gd name="connsiteX2" fmla="*/ 5436096 w 6899275"/>
              <a:gd name="connsiteY2" fmla="*/ 2564905 h 5157788"/>
              <a:gd name="connsiteX3" fmla="*/ 4192589 w 6899275"/>
              <a:gd name="connsiteY3" fmla="*/ 5157788 h 5157788"/>
              <a:gd name="connsiteX4" fmla="*/ 0 w 6899275"/>
              <a:gd name="connsiteY4" fmla="*/ 5157788 h 51577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9275" h="5157788">
                <a:moveTo>
                  <a:pt x="0" y="0"/>
                </a:moveTo>
                <a:lnTo>
                  <a:pt x="6899275" y="0"/>
                </a:lnTo>
                <a:cubicBezTo>
                  <a:pt x="6858543" y="709899"/>
                  <a:pt x="6060035" y="1706304"/>
                  <a:pt x="5436096" y="2564905"/>
                </a:cubicBezTo>
                <a:cubicBezTo>
                  <a:pt x="4375629" y="4028322"/>
                  <a:pt x="4276999" y="4546571"/>
                  <a:pt x="4192589" y="5157788"/>
                </a:cubicBezTo>
                <a:lnTo>
                  <a:pt x="0" y="5157788"/>
                </a:lnTo>
                <a:close/>
              </a:path>
            </a:pathLst>
          </a:custGeom>
          <a:blipFill>
            <a:blip r:embed="rId3" cstate="prin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solidFill>
                <a:prstClr val="white"/>
              </a:solidFill>
              <a:sym typeface="Arial"/>
            </a:endParaRPr>
          </a:p>
        </p:txBody>
      </p:sp>
      <p:sp>
        <p:nvSpPr>
          <p:cNvPr id="22" name="Rectangle 21"/>
          <p:cNvSpPr/>
          <p:nvPr userDrawn="1"/>
        </p:nvSpPr>
        <p:spPr bwMode="gray">
          <a:xfrm>
            <a:off x="3635379" y="5265206"/>
            <a:ext cx="5508625" cy="15927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solidFill>
                <a:prstClr val="white"/>
              </a:solidFill>
              <a:sym typeface="Arial"/>
            </a:endParaRPr>
          </a:p>
        </p:txBody>
      </p:sp>
      <p:pic>
        <p:nvPicPr>
          <p:cNvPr id="20" name="Image 19" descr="Bas_couv.png"/>
          <p:cNvPicPr>
            <a:picLocks noChangeAspect="1"/>
          </p:cNvPicPr>
          <p:nvPr userDrawn="1"/>
        </p:nvPicPr>
        <p:blipFill>
          <a:blip r:embed="rId4" cstate="print"/>
          <a:srcRect r="60243" b="722"/>
          <a:stretch>
            <a:fillRect/>
          </a:stretch>
        </p:blipFill>
        <p:spPr bwMode="gray">
          <a:xfrm>
            <a:off x="4" y="5172520"/>
            <a:ext cx="3635375" cy="1685480"/>
          </a:xfrm>
          <a:prstGeom prst="rect">
            <a:avLst/>
          </a:prstGeom>
        </p:spPr>
      </p:pic>
      <p:sp>
        <p:nvSpPr>
          <p:cNvPr id="9" name="Espace réservé du texte 8"/>
          <p:cNvSpPr>
            <a:spLocks noGrp="1"/>
          </p:cNvSpPr>
          <p:nvPr>
            <p:ph type="body" sz="quarter" idx="13" hasCustomPrompt="1"/>
          </p:nvPr>
        </p:nvSpPr>
        <p:spPr bwMode="gray">
          <a:xfrm>
            <a:off x="468000" y="1036800"/>
            <a:ext cx="4824412" cy="2232000"/>
          </a:xfrm>
        </p:spPr>
        <p:txBody>
          <a:bodyPr anchor="b" anchorCtr="0"/>
          <a:lstStyle>
            <a:lvl1pPr marL="0" indent="0" algn="l">
              <a:lnSpc>
                <a:spcPct val="90000"/>
              </a:lnSpc>
              <a:buNone/>
              <a:defRPr sz="2100" b="1" cap="none" baseline="0">
                <a:solidFill>
                  <a:schemeClr val="bg1"/>
                </a:solidFill>
              </a:defRPr>
            </a:lvl1pPr>
            <a:lvl2pPr marL="0" algn="ctr">
              <a:lnSpc>
                <a:spcPct val="100000"/>
              </a:lnSpc>
              <a:spcBef>
                <a:spcPts val="5175"/>
              </a:spcBef>
              <a:defRPr sz="1500" b="1">
                <a:solidFill>
                  <a:schemeClr val="bg1"/>
                </a:solidFill>
              </a:defRPr>
            </a:lvl2pPr>
          </a:lstStyle>
          <a:p>
            <a:r>
              <a:rPr lang="en-US"/>
              <a:t>THANK YOU</a:t>
            </a:r>
          </a:p>
        </p:txBody>
      </p:sp>
      <p:sp>
        <p:nvSpPr>
          <p:cNvPr id="10" name="Espace réservé de la date 9"/>
          <p:cNvSpPr>
            <a:spLocks noGrp="1"/>
          </p:cNvSpPr>
          <p:nvPr>
            <p:ph type="dt" sz="half" idx="15"/>
          </p:nvPr>
        </p:nvSpPr>
        <p:spPr bwMode="gray"/>
        <p:txBody>
          <a:bodyPr/>
          <a:lstStyle/>
          <a:p>
            <a:r>
              <a:rPr lang="en-GB">
                <a:solidFill>
                  <a:prstClr val="white">
                    <a:alpha val="0"/>
                  </a:prstClr>
                </a:solidFill>
              </a:rPr>
              <a:t>Date</a:t>
            </a:r>
          </a:p>
        </p:txBody>
      </p:sp>
      <p:sp>
        <p:nvSpPr>
          <p:cNvPr id="11" name="Espace réservé du numéro de diapositive 10"/>
          <p:cNvSpPr>
            <a:spLocks noGrp="1"/>
          </p:cNvSpPr>
          <p:nvPr>
            <p:ph type="sldNum" sz="quarter" idx="16"/>
          </p:nvPr>
        </p:nvSpPr>
        <p:spPr bwMode="gray"/>
        <p:txBody>
          <a:bodyPr/>
          <a:lstStyle>
            <a:lvl1pPr>
              <a:defRPr sz="100">
                <a:solidFill>
                  <a:schemeClr val="bg1">
                    <a:alpha val="0"/>
                  </a:schemeClr>
                </a:solidFill>
              </a:defRPr>
            </a:lvl1pPr>
          </a:lstStyle>
          <a:p>
            <a:r>
              <a:rPr lang="en-GB">
                <a:solidFill>
                  <a:prstClr val="white">
                    <a:alpha val="0"/>
                  </a:prstClr>
                </a:solidFill>
              </a:rPr>
              <a:t>Page: </a:t>
            </a:r>
            <a:fld id="{733122C9-A0B9-462F-8757-0847AD287B63}" type="slidenum">
              <a:rPr lang="en-GB" smtClean="0">
                <a:solidFill>
                  <a:prstClr val="white">
                    <a:alpha val="0"/>
                  </a:prstClr>
                </a:solidFill>
              </a:rPr>
              <a:pPr/>
              <a:t>‹#›</a:t>
            </a:fld>
            <a:endParaRPr lang="en-GB">
              <a:solidFill>
                <a:prstClr val="white">
                  <a:alpha val="0"/>
                </a:prstClr>
              </a:solidFill>
            </a:endParaRPr>
          </a:p>
        </p:txBody>
      </p:sp>
      <p:sp>
        <p:nvSpPr>
          <p:cNvPr id="12" name="Espace réservé du pied de page 11"/>
          <p:cNvSpPr>
            <a:spLocks noGrp="1"/>
          </p:cNvSpPr>
          <p:nvPr>
            <p:ph type="ftr" sz="quarter" idx="17"/>
          </p:nvPr>
        </p:nvSpPr>
        <p:spPr bwMode="gray">
          <a:xfrm>
            <a:off x="468316" y="524188"/>
            <a:ext cx="4824413" cy="360000"/>
          </a:xfrm>
          <a:prstGeom prst="rect">
            <a:avLst/>
          </a:prstGeom>
        </p:spPr>
        <p:txBody>
          <a:bodyPr/>
          <a:lstStyle>
            <a:lvl1pPr algn="l">
              <a:defRPr sz="1350" b="0">
                <a:solidFill>
                  <a:schemeClr val="bg1"/>
                </a:solidFill>
              </a:defRPr>
            </a:lvl1pPr>
          </a:lstStyle>
          <a:p>
            <a:r>
              <a:rPr lang="en-GB" kern="0">
                <a:solidFill>
                  <a:prstClr val="white"/>
                </a:solidFill>
                <a:cs typeface="Arial"/>
                <a:sym typeface="Arial"/>
              </a:rPr>
              <a:t>#add your hashtag</a:t>
            </a:r>
          </a:p>
        </p:txBody>
      </p:sp>
      <p:sp>
        <p:nvSpPr>
          <p:cNvPr id="15" name="Espace réservé du texte 14"/>
          <p:cNvSpPr>
            <a:spLocks noGrp="1"/>
          </p:cNvSpPr>
          <p:nvPr>
            <p:ph type="body" sz="quarter" idx="19" hasCustomPrompt="1"/>
          </p:nvPr>
        </p:nvSpPr>
        <p:spPr bwMode="gray">
          <a:xfrm>
            <a:off x="3635376" y="6021388"/>
            <a:ext cx="5113338" cy="324000"/>
          </a:xfrm>
        </p:spPr>
        <p:txBody>
          <a:bodyPr anchor="b" anchorCtr="0"/>
          <a:lstStyle>
            <a:lvl1pPr algn="r">
              <a:lnSpc>
                <a:spcPct val="100000"/>
              </a:lnSpc>
              <a:defRPr sz="750" b="1">
                <a:solidFill>
                  <a:schemeClr val="accent2"/>
                </a:solidFill>
              </a:defRPr>
            </a:lvl1pPr>
          </a:lstStyle>
          <a:p>
            <a:pPr lvl="0"/>
            <a:r>
              <a:rPr lang="en-GB" noProof="0"/>
              <a:t>Write your claim here</a:t>
            </a:r>
          </a:p>
        </p:txBody>
      </p:sp>
      <p:sp>
        <p:nvSpPr>
          <p:cNvPr id="16" name="Rectangle 15"/>
          <p:cNvSpPr/>
          <p:nvPr userDrawn="1"/>
        </p:nvSpPr>
        <p:spPr bwMode="gray">
          <a:xfrm>
            <a:off x="3635375" y="6354204"/>
            <a:ext cx="5113338" cy="2872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r"/>
            <a:r>
              <a:rPr lang="en-GB" sz="750">
                <a:solidFill>
                  <a:srgbClr val="95D600"/>
                </a:solidFill>
                <a:sym typeface="Arial"/>
              </a:rPr>
              <a:t>www.gavi.org</a:t>
            </a:r>
          </a:p>
        </p:txBody>
      </p:sp>
      <p:sp>
        <p:nvSpPr>
          <p:cNvPr id="19" name="Rectangle 18"/>
          <p:cNvSpPr/>
          <p:nvPr userDrawn="1"/>
        </p:nvSpPr>
        <p:spPr bwMode="gray">
          <a:xfrm>
            <a:off x="468313" y="3391895"/>
            <a:ext cx="2448000" cy="252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solidFill>
                <a:prstClr val="white"/>
              </a:solidFill>
              <a:sym typeface="Arial"/>
            </a:endParaRPr>
          </a:p>
        </p:txBody>
      </p:sp>
      <p:sp>
        <p:nvSpPr>
          <p:cNvPr id="17" name="Espace réservé du texte 16"/>
          <p:cNvSpPr>
            <a:spLocks noGrp="1"/>
          </p:cNvSpPr>
          <p:nvPr>
            <p:ph type="body" sz="quarter" idx="20" hasCustomPrompt="1"/>
          </p:nvPr>
        </p:nvSpPr>
        <p:spPr bwMode="gray">
          <a:xfrm>
            <a:off x="0" y="5157790"/>
            <a:ext cx="9144000" cy="287337"/>
          </a:xfrm>
          <a:solidFill>
            <a:schemeClr val="bg1"/>
          </a:solidFill>
        </p:spPr>
        <p:txBody>
          <a:bodyPr/>
          <a:lstStyle>
            <a:lvl1pPr>
              <a:defRPr sz="100" b="0">
                <a:solidFill>
                  <a:schemeClr val="bg1">
                    <a:alpha val="0"/>
                  </a:schemeClr>
                </a:solidFill>
              </a:defRPr>
            </a:lvl1pPr>
          </a:lstStyle>
          <a:p>
            <a:pPr lvl="0"/>
            <a:r>
              <a:rPr lang="en-GB" noProof="0"/>
              <a:t> </a:t>
            </a:r>
          </a:p>
        </p:txBody>
      </p:sp>
    </p:spTree>
    <p:extLst>
      <p:ext uri="{BB962C8B-B14F-4D97-AF65-F5344CB8AC3E}">
        <p14:creationId xmlns:p14="http://schemas.microsoft.com/office/powerpoint/2010/main" val="15196249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Thank_you_picture_2">
    <p:spTree>
      <p:nvGrpSpPr>
        <p:cNvPr id="1" name=""/>
        <p:cNvGrpSpPr/>
        <p:nvPr/>
      </p:nvGrpSpPr>
      <p:grpSpPr>
        <a:xfrm>
          <a:off x="0" y="0"/>
          <a:ext cx="0" cy="0"/>
          <a:chOff x="0" y="0"/>
          <a:chExt cx="0" cy="0"/>
        </a:xfrm>
      </p:grpSpPr>
      <p:pic>
        <p:nvPicPr>
          <p:cNvPr id="21" name="Image 20" descr="FD_1_L254.png"/>
          <p:cNvPicPr>
            <a:picLocks noChangeAspect="1"/>
          </p:cNvPicPr>
          <p:nvPr userDrawn="1"/>
        </p:nvPicPr>
        <p:blipFill>
          <a:blip r:embed="rId2" cstate="print"/>
          <a:stretch>
            <a:fillRect/>
          </a:stretch>
        </p:blipFill>
        <p:spPr bwMode="gray">
          <a:xfrm>
            <a:off x="1" y="2"/>
            <a:ext cx="9144000" cy="5157788"/>
          </a:xfrm>
          <a:prstGeom prst="rect">
            <a:avLst/>
          </a:prstGeom>
        </p:spPr>
      </p:pic>
      <p:sp>
        <p:nvSpPr>
          <p:cNvPr id="18" name="Espace réservé pour une image  17"/>
          <p:cNvSpPr>
            <a:spLocks noGrp="1"/>
          </p:cNvSpPr>
          <p:nvPr>
            <p:ph type="pic" sz="quarter" idx="18" hasCustomPrompt="1"/>
          </p:nvPr>
        </p:nvSpPr>
        <p:spPr bwMode="gray">
          <a:xfrm>
            <a:off x="4192588" y="0"/>
            <a:ext cx="4951412" cy="5162400"/>
          </a:xfrm>
          <a:custGeom>
            <a:avLst/>
            <a:gdLst>
              <a:gd name="connsiteX0" fmla="*/ 0 w 3851275"/>
              <a:gd name="connsiteY0" fmla="*/ 0 h 5157788"/>
              <a:gd name="connsiteX1" fmla="*/ 3851275 w 3851275"/>
              <a:gd name="connsiteY1" fmla="*/ 0 h 5157788"/>
              <a:gd name="connsiteX2" fmla="*/ 3851275 w 3851275"/>
              <a:gd name="connsiteY2" fmla="*/ 5157788 h 5157788"/>
              <a:gd name="connsiteX3" fmla="*/ 0 w 3851275"/>
              <a:gd name="connsiteY3" fmla="*/ 5157788 h 5157788"/>
              <a:gd name="connsiteX4" fmla="*/ 0 w 3851275"/>
              <a:gd name="connsiteY4"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0 w 3851275"/>
              <a:gd name="connsiteY3" fmla="*/ 5157788 h 5157788"/>
              <a:gd name="connsiteX4" fmla="*/ 1692275 w 3851275"/>
              <a:gd name="connsiteY4" fmla="*/ 0 h 5157788"/>
              <a:gd name="connsiteX0" fmla="*/ 0 w 2159000"/>
              <a:gd name="connsiteY0" fmla="*/ 0 h 5157788"/>
              <a:gd name="connsiteX1" fmla="*/ 2159000 w 2159000"/>
              <a:gd name="connsiteY1" fmla="*/ 0 h 5157788"/>
              <a:gd name="connsiteX2" fmla="*/ 2159000 w 2159000"/>
              <a:gd name="connsiteY2" fmla="*/ 5157788 h 5157788"/>
              <a:gd name="connsiteX3" fmla="*/ 0 w 2159000"/>
              <a:gd name="connsiteY3" fmla="*/ 5157788 h 5157788"/>
              <a:gd name="connsiteX4" fmla="*/ 0 w 2159000"/>
              <a:gd name="connsiteY4" fmla="*/ 0 h 5157788"/>
              <a:gd name="connsiteX0" fmla="*/ 2625271 w 4784271"/>
              <a:gd name="connsiteY0" fmla="*/ 0 h 5157788"/>
              <a:gd name="connsiteX1" fmla="*/ 4784271 w 4784271"/>
              <a:gd name="connsiteY1" fmla="*/ 0 h 5157788"/>
              <a:gd name="connsiteX2" fmla="*/ 4784271 w 4784271"/>
              <a:gd name="connsiteY2" fmla="*/ 5157788 h 5157788"/>
              <a:gd name="connsiteX3" fmla="*/ 2625271 w 4784271"/>
              <a:gd name="connsiteY3" fmla="*/ 5157788 h 5157788"/>
              <a:gd name="connsiteX4" fmla="*/ 2625271 w 4784271"/>
              <a:gd name="connsiteY4" fmla="*/ 0 h 5157788"/>
              <a:gd name="connsiteX0" fmla="*/ 2625271 w 4784271"/>
              <a:gd name="connsiteY0" fmla="*/ 0 h 5157788"/>
              <a:gd name="connsiteX1" fmla="*/ 4784271 w 4784271"/>
              <a:gd name="connsiteY1" fmla="*/ 0 h 5157788"/>
              <a:gd name="connsiteX2" fmla="*/ 4784271 w 4784271"/>
              <a:gd name="connsiteY2" fmla="*/ 5157788 h 5157788"/>
              <a:gd name="connsiteX3" fmla="*/ 2625271 w 4784271"/>
              <a:gd name="connsiteY3" fmla="*/ 5157788 h 5157788"/>
              <a:gd name="connsiteX4" fmla="*/ 2625271 w 4784271"/>
              <a:gd name="connsiteY4" fmla="*/ 0 h 5157788"/>
              <a:gd name="connsiteX0" fmla="*/ 3568576 w 5727576"/>
              <a:gd name="connsiteY0" fmla="*/ 0 h 5157788"/>
              <a:gd name="connsiteX1" fmla="*/ 5727576 w 5727576"/>
              <a:gd name="connsiteY1" fmla="*/ 0 h 5157788"/>
              <a:gd name="connsiteX2" fmla="*/ 5727576 w 5727576"/>
              <a:gd name="connsiteY2" fmla="*/ 5157788 h 5157788"/>
              <a:gd name="connsiteX3" fmla="*/ 3568576 w 5727576"/>
              <a:gd name="connsiteY3" fmla="*/ 5157788 h 5157788"/>
              <a:gd name="connsiteX4" fmla="*/ 3568576 w 5727576"/>
              <a:gd name="connsiteY4" fmla="*/ 0 h 5157788"/>
              <a:gd name="connsiteX0" fmla="*/ 3306355 w 5465355"/>
              <a:gd name="connsiteY0" fmla="*/ 0 h 5157788"/>
              <a:gd name="connsiteX1" fmla="*/ 5465355 w 5465355"/>
              <a:gd name="connsiteY1" fmla="*/ 0 h 5157788"/>
              <a:gd name="connsiteX2" fmla="*/ 5465355 w 5465355"/>
              <a:gd name="connsiteY2" fmla="*/ 5157788 h 5157788"/>
              <a:gd name="connsiteX3" fmla="*/ 3306355 w 5465355"/>
              <a:gd name="connsiteY3" fmla="*/ 5157788 h 5157788"/>
              <a:gd name="connsiteX4" fmla="*/ 3306355 w 5465355"/>
              <a:gd name="connsiteY4" fmla="*/ 0 h 5157788"/>
              <a:gd name="connsiteX0" fmla="*/ 1416957 w 3575957"/>
              <a:gd name="connsiteY0" fmla="*/ 0 h 5157788"/>
              <a:gd name="connsiteX1" fmla="*/ 3575957 w 3575957"/>
              <a:gd name="connsiteY1" fmla="*/ 0 h 5157788"/>
              <a:gd name="connsiteX2" fmla="*/ 3575957 w 3575957"/>
              <a:gd name="connsiteY2" fmla="*/ 5157788 h 5157788"/>
              <a:gd name="connsiteX3" fmla="*/ 1416957 w 3575957"/>
              <a:gd name="connsiteY3" fmla="*/ 5157788 h 5157788"/>
              <a:gd name="connsiteX4" fmla="*/ 0 w 3575957"/>
              <a:gd name="connsiteY4" fmla="*/ 3339193 h 5157788"/>
              <a:gd name="connsiteX5" fmla="*/ 1416957 w 3575957"/>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6017419"/>
              <a:gd name="connsiteX1" fmla="*/ 3851275 w 3851275"/>
              <a:gd name="connsiteY1" fmla="*/ 0 h 6017419"/>
              <a:gd name="connsiteX2" fmla="*/ 3851275 w 3851275"/>
              <a:gd name="connsiteY2" fmla="*/ 5157788 h 6017419"/>
              <a:gd name="connsiteX3" fmla="*/ 1692275 w 3851275"/>
              <a:gd name="connsiteY3" fmla="*/ 5157788 h 6017419"/>
              <a:gd name="connsiteX4" fmla="*/ 0 w 3851275"/>
              <a:gd name="connsiteY4" fmla="*/ 3284984 h 6017419"/>
              <a:gd name="connsiteX5" fmla="*/ 1692275 w 3851275"/>
              <a:gd name="connsiteY5" fmla="*/ 0 h 6017419"/>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429000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429000 h 5157788"/>
              <a:gd name="connsiteX5" fmla="*/ 1710871 w 3869871"/>
              <a:gd name="connsiteY5" fmla="*/ 0 h 5157788"/>
              <a:gd name="connsiteX0" fmla="*/ 1704975 w 3863975"/>
              <a:gd name="connsiteY0" fmla="*/ 0 h 5157788"/>
              <a:gd name="connsiteX1" fmla="*/ 3863975 w 3863975"/>
              <a:gd name="connsiteY1" fmla="*/ 0 h 5157788"/>
              <a:gd name="connsiteX2" fmla="*/ 3863975 w 3863975"/>
              <a:gd name="connsiteY2" fmla="*/ 5157788 h 5157788"/>
              <a:gd name="connsiteX3" fmla="*/ 1704975 w 3863975"/>
              <a:gd name="connsiteY3" fmla="*/ 5157788 h 5157788"/>
              <a:gd name="connsiteX4" fmla="*/ 12700 w 3863975"/>
              <a:gd name="connsiteY4" fmla="*/ 3429000 h 5157788"/>
              <a:gd name="connsiteX5" fmla="*/ 1704975 w 3863975"/>
              <a:gd name="connsiteY5" fmla="*/ 0 h 5157788"/>
              <a:gd name="connsiteX0" fmla="*/ 1707243 w 3866243"/>
              <a:gd name="connsiteY0" fmla="*/ 0 h 5157788"/>
              <a:gd name="connsiteX1" fmla="*/ 3866243 w 3866243"/>
              <a:gd name="connsiteY1" fmla="*/ 0 h 5157788"/>
              <a:gd name="connsiteX2" fmla="*/ 3866243 w 3866243"/>
              <a:gd name="connsiteY2" fmla="*/ 5157788 h 5157788"/>
              <a:gd name="connsiteX3" fmla="*/ 1707243 w 3866243"/>
              <a:gd name="connsiteY3" fmla="*/ 5157788 h 5157788"/>
              <a:gd name="connsiteX4" fmla="*/ 14968 w 3866243"/>
              <a:gd name="connsiteY4" fmla="*/ 3429000 h 5157788"/>
              <a:gd name="connsiteX5" fmla="*/ 1707243 w 3866243"/>
              <a:gd name="connsiteY5" fmla="*/ 0 h 5157788"/>
              <a:gd name="connsiteX0" fmla="*/ 1130447 w 3866243"/>
              <a:gd name="connsiteY0" fmla="*/ 0 h 5157788"/>
              <a:gd name="connsiteX1" fmla="*/ 3866243 w 3866243"/>
              <a:gd name="connsiteY1" fmla="*/ 0 h 5157788"/>
              <a:gd name="connsiteX2" fmla="*/ 3866243 w 3866243"/>
              <a:gd name="connsiteY2" fmla="*/ 5157788 h 5157788"/>
              <a:gd name="connsiteX3" fmla="*/ 1707243 w 3866243"/>
              <a:gd name="connsiteY3" fmla="*/ 5157788 h 5157788"/>
              <a:gd name="connsiteX4" fmla="*/ 14968 w 3866243"/>
              <a:gd name="connsiteY4" fmla="*/ 3429000 h 5157788"/>
              <a:gd name="connsiteX5" fmla="*/ 1130447 w 3866243"/>
              <a:gd name="connsiteY5" fmla="*/ 0 h 5157788"/>
              <a:gd name="connsiteX0" fmla="*/ 2746143 w 5481939"/>
              <a:gd name="connsiteY0" fmla="*/ 0 h 5157788"/>
              <a:gd name="connsiteX1" fmla="*/ 5481939 w 5481939"/>
              <a:gd name="connsiteY1" fmla="*/ 0 h 5157788"/>
              <a:gd name="connsiteX2" fmla="*/ 5481939 w 5481939"/>
              <a:gd name="connsiteY2" fmla="*/ 5157788 h 5157788"/>
              <a:gd name="connsiteX3" fmla="*/ 585903 w 5481939"/>
              <a:gd name="connsiteY3" fmla="*/ 5153180 h 5157788"/>
              <a:gd name="connsiteX4" fmla="*/ 1630664 w 5481939"/>
              <a:gd name="connsiteY4" fmla="*/ 3429000 h 5157788"/>
              <a:gd name="connsiteX5" fmla="*/ 2746143 w 5481939"/>
              <a:gd name="connsiteY5" fmla="*/ 0 h 5157788"/>
              <a:gd name="connsiteX0" fmla="*/ 2746143 w 5481939"/>
              <a:gd name="connsiteY0" fmla="*/ 0 h 5157788"/>
              <a:gd name="connsiteX1" fmla="*/ 5481939 w 5481939"/>
              <a:gd name="connsiteY1" fmla="*/ 0 h 5157788"/>
              <a:gd name="connsiteX2" fmla="*/ 5481939 w 5481939"/>
              <a:gd name="connsiteY2" fmla="*/ 5157788 h 5157788"/>
              <a:gd name="connsiteX3" fmla="*/ 585903 w 5481939"/>
              <a:gd name="connsiteY3" fmla="*/ 5153180 h 5157788"/>
              <a:gd name="connsiteX4" fmla="*/ 1630664 w 5481939"/>
              <a:gd name="connsiteY4" fmla="*/ 3429000 h 5157788"/>
              <a:gd name="connsiteX5" fmla="*/ 2746143 w 548193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3574235 w 6310031"/>
              <a:gd name="connsiteY0" fmla="*/ 0 h 5157788"/>
              <a:gd name="connsiteX1" fmla="*/ 6310031 w 6310031"/>
              <a:gd name="connsiteY1" fmla="*/ 0 h 5157788"/>
              <a:gd name="connsiteX2" fmla="*/ 6310031 w 6310031"/>
              <a:gd name="connsiteY2" fmla="*/ 5157788 h 5157788"/>
              <a:gd name="connsiteX3" fmla="*/ 585903 w 6310031"/>
              <a:gd name="connsiteY3" fmla="*/ 5153180 h 5157788"/>
              <a:gd name="connsiteX4" fmla="*/ 1738031 w 6310031"/>
              <a:gd name="connsiteY4" fmla="*/ 3389965 h 5157788"/>
              <a:gd name="connsiteX5" fmla="*/ 3574235 w 6310031"/>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296143 w 5724128"/>
              <a:gd name="connsiteY4" fmla="*/ 3461908 h 5157788"/>
              <a:gd name="connsiteX5" fmla="*/ 2988332 w 5724128"/>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1188132 w 5760132"/>
              <a:gd name="connsiteY4" fmla="*/ 3425937 h 5157788"/>
              <a:gd name="connsiteX5" fmla="*/ 3024336 w 5760132"/>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2736304 w 5760132"/>
              <a:gd name="connsiteY4" fmla="*/ 3461908 h 5157788"/>
              <a:gd name="connsiteX5" fmla="*/ 3024336 w 5760132"/>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2736304 w 5760132"/>
              <a:gd name="connsiteY4" fmla="*/ 3461908 h 5157788"/>
              <a:gd name="connsiteX5" fmla="*/ 3024336 w 5760132"/>
              <a:gd name="connsiteY5" fmla="*/ 0 h 5157788"/>
              <a:gd name="connsiteX0" fmla="*/ 2160240 w 4896036"/>
              <a:gd name="connsiteY0" fmla="*/ 0 h 5157788"/>
              <a:gd name="connsiteX1" fmla="*/ 4896036 w 4896036"/>
              <a:gd name="connsiteY1" fmla="*/ 0 h 5157788"/>
              <a:gd name="connsiteX2" fmla="*/ 4896036 w 4896036"/>
              <a:gd name="connsiteY2" fmla="*/ 5157788 h 5157788"/>
              <a:gd name="connsiteX3" fmla="*/ 0 w 4896036"/>
              <a:gd name="connsiteY3" fmla="*/ 5153180 h 5157788"/>
              <a:gd name="connsiteX4" fmla="*/ 1872208 w 4896036"/>
              <a:gd name="connsiteY4" fmla="*/ 3461908 h 5157788"/>
              <a:gd name="connsiteX5" fmla="*/ 2160240 w 4896036"/>
              <a:gd name="connsiteY5" fmla="*/ 0 h 5157788"/>
              <a:gd name="connsiteX0" fmla="*/ 2232248 w 4968044"/>
              <a:gd name="connsiteY0" fmla="*/ 0 h 5157788"/>
              <a:gd name="connsiteX1" fmla="*/ 4968044 w 4968044"/>
              <a:gd name="connsiteY1" fmla="*/ 0 h 5157788"/>
              <a:gd name="connsiteX2" fmla="*/ 4968044 w 4968044"/>
              <a:gd name="connsiteY2" fmla="*/ 5157788 h 5157788"/>
              <a:gd name="connsiteX3" fmla="*/ 0 w 4968044"/>
              <a:gd name="connsiteY3" fmla="*/ 5153180 h 5157788"/>
              <a:gd name="connsiteX4" fmla="*/ 1944216 w 4968044"/>
              <a:gd name="connsiteY4" fmla="*/ 3461908 h 5157788"/>
              <a:gd name="connsiteX5" fmla="*/ 2232248 w 4968044"/>
              <a:gd name="connsiteY5" fmla="*/ 0 h 5157788"/>
              <a:gd name="connsiteX0" fmla="*/ 2207679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207679 w 4943475"/>
              <a:gd name="connsiteY5" fmla="*/ 0 h 5157788"/>
              <a:gd name="connsiteX0" fmla="*/ 2963763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963763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092200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71575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343583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675731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675731 w 4943475"/>
              <a:gd name="connsiteY5" fmla="*/ 0 h 5157788"/>
              <a:gd name="connsiteX0" fmla="*/ 2675731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675731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9672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19672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51412" h="5157788">
                <a:moveTo>
                  <a:pt x="2706687" y="0"/>
                </a:moveTo>
                <a:lnTo>
                  <a:pt x="4951412" y="0"/>
                </a:lnTo>
                <a:lnTo>
                  <a:pt x="4951412" y="5157788"/>
                </a:lnTo>
                <a:lnTo>
                  <a:pt x="0" y="5153180"/>
                </a:lnTo>
                <a:cubicBezTo>
                  <a:pt x="84411" y="4542509"/>
                  <a:pt x="183041" y="4024723"/>
                  <a:pt x="1243508" y="2562613"/>
                </a:cubicBezTo>
                <a:cubicBezTo>
                  <a:pt x="1867447" y="1704780"/>
                  <a:pt x="2665955" y="709265"/>
                  <a:pt x="2706687" y="0"/>
                </a:cubicBezTo>
                <a:close/>
              </a:path>
            </a:pathLst>
          </a:custGeom>
          <a:solidFill>
            <a:schemeClr val="bg2"/>
          </a:solidFill>
          <a:ln w="3175">
            <a:noFill/>
          </a:ln>
        </p:spPr>
        <p:txBody>
          <a:bodyPr tIns="720000" anchor="ctr" anchorCtr="0"/>
          <a:lstStyle>
            <a:lvl1pPr algn="ctr">
              <a:defRPr sz="1125">
                <a:solidFill>
                  <a:schemeClr val="bg1"/>
                </a:solidFill>
              </a:defRPr>
            </a:lvl1pPr>
          </a:lstStyle>
          <a:p>
            <a:r>
              <a:rPr lang="en-GB" noProof="0"/>
              <a:t>Select your own photo</a:t>
            </a:r>
          </a:p>
        </p:txBody>
      </p:sp>
      <p:sp>
        <p:nvSpPr>
          <p:cNvPr id="22" name="Rectangle 21"/>
          <p:cNvSpPr/>
          <p:nvPr userDrawn="1"/>
        </p:nvSpPr>
        <p:spPr bwMode="gray">
          <a:xfrm>
            <a:off x="3635379" y="5265206"/>
            <a:ext cx="5508625" cy="15927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solidFill>
                <a:prstClr val="white"/>
              </a:solidFill>
              <a:sym typeface="Arial"/>
            </a:endParaRPr>
          </a:p>
        </p:txBody>
      </p:sp>
      <p:pic>
        <p:nvPicPr>
          <p:cNvPr id="20" name="Image 19" descr="Bas_couv.png"/>
          <p:cNvPicPr>
            <a:picLocks noChangeAspect="1"/>
          </p:cNvPicPr>
          <p:nvPr userDrawn="1"/>
        </p:nvPicPr>
        <p:blipFill>
          <a:blip r:embed="rId3" cstate="print"/>
          <a:srcRect r="60243" b="722"/>
          <a:stretch>
            <a:fillRect/>
          </a:stretch>
        </p:blipFill>
        <p:spPr bwMode="gray">
          <a:xfrm>
            <a:off x="4" y="5172520"/>
            <a:ext cx="3635375" cy="1685480"/>
          </a:xfrm>
          <a:prstGeom prst="rect">
            <a:avLst/>
          </a:prstGeom>
        </p:spPr>
      </p:pic>
      <p:sp>
        <p:nvSpPr>
          <p:cNvPr id="9" name="Espace réservé du texte 8"/>
          <p:cNvSpPr>
            <a:spLocks noGrp="1"/>
          </p:cNvSpPr>
          <p:nvPr>
            <p:ph type="body" sz="quarter" idx="13" hasCustomPrompt="1"/>
          </p:nvPr>
        </p:nvSpPr>
        <p:spPr bwMode="gray">
          <a:xfrm>
            <a:off x="468000" y="1036800"/>
            <a:ext cx="4824412" cy="2232000"/>
          </a:xfrm>
        </p:spPr>
        <p:txBody>
          <a:bodyPr anchor="b" anchorCtr="0"/>
          <a:lstStyle>
            <a:lvl1pPr marL="0" indent="0" algn="l">
              <a:lnSpc>
                <a:spcPct val="90000"/>
              </a:lnSpc>
              <a:buNone/>
              <a:defRPr sz="2100" b="1" cap="none" baseline="0">
                <a:solidFill>
                  <a:schemeClr val="bg1"/>
                </a:solidFill>
              </a:defRPr>
            </a:lvl1pPr>
            <a:lvl2pPr marL="0" algn="ctr">
              <a:lnSpc>
                <a:spcPct val="100000"/>
              </a:lnSpc>
              <a:spcBef>
                <a:spcPts val="5175"/>
              </a:spcBef>
              <a:defRPr sz="1500" b="1">
                <a:solidFill>
                  <a:schemeClr val="bg1"/>
                </a:solidFill>
              </a:defRPr>
            </a:lvl2pPr>
          </a:lstStyle>
          <a:p>
            <a:r>
              <a:rPr lang="en-US"/>
              <a:t>THANK YOU</a:t>
            </a:r>
          </a:p>
        </p:txBody>
      </p:sp>
      <p:sp>
        <p:nvSpPr>
          <p:cNvPr id="10" name="Espace réservé de la date 9"/>
          <p:cNvSpPr>
            <a:spLocks noGrp="1"/>
          </p:cNvSpPr>
          <p:nvPr>
            <p:ph type="dt" sz="half" idx="15"/>
          </p:nvPr>
        </p:nvSpPr>
        <p:spPr bwMode="gray"/>
        <p:txBody>
          <a:bodyPr/>
          <a:lstStyle/>
          <a:p>
            <a:r>
              <a:rPr lang="en-GB">
                <a:solidFill>
                  <a:prstClr val="white">
                    <a:alpha val="0"/>
                  </a:prstClr>
                </a:solidFill>
              </a:rPr>
              <a:t>Date</a:t>
            </a:r>
          </a:p>
        </p:txBody>
      </p:sp>
      <p:sp>
        <p:nvSpPr>
          <p:cNvPr id="11" name="Espace réservé du numéro de diapositive 10"/>
          <p:cNvSpPr>
            <a:spLocks noGrp="1"/>
          </p:cNvSpPr>
          <p:nvPr>
            <p:ph type="sldNum" sz="quarter" idx="16"/>
          </p:nvPr>
        </p:nvSpPr>
        <p:spPr bwMode="gray"/>
        <p:txBody>
          <a:bodyPr/>
          <a:lstStyle>
            <a:lvl1pPr>
              <a:defRPr sz="100">
                <a:solidFill>
                  <a:schemeClr val="bg1">
                    <a:alpha val="0"/>
                  </a:schemeClr>
                </a:solidFill>
              </a:defRPr>
            </a:lvl1pPr>
          </a:lstStyle>
          <a:p>
            <a:r>
              <a:rPr lang="en-GB">
                <a:solidFill>
                  <a:prstClr val="white">
                    <a:alpha val="0"/>
                  </a:prstClr>
                </a:solidFill>
              </a:rPr>
              <a:t>Page: </a:t>
            </a:r>
            <a:fld id="{733122C9-A0B9-462F-8757-0847AD287B63}" type="slidenum">
              <a:rPr lang="en-GB" smtClean="0">
                <a:solidFill>
                  <a:prstClr val="white">
                    <a:alpha val="0"/>
                  </a:prstClr>
                </a:solidFill>
              </a:rPr>
              <a:pPr/>
              <a:t>‹#›</a:t>
            </a:fld>
            <a:endParaRPr lang="en-GB">
              <a:solidFill>
                <a:prstClr val="white">
                  <a:alpha val="0"/>
                </a:prstClr>
              </a:solidFill>
            </a:endParaRPr>
          </a:p>
        </p:txBody>
      </p:sp>
      <p:sp>
        <p:nvSpPr>
          <p:cNvPr id="12" name="Espace réservé du pied de page 11"/>
          <p:cNvSpPr>
            <a:spLocks noGrp="1"/>
          </p:cNvSpPr>
          <p:nvPr>
            <p:ph type="ftr" sz="quarter" idx="17"/>
          </p:nvPr>
        </p:nvSpPr>
        <p:spPr bwMode="gray">
          <a:xfrm>
            <a:off x="468316" y="524188"/>
            <a:ext cx="4824413" cy="360000"/>
          </a:xfrm>
          <a:prstGeom prst="rect">
            <a:avLst/>
          </a:prstGeom>
        </p:spPr>
        <p:txBody>
          <a:bodyPr/>
          <a:lstStyle>
            <a:lvl1pPr algn="l">
              <a:defRPr sz="1350" b="0">
                <a:solidFill>
                  <a:schemeClr val="bg1"/>
                </a:solidFill>
              </a:defRPr>
            </a:lvl1pPr>
          </a:lstStyle>
          <a:p>
            <a:r>
              <a:rPr lang="en-GB" kern="0">
                <a:solidFill>
                  <a:prstClr val="white"/>
                </a:solidFill>
                <a:cs typeface="Arial"/>
                <a:sym typeface="Arial"/>
              </a:rPr>
              <a:t>#add your hashtag</a:t>
            </a:r>
          </a:p>
        </p:txBody>
      </p:sp>
      <p:sp>
        <p:nvSpPr>
          <p:cNvPr id="15" name="Espace réservé du texte 14"/>
          <p:cNvSpPr>
            <a:spLocks noGrp="1"/>
          </p:cNvSpPr>
          <p:nvPr>
            <p:ph type="body" sz="quarter" idx="19" hasCustomPrompt="1"/>
          </p:nvPr>
        </p:nvSpPr>
        <p:spPr bwMode="gray">
          <a:xfrm>
            <a:off x="3635376" y="6021388"/>
            <a:ext cx="5113338" cy="324000"/>
          </a:xfrm>
        </p:spPr>
        <p:txBody>
          <a:bodyPr anchor="b" anchorCtr="0"/>
          <a:lstStyle>
            <a:lvl1pPr algn="r">
              <a:lnSpc>
                <a:spcPct val="100000"/>
              </a:lnSpc>
              <a:defRPr sz="750" b="1">
                <a:solidFill>
                  <a:schemeClr val="accent2"/>
                </a:solidFill>
              </a:defRPr>
            </a:lvl1pPr>
          </a:lstStyle>
          <a:p>
            <a:pPr lvl="0"/>
            <a:r>
              <a:rPr lang="en-GB" noProof="0"/>
              <a:t>Write your claim here</a:t>
            </a:r>
          </a:p>
        </p:txBody>
      </p:sp>
      <p:sp>
        <p:nvSpPr>
          <p:cNvPr id="16" name="Rectangle 15"/>
          <p:cNvSpPr/>
          <p:nvPr userDrawn="1"/>
        </p:nvSpPr>
        <p:spPr bwMode="gray">
          <a:xfrm>
            <a:off x="3635375" y="6354204"/>
            <a:ext cx="5113338" cy="2872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r"/>
            <a:r>
              <a:rPr lang="en-GB" sz="750">
                <a:solidFill>
                  <a:srgbClr val="95D600"/>
                </a:solidFill>
                <a:sym typeface="Arial"/>
              </a:rPr>
              <a:t>www.gavi.org</a:t>
            </a:r>
          </a:p>
        </p:txBody>
      </p:sp>
      <p:sp>
        <p:nvSpPr>
          <p:cNvPr id="19" name="Rectangle 18"/>
          <p:cNvSpPr/>
          <p:nvPr userDrawn="1"/>
        </p:nvSpPr>
        <p:spPr bwMode="gray">
          <a:xfrm>
            <a:off x="468313" y="3391895"/>
            <a:ext cx="2448000" cy="252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solidFill>
                <a:prstClr val="white"/>
              </a:solidFill>
              <a:sym typeface="Arial"/>
            </a:endParaRPr>
          </a:p>
        </p:txBody>
      </p:sp>
      <p:sp>
        <p:nvSpPr>
          <p:cNvPr id="17" name="Espace réservé du texte 16"/>
          <p:cNvSpPr>
            <a:spLocks noGrp="1"/>
          </p:cNvSpPr>
          <p:nvPr>
            <p:ph type="body" sz="quarter" idx="20" hasCustomPrompt="1"/>
          </p:nvPr>
        </p:nvSpPr>
        <p:spPr bwMode="gray">
          <a:xfrm>
            <a:off x="0" y="5157790"/>
            <a:ext cx="9144000" cy="287337"/>
          </a:xfrm>
          <a:solidFill>
            <a:schemeClr val="bg1"/>
          </a:solidFill>
        </p:spPr>
        <p:txBody>
          <a:bodyPr/>
          <a:lstStyle>
            <a:lvl1pPr>
              <a:defRPr sz="100" b="0">
                <a:solidFill>
                  <a:schemeClr val="bg1">
                    <a:alpha val="0"/>
                  </a:schemeClr>
                </a:solidFill>
              </a:defRPr>
            </a:lvl1pPr>
          </a:lstStyle>
          <a:p>
            <a:pPr lvl="0"/>
            <a:r>
              <a:rPr lang="en-GB" noProof="0"/>
              <a:t> </a:t>
            </a:r>
          </a:p>
        </p:txBody>
      </p:sp>
    </p:spTree>
    <p:extLst>
      <p:ext uri="{BB962C8B-B14F-4D97-AF65-F5344CB8AC3E}">
        <p14:creationId xmlns:p14="http://schemas.microsoft.com/office/powerpoint/2010/main" val="16710402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Colors">
    <p:spTree>
      <p:nvGrpSpPr>
        <p:cNvPr id="1" name=""/>
        <p:cNvGrpSpPr/>
        <p:nvPr/>
      </p:nvGrpSpPr>
      <p:grpSpPr>
        <a:xfrm>
          <a:off x="0" y="0"/>
          <a:ext cx="0" cy="0"/>
          <a:chOff x="0" y="0"/>
          <a:chExt cx="0" cy="0"/>
        </a:xfrm>
      </p:grpSpPr>
      <p:sp>
        <p:nvSpPr>
          <p:cNvPr id="3" name="ZoneTexte 2"/>
          <p:cNvSpPr txBox="1"/>
          <p:nvPr userDrawn="1"/>
        </p:nvSpPr>
        <p:spPr>
          <a:xfrm>
            <a:off x="923670" y="1310117"/>
            <a:ext cx="3268918" cy="2244399"/>
          </a:xfrm>
          <a:prstGeom prst="rect">
            <a:avLst/>
          </a:prstGeom>
          <a:noFill/>
        </p:spPr>
        <p:txBody>
          <a:bodyPr wrap="square" lIns="0" tIns="0" rIns="0" bIns="0" rtlCol="0">
            <a:noAutofit/>
          </a:bodyPr>
          <a:lstStyle/>
          <a:p>
            <a:pPr>
              <a:lnSpc>
                <a:spcPct val="110000"/>
              </a:lnSpc>
            </a:pPr>
            <a:r>
              <a:rPr lang="en-GB" sz="1500" b="1">
                <a:solidFill>
                  <a:srgbClr val="005CB9"/>
                </a:solidFill>
                <a:cs typeface="Arial"/>
                <a:sym typeface="Arial"/>
              </a:rPr>
              <a:t>Primary</a:t>
            </a:r>
          </a:p>
          <a:p>
            <a:pPr marL="267891" lvl="1" indent="-130969">
              <a:lnSpc>
                <a:spcPct val="110000"/>
              </a:lnSpc>
              <a:buClr>
                <a:srgbClr val="95D600"/>
              </a:buClr>
              <a:buFont typeface="Arial" panose="020B0604020202020204" pitchFamily="34" charset="0"/>
              <a:buChar char="•"/>
            </a:pPr>
            <a:r>
              <a:rPr lang="en-GB" sz="1350" b="1">
                <a:solidFill>
                  <a:srgbClr val="343434"/>
                </a:solidFill>
                <a:cs typeface="Arial"/>
                <a:sym typeface="Arial"/>
              </a:rPr>
              <a:t>Corporate Colours</a:t>
            </a:r>
          </a:p>
          <a:p>
            <a:pPr marL="685800" lvl="2">
              <a:lnSpc>
                <a:spcPct val="110000"/>
              </a:lnSpc>
            </a:pPr>
            <a:endParaRPr lang="en-GB" sz="1350" b="1">
              <a:solidFill>
                <a:srgbClr val="343434"/>
              </a:solidFill>
              <a:cs typeface="Arial"/>
              <a:sym typeface="Arial"/>
            </a:endParaRPr>
          </a:p>
          <a:p>
            <a:pPr marL="685800" lvl="2">
              <a:lnSpc>
                <a:spcPct val="110000"/>
              </a:lnSpc>
            </a:pPr>
            <a:endParaRPr lang="en-GB" sz="1350" b="1">
              <a:solidFill>
                <a:srgbClr val="343434"/>
              </a:solidFill>
              <a:cs typeface="Arial"/>
              <a:sym typeface="Arial"/>
            </a:endParaRPr>
          </a:p>
          <a:p>
            <a:pPr marL="267891" lvl="1" indent="-130969">
              <a:lnSpc>
                <a:spcPct val="110000"/>
              </a:lnSpc>
              <a:buClr>
                <a:srgbClr val="95D600"/>
              </a:buClr>
              <a:buFont typeface="Arial" panose="020B0604020202020204" pitchFamily="34" charset="0"/>
              <a:buChar char="•"/>
            </a:pPr>
            <a:r>
              <a:rPr lang="en-GB" sz="1350" b="1">
                <a:solidFill>
                  <a:srgbClr val="343434"/>
                </a:solidFill>
                <a:cs typeface="Arial"/>
                <a:sym typeface="Arial"/>
              </a:rPr>
              <a:t>Strategic Goal Colours</a:t>
            </a:r>
          </a:p>
          <a:p>
            <a:pPr marL="685800" lvl="2">
              <a:lnSpc>
                <a:spcPct val="110000"/>
              </a:lnSpc>
            </a:pPr>
            <a:endParaRPr lang="en-GB" sz="1350">
              <a:solidFill>
                <a:srgbClr val="343434"/>
              </a:solidFill>
              <a:cs typeface="Arial"/>
              <a:sym typeface="Arial"/>
            </a:endParaRPr>
          </a:p>
          <a:p>
            <a:pPr>
              <a:lnSpc>
                <a:spcPct val="110000"/>
              </a:lnSpc>
            </a:pPr>
            <a:r>
              <a:rPr lang="en-GB" sz="1500" b="1">
                <a:solidFill>
                  <a:srgbClr val="005CB9"/>
                </a:solidFill>
                <a:cs typeface="Arial"/>
                <a:sym typeface="Arial"/>
              </a:rPr>
              <a:t>Secondary</a:t>
            </a:r>
          </a:p>
        </p:txBody>
      </p:sp>
      <p:sp>
        <p:nvSpPr>
          <p:cNvPr id="13" name="Espace réservé de la date 12"/>
          <p:cNvSpPr>
            <a:spLocks noGrp="1"/>
          </p:cNvSpPr>
          <p:nvPr>
            <p:ph type="dt" sz="half" idx="10"/>
          </p:nvPr>
        </p:nvSpPr>
        <p:spPr bwMode="gray"/>
        <p:txBody>
          <a:bodyPr/>
          <a:lstStyle/>
          <a:p>
            <a:r>
              <a:rPr lang="en-GB">
                <a:solidFill>
                  <a:prstClr val="white">
                    <a:alpha val="0"/>
                  </a:prstClr>
                </a:solidFill>
              </a:rPr>
              <a:t>Date</a:t>
            </a:r>
          </a:p>
        </p:txBody>
      </p:sp>
      <p:sp>
        <p:nvSpPr>
          <p:cNvPr id="14" name="Espace réservé du numéro de diapositive 13"/>
          <p:cNvSpPr>
            <a:spLocks noGrp="1"/>
          </p:cNvSpPr>
          <p:nvPr>
            <p:ph type="sldNum" sz="quarter" idx="11"/>
          </p:nvPr>
        </p:nvSpPr>
        <p:spPr bwMode="gray"/>
        <p:txBody>
          <a:bodyPr/>
          <a:lstStyle/>
          <a:p>
            <a:fld id="{733122C9-A0B9-462F-8757-0847AD287B63}" type="slidenum">
              <a:rPr lang="en-GB" smtClean="0">
                <a:solidFill>
                  <a:srgbClr val="343434"/>
                </a:solidFill>
              </a:rPr>
              <a:pPr/>
              <a:t>‹#›</a:t>
            </a:fld>
            <a:endParaRPr lang="en-GB">
              <a:solidFill>
                <a:srgbClr val="343434"/>
              </a:solidFill>
            </a:endParaRPr>
          </a:p>
        </p:txBody>
      </p:sp>
      <p:sp>
        <p:nvSpPr>
          <p:cNvPr id="15" name="Espace réservé du pied de page 14"/>
          <p:cNvSpPr>
            <a:spLocks noGrp="1"/>
          </p:cNvSpPr>
          <p:nvPr>
            <p:ph type="ftr" sz="quarter" idx="12"/>
          </p:nvPr>
        </p:nvSpPr>
        <p:spPr bwMode="gray">
          <a:xfrm>
            <a:off x="2412000" y="6498000"/>
            <a:ext cx="4320000" cy="360000"/>
          </a:xfrm>
          <a:prstGeom prst="rect">
            <a:avLst/>
          </a:prstGeom>
        </p:spPr>
        <p:txBody>
          <a:bodyPr/>
          <a:lstStyle/>
          <a:p>
            <a:r>
              <a:rPr lang="en-GB" sz="1400" kern="0">
                <a:solidFill>
                  <a:srgbClr val="005CB9"/>
                </a:solidFill>
                <a:cs typeface="Arial"/>
                <a:sym typeface="Arial"/>
              </a:rPr>
              <a:t>#add your hashtag</a:t>
            </a:r>
          </a:p>
        </p:txBody>
      </p:sp>
      <p:sp>
        <p:nvSpPr>
          <p:cNvPr id="64" name="Freeform 8"/>
          <p:cNvSpPr>
            <a:spLocks/>
          </p:cNvSpPr>
          <p:nvPr userDrawn="1"/>
        </p:nvSpPr>
        <p:spPr bwMode="auto">
          <a:xfrm>
            <a:off x="4420804" y="1341437"/>
            <a:ext cx="443405" cy="657507"/>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a:solidFill>
                <a:srgbClr val="343434"/>
              </a:solidFill>
              <a:cs typeface="Arial"/>
              <a:sym typeface="Arial"/>
            </a:endParaRPr>
          </a:p>
        </p:txBody>
      </p:sp>
      <p:sp>
        <p:nvSpPr>
          <p:cNvPr id="65" name="Rectangle 64"/>
          <p:cNvSpPr/>
          <p:nvPr userDrawn="1"/>
        </p:nvSpPr>
        <p:spPr>
          <a:xfrm>
            <a:off x="4888800" y="1341439"/>
            <a:ext cx="756000" cy="64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r>
              <a:rPr lang="en-GB" sz="525">
                <a:solidFill>
                  <a:srgbClr val="343434"/>
                </a:solidFill>
                <a:sym typeface="Arial"/>
              </a:rPr>
              <a:t>R: 0</a:t>
            </a:r>
          </a:p>
          <a:p>
            <a:r>
              <a:rPr lang="en-GB" sz="525">
                <a:solidFill>
                  <a:srgbClr val="343434"/>
                </a:solidFill>
                <a:sym typeface="Arial"/>
              </a:rPr>
              <a:t>G: 92</a:t>
            </a:r>
          </a:p>
          <a:p>
            <a:r>
              <a:rPr lang="en-GB" sz="525">
                <a:solidFill>
                  <a:srgbClr val="343434"/>
                </a:solidFill>
                <a:sym typeface="Arial"/>
              </a:rPr>
              <a:t>B: 185</a:t>
            </a:r>
          </a:p>
        </p:txBody>
      </p:sp>
      <p:sp>
        <p:nvSpPr>
          <p:cNvPr id="66" name="Freeform 8"/>
          <p:cNvSpPr>
            <a:spLocks/>
          </p:cNvSpPr>
          <p:nvPr userDrawn="1"/>
        </p:nvSpPr>
        <p:spPr bwMode="auto">
          <a:xfrm>
            <a:off x="5581685" y="1341437"/>
            <a:ext cx="443405" cy="657507"/>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chemeClr val="accent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a:solidFill>
                <a:srgbClr val="343434"/>
              </a:solidFill>
              <a:cs typeface="Arial"/>
              <a:sym typeface="Arial"/>
            </a:endParaRPr>
          </a:p>
        </p:txBody>
      </p:sp>
      <p:sp>
        <p:nvSpPr>
          <p:cNvPr id="67" name="Rectangle 66"/>
          <p:cNvSpPr/>
          <p:nvPr userDrawn="1"/>
        </p:nvSpPr>
        <p:spPr>
          <a:xfrm>
            <a:off x="6050217" y="1341439"/>
            <a:ext cx="756000" cy="64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r>
              <a:rPr lang="en-GB" sz="525">
                <a:solidFill>
                  <a:srgbClr val="343434"/>
                </a:solidFill>
                <a:sym typeface="Arial"/>
              </a:rPr>
              <a:t>R: 0</a:t>
            </a:r>
          </a:p>
          <a:p>
            <a:r>
              <a:rPr lang="en-GB" sz="525">
                <a:solidFill>
                  <a:srgbClr val="343434"/>
                </a:solidFill>
                <a:sym typeface="Arial"/>
              </a:rPr>
              <a:t>G: 161</a:t>
            </a:r>
          </a:p>
          <a:p>
            <a:r>
              <a:rPr lang="en-GB" sz="525">
                <a:solidFill>
                  <a:srgbClr val="343434"/>
                </a:solidFill>
                <a:sym typeface="Arial"/>
              </a:rPr>
              <a:t>B: 223</a:t>
            </a:r>
          </a:p>
        </p:txBody>
      </p:sp>
      <p:sp>
        <p:nvSpPr>
          <p:cNvPr id="68" name="Freeform 8"/>
          <p:cNvSpPr>
            <a:spLocks/>
          </p:cNvSpPr>
          <p:nvPr userDrawn="1"/>
        </p:nvSpPr>
        <p:spPr bwMode="auto">
          <a:xfrm>
            <a:off x="6742566" y="1341437"/>
            <a:ext cx="443405" cy="657507"/>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chemeClr val="accent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a:solidFill>
                <a:srgbClr val="343434"/>
              </a:solidFill>
              <a:cs typeface="Arial"/>
              <a:sym typeface="Arial"/>
            </a:endParaRPr>
          </a:p>
        </p:txBody>
      </p:sp>
      <p:sp>
        <p:nvSpPr>
          <p:cNvPr id="69" name="Rectangle 68"/>
          <p:cNvSpPr/>
          <p:nvPr userDrawn="1"/>
        </p:nvSpPr>
        <p:spPr>
          <a:xfrm>
            <a:off x="7211634" y="1341439"/>
            <a:ext cx="756000" cy="64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r>
              <a:rPr lang="en-GB" sz="525">
                <a:solidFill>
                  <a:srgbClr val="343434"/>
                </a:solidFill>
                <a:sym typeface="Arial"/>
              </a:rPr>
              <a:t>R: 149</a:t>
            </a:r>
          </a:p>
          <a:p>
            <a:r>
              <a:rPr lang="en-GB" sz="525">
                <a:solidFill>
                  <a:srgbClr val="343434"/>
                </a:solidFill>
                <a:sym typeface="Arial"/>
              </a:rPr>
              <a:t>G: 214</a:t>
            </a:r>
          </a:p>
          <a:p>
            <a:r>
              <a:rPr lang="en-GB" sz="525">
                <a:solidFill>
                  <a:srgbClr val="343434"/>
                </a:solidFill>
                <a:sym typeface="Arial"/>
              </a:rPr>
              <a:t>B: 0</a:t>
            </a:r>
          </a:p>
        </p:txBody>
      </p:sp>
      <p:sp>
        <p:nvSpPr>
          <p:cNvPr id="70" name="Freeform 8"/>
          <p:cNvSpPr>
            <a:spLocks/>
          </p:cNvSpPr>
          <p:nvPr userDrawn="1"/>
        </p:nvSpPr>
        <p:spPr bwMode="auto">
          <a:xfrm>
            <a:off x="7903444" y="1341437"/>
            <a:ext cx="443405" cy="657507"/>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chemeClr val="bg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a:solidFill>
                <a:srgbClr val="343434"/>
              </a:solidFill>
              <a:cs typeface="Arial"/>
              <a:sym typeface="Arial"/>
            </a:endParaRPr>
          </a:p>
        </p:txBody>
      </p:sp>
      <p:sp>
        <p:nvSpPr>
          <p:cNvPr id="71" name="Rectangle 70"/>
          <p:cNvSpPr/>
          <p:nvPr userDrawn="1"/>
        </p:nvSpPr>
        <p:spPr>
          <a:xfrm>
            <a:off x="8373052" y="1341439"/>
            <a:ext cx="756000" cy="64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r>
              <a:rPr lang="en-GB" sz="525">
                <a:solidFill>
                  <a:srgbClr val="343434"/>
                </a:solidFill>
                <a:sym typeface="Arial"/>
              </a:rPr>
              <a:t>R: 135</a:t>
            </a:r>
          </a:p>
          <a:p>
            <a:r>
              <a:rPr lang="en-GB" sz="525">
                <a:solidFill>
                  <a:srgbClr val="343434"/>
                </a:solidFill>
                <a:sym typeface="Arial"/>
              </a:rPr>
              <a:t>G: 135</a:t>
            </a:r>
          </a:p>
          <a:p>
            <a:r>
              <a:rPr lang="en-GB" sz="525">
                <a:solidFill>
                  <a:srgbClr val="343434"/>
                </a:solidFill>
                <a:sym typeface="Arial"/>
              </a:rPr>
              <a:t>B: 135</a:t>
            </a:r>
          </a:p>
        </p:txBody>
      </p:sp>
      <p:sp>
        <p:nvSpPr>
          <p:cNvPr id="72" name="Freeform 8"/>
          <p:cNvSpPr>
            <a:spLocks/>
          </p:cNvSpPr>
          <p:nvPr userDrawn="1"/>
        </p:nvSpPr>
        <p:spPr bwMode="auto">
          <a:xfrm>
            <a:off x="4420804" y="2278064"/>
            <a:ext cx="443405" cy="657507"/>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chemeClr val="accent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a:solidFill>
                <a:srgbClr val="343434"/>
              </a:solidFill>
              <a:cs typeface="Arial"/>
              <a:sym typeface="Arial"/>
            </a:endParaRPr>
          </a:p>
        </p:txBody>
      </p:sp>
      <p:sp>
        <p:nvSpPr>
          <p:cNvPr id="73" name="Rectangle 72"/>
          <p:cNvSpPr/>
          <p:nvPr userDrawn="1"/>
        </p:nvSpPr>
        <p:spPr>
          <a:xfrm>
            <a:off x="4888800" y="2278063"/>
            <a:ext cx="756000" cy="64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r>
              <a:rPr lang="en-GB" sz="525" b="1">
                <a:solidFill>
                  <a:srgbClr val="343434"/>
                </a:solidFill>
                <a:sym typeface="Arial"/>
              </a:rPr>
              <a:t>ACCELERATE</a:t>
            </a:r>
          </a:p>
          <a:p>
            <a:r>
              <a:rPr lang="en-GB" sz="525" b="1">
                <a:solidFill>
                  <a:srgbClr val="343434"/>
                </a:solidFill>
                <a:sym typeface="Arial"/>
              </a:rPr>
              <a:t>VACCINES</a:t>
            </a:r>
          </a:p>
          <a:p>
            <a:r>
              <a:rPr lang="en-GB" sz="525">
                <a:solidFill>
                  <a:srgbClr val="343434"/>
                </a:solidFill>
                <a:sym typeface="Arial"/>
              </a:rPr>
              <a:t>R: 165</a:t>
            </a:r>
          </a:p>
          <a:p>
            <a:r>
              <a:rPr lang="en-GB" sz="525">
                <a:solidFill>
                  <a:srgbClr val="343434"/>
                </a:solidFill>
                <a:sym typeface="Arial"/>
              </a:rPr>
              <a:t>G: 24</a:t>
            </a:r>
          </a:p>
          <a:p>
            <a:r>
              <a:rPr lang="en-GB" sz="525">
                <a:solidFill>
                  <a:srgbClr val="343434"/>
                </a:solidFill>
                <a:sym typeface="Arial"/>
              </a:rPr>
              <a:t>B: 144</a:t>
            </a:r>
          </a:p>
        </p:txBody>
      </p:sp>
      <p:sp>
        <p:nvSpPr>
          <p:cNvPr id="74" name="Freeform 8"/>
          <p:cNvSpPr>
            <a:spLocks/>
          </p:cNvSpPr>
          <p:nvPr userDrawn="1"/>
        </p:nvSpPr>
        <p:spPr bwMode="auto">
          <a:xfrm>
            <a:off x="5581685" y="2278064"/>
            <a:ext cx="443405" cy="657507"/>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chemeClr val="accent5"/>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a:solidFill>
                <a:srgbClr val="343434"/>
              </a:solidFill>
              <a:cs typeface="Arial"/>
              <a:sym typeface="Arial"/>
            </a:endParaRPr>
          </a:p>
        </p:txBody>
      </p:sp>
      <p:sp>
        <p:nvSpPr>
          <p:cNvPr id="75" name="Rectangle 74"/>
          <p:cNvSpPr/>
          <p:nvPr userDrawn="1"/>
        </p:nvSpPr>
        <p:spPr>
          <a:xfrm>
            <a:off x="6050217" y="2278063"/>
            <a:ext cx="756000" cy="64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r>
              <a:rPr lang="en-GB" sz="525" b="1">
                <a:solidFill>
                  <a:srgbClr val="343434"/>
                </a:solidFill>
                <a:sym typeface="Arial"/>
              </a:rPr>
              <a:t>STRENGTHEN</a:t>
            </a:r>
          </a:p>
          <a:p>
            <a:r>
              <a:rPr lang="en-GB" sz="525" b="1">
                <a:solidFill>
                  <a:srgbClr val="343434"/>
                </a:solidFill>
                <a:sym typeface="Arial"/>
              </a:rPr>
              <a:t>CAPACITY</a:t>
            </a:r>
          </a:p>
          <a:p>
            <a:r>
              <a:rPr lang="en-GB" sz="525">
                <a:solidFill>
                  <a:srgbClr val="343434"/>
                </a:solidFill>
                <a:sym typeface="Arial"/>
              </a:rPr>
              <a:t>R: 206</a:t>
            </a:r>
          </a:p>
          <a:p>
            <a:r>
              <a:rPr lang="en-GB" sz="525">
                <a:solidFill>
                  <a:srgbClr val="343434"/>
                </a:solidFill>
                <a:sym typeface="Arial"/>
              </a:rPr>
              <a:t>G: 15</a:t>
            </a:r>
          </a:p>
          <a:p>
            <a:r>
              <a:rPr lang="en-GB" sz="525">
                <a:solidFill>
                  <a:srgbClr val="343434"/>
                </a:solidFill>
                <a:sym typeface="Arial"/>
              </a:rPr>
              <a:t>B: 105</a:t>
            </a:r>
          </a:p>
        </p:txBody>
      </p:sp>
      <p:sp>
        <p:nvSpPr>
          <p:cNvPr id="76" name="Freeform 8"/>
          <p:cNvSpPr>
            <a:spLocks/>
          </p:cNvSpPr>
          <p:nvPr userDrawn="1"/>
        </p:nvSpPr>
        <p:spPr bwMode="auto">
          <a:xfrm>
            <a:off x="6742566" y="2278064"/>
            <a:ext cx="443405" cy="657507"/>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chemeClr val="accent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a:solidFill>
                <a:srgbClr val="343434"/>
              </a:solidFill>
              <a:cs typeface="Arial"/>
              <a:sym typeface="Arial"/>
            </a:endParaRPr>
          </a:p>
        </p:txBody>
      </p:sp>
      <p:sp>
        <p:nvSpPr>
          <p:cNvPr id="77" name="Rectangle 76"/>
          <p:cNvSpPr/>
          <p:nvPr userDrawn="1"/>
        </p:nvSpPr>
        <p:spPr>
          <a:xfrm>
            <a:off x="7211634" y="2278063"/>
            <a:ext cx="756000" cy="64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r>
              <a:rPr lang="en-GB" sz="525" b="1">
                <a:solidFill>
                  <a:srgbClr val="343434"/>
                </a:solidFill>
                <a:sym typeface="Arial"/>
              </a:rPr>
              <a:t>INCREASE</a:t>
            </a:r>
          </a:p>
          <a:p>
            <a:r>
              <a:rPr lang="en-GB" sz="525" b="1">
                <a:solidFill>
                  <a:srgbClr val="343434"/>
                </a:solidFill>
                <a:sym typeface="Arial"/>
              </a:rPr>
              <a:t>PREDICTABILITY</a:t>
            </a:r>
          </a:p>
          <a:p>
            <a:r>
              <a:rPr lang="en-GB" sz="525">
                <a:solidFill>
                  <a:srgbClr val="343434"/>
                </a:solidFill>
                <a:sym typeface="Arial"/>
              </a:rPr>
              <a:t>R: 149</a:t>
            </a:r>
          </a:p>
          <a:p>
            <a:r>
              <a:rPr lang="en-GB" sz="525">
                <a:solidFill>
                  <a:srgbClr val="343434"/>
                </a:solidFill>
                <a:sym typeface="Arial"/>
              </a:rPr>
              <a:t>G: 214</a:t>
            </a:r>
          </a:p>
          <a:p>
            <a:r>
              <a:rPr lang="en-GB" sz="525">
                <a:solidFill>
                  <a:srgbClr val="343434"/>
                </a:solidFill>
                <a:sym typeface="Arial"/>
              </a:rPr>
              <a:t>B: 0</a:t>
            </a:r>
          </a:p>
        </p:txBody>
      </p:sp>
      <p:sp>
        <p:nvSpPr>
          <p:cNvPr id="78" name="Freeform 8"/>
          <p:cNvSpPr>
            <a:spLocks/>
          </p:cNvSpPr>
          <p:nvPr userDrawn="1"/>
        </p:nvSpPr>
        <p:spPr bwMode="auto">
          <a:xfrm>
            <a:off x="7903444" y="2278064"/>
            <a:ext cx="443405" cy="657507"/>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chemeClr val="accent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a:solidFill>
                <a:srgbClr val="343434"/>
              </a:solidFill>
              <a:cs typeface="Arial"/>
              <a:sym typeface="Arial"/>
            </a:endParaRPr>
          </a:p>
        </p:txBody>
      </p:sp>
      <p:sp>
        <p:nvSpPr>
          <p:cNvPr id="79" name="Rectangle 78"/>
          <p:cNvSpPr/>
          <p:nvPr userDrawn="1"/>
        </p:nvSpPr>
        <p:spPr>
          <a:xfrm>
            <a:off x="8373052" y="2278063"/>
            <a:ext cx="756000" cy="64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r>
              <a:rPr lang="en-GB" sz="525" b="1">
                <a:solidFill>
                  <a:srgbClr val="343434"/>
                </a:solidFill>
                <a:sym typeface="Arial"/>
              </a:rPr>
              <a:t>SHAPE</a:t>
            </a:r>
          </a:p>
          <a:p>
            <a:r>
              <a:rPr lang="en-GB" sz="525" b="1">
                <a:solidFill>
                  <a:srgbClr val="343434"/>
                </a:solidFill>
                <a:sym typeface="Arial"/>
              </a:rPr>
              <a:t>THE MARKET</a:t>
            </a:r>
          </a:p>
          <a:p>
            <a:r>
              <a:rPr lang="en-GB" sz="525">
                <a:solidFill>
                  <a:srgbClr val="343434"/>
                </a:solidFill>
                <a:sym typeface="Arial"/>
              </a:rPr>
              <a:t>R: 0</a:t>
            </a:r>
          </a:p>
          <a:p>
            <a:r>
              <a:rPr lang="en-GB" sz="525">
                <a:solidFill>
                  <a:srgbClr val="343434"/>
                </a:solidFill>
                <a:sym typeface="Arial"/>
              </a:rPr>
              <a:t>G: 161</a:t>
            </a:r>
          </a:p>
          <a:p>
            <a:r>
              <a:rPr lang="en-GB" sz="525">
                <a:solidFill>
                  <a:srgbClr val="343434"/>
                </a:solidFill>
                <a:sym typeface="Arial"/>
              </a:rPr>
              <a:t>B: 223</a:t>
            </a:r>
          </a:p>
        </p:txBody>
      </p:sp>
      <p:sp>
        <p:nvSpPr>
          <p:cNvPr id="80" name="Freeform 8"/>
          <p:cNvSpPr>
            <a:spLocks/>
          </p:cNvSpPr>
          <p:nvPr userDrawn="1"/>
        </p:nvSpPr>
        <p:spPr bwMode="auto">
          <a:xfrm>
            <a:off x="4419245" y="3563657"/>
            <a:ext cx="443405" cy="657507"/>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rgbClr val="CEDC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a:solidFill>
                <a:srgbClr val="343434"/>
              </a:solidFill>
              <a:cs typeface="Arial"/>
              <a:sym typeface="Arial"/>
            </a:endParaRPr>
          </a:p>
        </p:txBody>
      </p:sp>
      <p:sp>
        <p:nvSpPr>
          <p:cNvPr id="81" name="Rectangle 80"/>
          <p:cNvSpPr/>
          <p:nvPr userDrawn="1"/>
        </p:nvSpPr>
        <p:spPr>
          <a:xfrm>
            <a:off x="4888849" y="3563657"/>
            <a:ext cx="756000" cy="64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r>
              <a:rPr lang="en-GB" sz="525" b="1">
                <a:solidFill>
                  <a:srgbClr val="343434"/>
                </a:solidFill>
                <a:sym typeface="Arial"/>
              </a:rPr>
              <a:t>IPV</a:t>
            </a:r>
          </a:p>
          <a:p>
            <a:r>
              <a:rPr lang="en-GB" sz="525" b="1">
                <a:solidFill>
                  <a:srgbClr val="343434"/>
                </a:solidFill>
                <a:sym typeface="Arial"/>
              </a:rPr>
              <a:t>INJECTABLE</a:t>
            </a:r>
          </a:p>
          <a:p>
            <a:r>
              <a:rPr lang="en-GB" sz="525" b="1">
                <a:solidFill>
                  <a:srgbClr val="343434"/>
                </a:solidFill>
                <a:sym typeface="Arial"/>
              </a:rPr>
              <a:t>POLIO</a:t>
            </a:r>
          </a:p>
          <a:p>
            <a:r>
              <a:rPr lang="en-GB" sz="525">
                <a:solidFill>
                  <a:srgbClr val="343434"/>
                </a:solidFill>
                <a:sym typeface="Arial"/>
              </a:rPr>
              <a:t>R: 206</a:t>
            </a:r>
          </a:p>
          <a:p>
            <a:r>
              <a:rPr lang="en-GB" sz="525">
                <a:solidFill>
                  <a:srgbClr val="343434"/>
                </a:solidFill>
                <a:sym typeface="Arial"/>
              </a:rPr>
              <a:t>G: 220</a:t>
            </a:r>
          </a:p>
          <a:p>
            <a:r>
              <a:rPr lang="en-GB" sz="525">
                <a:solidFill>
                  <a:srgbClr val="343434"/>
                </a:solidFill>
                <a:sym typeface="Arial"/>
              </a:rPr>
              <a:t>B: 0</a:t>
            </a:r>
          </a:p>
        </p:txBody>
      </p:sp>
      <p:sp>
        <p:nvSpPr>
          <p:cNvPr id="82" name="Freeform 8"/>
          <p:cNvSpPr>
            <a:spLocks/>
          </p:cNvSpPr>
          <p:nvPr userDrawn="1"/>
        </p:nvSpPr>
        <p:spPr bwMode="auto">
          <a:xfrm>
            <a:off x="5580646" y="3563657"/>
            <a:ext cx="443405" cy="657507"/>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rgbClr val="B288B9"/>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a:solidFill>
                <a:srgbClr val="343434"/>
              </a:solidFill>
              <a:cs typeface="Arial"/>
              <a:sym typeface="Arial"/>
            </a:endParaRPr>
          </a:p>
        </p:txBody>
      </p:sp>
      <p:sp>
        <p:nvSpPr>
          <p:cNvPr id="83" name="Rectangle 82"/>
          <p:cNvSpPr/>
          <p:nvPr userDrawn="1"/>
        </p:nvSpPr>
        <p:spPr>
          <a:xfrm>
            <a:off x="6050250" y="3563657"/>
            <a:ext cx="756000" cy="64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r>
              <a:rPr lang="en-GB" sz="525" b="1">
                <a:solidFill>
                  <a:srgbClr val="343434"/>
                </a:solidFill>
                <a:sym typeface="Arial"/>
              </a:rPr>
              <a:t>JAPANESE</a:t>
            </a:r>
          </a:p>
          <a:p>
            <a:r>
              <a:rPr lang="en-GB" sz="525" b="1">
                <a:solidFill>
                  <a:srgbClr val="343434"/>
                </a:solidFill>
                <a:sym typeface="Arial"/>
              </a:rPr>
              <a:t>ENCEPHALITIS</a:t>
            </a:r>
          </a:p>
          <a:p>
            <a:r>
              <a:rPr lang="en-GB" sz="525">
                <a:solidFill>
                  <a:srgbClr val="343434"/>
                </a:solidFill>
                <a:sym typeface="Arial"/>
              </a:rPr>
              <a:t>R: 178</a:t>
            </a:r>
          </a:p>
          <a:p>
            <a:r>
              <a:rPr lang="en-GB" sz="525">
                <a:solidFill>
                  <a:srgbClr val="343434"/>
                </a:solidFill>
                <a:sym typeface="Arial"/>
              </a:rPr>
              <a:t>G: 136</a:t>
            </a:r>
          </a:p>
          <a:p>
            <a:r>
              <a:rPr lang="en-GB" sz="525">
                <a:solidFill>
                  <a:srgbClr val="343434"/>
                </a:solidFill>
                <a:sym typeface="Arial"/>
              </a:rPr>
              <a:t>B: 185</a:t>
            </a:r>
          </a:p>
        </p:txBody>
      </p:sp>
      <p:sp>
        <p:nvSpPr>
          <p:cNvPr id="84" name="Freeform 8"/>
          <p:cNvSpPr>
            <a:spLocks/>
          </p:cNvSpPr>
          <p:nvPr userDrawn="1"/>
        </p:nvSpPr>
        <p:spPr bwMode="auto">
          <a:xfrm>
            <a:off x="6742047" y="3563657"/>
            <a:ext cx="443405" cy="657507"/>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rgbClr val="41B6E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a:solidFill>
                <a:srgbClr val="343434"/>
              </a:solidFill>
              <a:cs typeface="Arial"/>
              <a:sym typeface="Arial"/>
            </a:endParaRPr>
          </a:p>
        </p:txBody>
      </p:sp>
      <p:sp>
        <p:nvSpPr>
          <p:cNvPr id="85" name="Rectangle 84"/>
          <p:cNvSpPr/>
          <p:nvPr userDrawn="1"/>
        </p:nvSpPr>
        <p:spPr>
          <a:xfrm>
            <a:off x="7211651" y="3563657"/>
            <a:ext cx="756000" cy="64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r>
              <a:rPr lang="en-GB" sz="525" b="1">
                <a:solidFill>
                  <a:srgbClr val="343434"/>
                </a:solidFill>
                <a:sym typeface="Arial"/>
              </a:rPr>
              <a:t>MEASLES</a:t>
            </a:r>
          </a:p>
          <a:p>
            <a:r>
              <a:rPr lang="en-GB" sz="525">
                <a:solidFill>
                  <a:srgbClr val="343434"/>
                </a:solidFill>
                <a:sym typeface="Arial"/>
              </a:rPr>
              <a:t>R: 65</a:t>
            </a:r>
          </a:p>
          <a:p>
            <a:r>
              <a:rPr lang="en-GB" sz="525">
                <a:solidFill>
                  <a:srgbClr val="343434"/>
                </a:solidFill>
                <a:sym typeface="Arial"/>
              </a:rPr>
              <a:t>G: 182</a:t>
            </a:r>
          </a:p>
          <a:p>
            <a:r>
              <a:rPr lang="en-GB" sz="525">
                <a:solidFill>
                  <a:srgbClr val="343434"/>
                </a:solidFill>
                <a:sym typeface="Arial"/>
              </a:rPr>
              <a:t>B: 230</a:t>
            </a:r>
          </a:p>
        </p:txBody>
      </p:sp>
      <p:sp>
        <p:nvSpPr>
          <p:cNvPr id="86" name="Freeform 8"/>
          <p:cNvSpPr>
            <a:spLocks/>
          </p:cNvSpPr>
          <p:nvPr userDrawn="1"/>
        </p:nvSpPr>
        <p:spPr bwMode="auto">
          <a:xfrm>
            <a:off x="7903444" y="3563657"/>
            <a:ext cx="443405" cy="657507"/>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rgbClr val="0097A9"/>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a:solidFill>
                <a:srgbClr val="343434"/>
              </a:solidFill>
              <a:cs typeface="Arial"/>
              <a:sym typeface="Arial"/>
            </a:endParaRPr>
          </a:p>
        </p:txBody>
      </p:sp>
      <p:sp>
        <p:nvSpPr>
          <p:cNvPr id="87" name="Rectangle 86"/>
          <p:cNvSpPr/>
          <p:nvPr userDrawn="1"/>
        </p:nvSpPr>
        <p:spPr>
          <a:xfrm>
            <a:off x="8373052" y="3563657"/>
            <a:ext cx="756000" cy="64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r>
              <a:rPr lang="en-GB" sz="525" b="1">
                <a:solidFill>
                  <a:srgbClr val="343434"/>
                </a:solidFill>
                <a:sym typeface="Arial"/>
              </a:rPr>
              <a:t>MEASLES</a:t>
            </a:r>
          </a:p>
          <a:p>
            <a:r>
              <a:rPr lang="en-GB" sz="525" b="1">
                <a:solidFill>
                  <a:srgbClr val="343434"/>
                </a:solidFill>
                <a:sym typeface="Arial"/>
              </a:rPr>
              <a:t>2</a:t>
            </a:r>
            <a:r>
              <a:rPr lang="en-GB" sz="525" b="1" baseline="30000">
                <a:solidFill>
                  <a:srgbClr val="343434"/>
                </a:solidFill>
                <a:sym typeface="Arial"/>
              </a:rPr>
              <a:t>ND</a:t>
            </a:r>
            <a:r>
              <a:rPr lang="en-GB" sz="525" b="1">
                <a:solidFill>
                  <a:srgbClr val="343434"/>
                </a:solidFill>
                <a:sym typeface="Arial"/>
              </a:rPr>
              <a:t> DOSE</a:t>
            </a:r>
          </a:p>
          <a:p>
            <a:r>
              <a:rPr lang="en-GB" sz="525">
                <a:solidFill>
                  <a:srgbClr val="343434"/>
                </a:solidFill>
                <a:sym typeface="Arial"/>
              </a:rPr>
              <a:t>R: 0</a:t>
            </a:r>
          </a:p>
          <a:p>
            <a:r>
              <a:rPr lang="en-GB" sz="525">
                <a:solidFill>
                  <a:srgbClr val="343434"/>
                </a:solidFill>
                <a:sym typeface="Arial"/>
              </a:rPr>
              <a:t>G: 151</a:t>
            </a:r>
          </a:p>
          <a:p>
            <a:r>
              <a:rPr lang="en-GB" sz="525">
                <a:solidFill>
                  <a:srgbClr val="343434"/>
                </a:solidFill>
                <a:sym typeface="Arial"/>
              </a:rPr>
              <a:t>B: 169</a:t>
            </a:r>
          </a:p>
        </p:txBody>
      </p:sp>
      <p:sp>
        <p:nvSpPr>
          <p:cNvPr id="88" name="Freeform 8"/>
          <p:cNvSpPr>
            <a:spLocks/>
          </p:cNvSpPr>
          <p:nvPr userDrawn="1"/>
        </p:nvSpPr>
        <p:spPr bwMode="auto">
          <a:xfrm>
            <a:off x="4419698" y="4431008"/>
            <a:ext cx="443405" cy="657507"/>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rgbClr val="0033A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a:solidFill>
                <a:srgbClr val="343434"/>
              </a:solidFill>
              <a:cs typeface="Arial"/>
              <a:sym typeface="Arial"/>
            </a:endParaRPr>
          </a:p>
        </p:txBody>
      </p:sp>
      <p:sp>
        <p:nvSpPr>
          <p:cNvPr id="89" name="Rectangle 88"/>
          <p:cNvSpPr/>
          <p:nvPr userDrawn="1"/>
        </p:nvSpPr>
        <p:spPr>
          <a:xfrm>
            <a:off x="4888339" y="4431007"/>
            <a:ext cx="756000" cy="64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r>
              <a:rPr lang="en-GB" sz="525" b="1">
                <a:solidFill>
                  <a:srgbClr val="343434"/>
                </a:solidFill>
                <a:sym typeface="Arial"/>
              </a:rPr>
              <a:t>PNEUMO</a:t>
            </a:r>
          </a:p>
          <a:p>
            <a:r>
              <a:rPr lang="en-GB" sz="525">
                <a:solidFill>
                  <a:srgbClr val="343434"/>
                </a:solidFill>
                <a:sym typeface="Arial"/>
              </a:rPr>
              <a:t>R: 0</a:t>
            </a:r>
          </a:p>
          <a:p>
            <a:r>
              <a:rPr lang="en-GB" sz="525">
                <a:solidFill>
                  <a:srgbClr val="343434"/>
                </a:solidFill>
                <a:sym typeface="Arial"/>
              </a:rPr>
              <a:t>G: 51</a:t>
            </a:r>
          </a:p>
          <a:p>
            <a:r>
              <a:rPr lang="en-GB" sz="525">
                <a:solidFill>
                  <a:srgbClr val="343434"/>
                </a:solidFill>
                <a:sym typeface="Arial"/>
              </a:rPr>
              <a:t>B: 160</a:t>
            </a:r>
          </a:p>
        </p:txBody>
      </p:sp>
      <p:sp>
        <p:nvSpPr>
          <p:cNvPr id="90" name="Freeform 8"/>
          <p:cNvSpPr>
            <a:spLocks/>
          </p:cNvSpPr>
          <p:nvPr userDrawn="1"/>
        </p:nvSpPr>
        <p:spPr bwMode="auto">
          <a:xfrm>
            <a:off x="5581248" y="4431008"/>
            <a:ext cx="443405" cy="657507"/>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rgbClr val="D86018"/>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a:solidFill>
                <a:srgbClr val="343434"/>
              </a:solidFill>
              <a:cs typeface="Arial"/>
              <a:sym typeface="Arial"/>
            </a:endParaRPr>
          </a:p>
        </p:txBody>
      </p:sp>
      <p:sp>
        <p:nvSpPr>
          <p:cNvPr id="91" name="Rectangle 90"/>
          <p:cNvSpPr/>
          <p:nvPr userDrawn="1"/>
        </p:nvSpPr>
        <p:spPr>
          <a:xfrm>
            <a:off x="6049570" y="4431007"/>
            <a:ext cx="756000" cy="64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r>
              <a:rPr lang="en-GB" sz="525" b="1">
                <a:solidFill>
                  <a:srgbClr val="343434"/>
                </a:solidFill>
                <a:sym typeface="Arial"/>
              </a:rPr>
              <a:t>ROTAVIRUS</a:t>
            </a:r>
          </a:p>
          <a:p>
            <a:r>
              <a:rPr lang="en-GB" sz="525">
                <a:solidFill>
                  <a:srgbClr val="343434"/>
                </a:solidFill>
                <a:sym typeface="Arial"/>
              </a:rPr>
              <a:t>R: 216</a:t>
            </a:r>
          </a:p>
          <a:p>
            <a:r>
              <a:rPr lang="en-GB" sz="525">
                <a:solidFill>
                  <a:srgbClr val="343434"/>
                </a:solidFill>
                <a:sym typeface="Arial"/>
              </a:rPr>
              <a:t>G: 96</a:t>
            </a:r>
          </a:p>
          <a:p>
            <a:r>
              <a:rPr lang="en-GB" sz="525">
                <a:solidFill>
                  <a:srgbClr val="343434"/>
                </a:solidFill>
                <a:sym typeface="Arial"/>
              </a:rPr>
              <a:t>B: 24</a:t>
            </a:r>
          </a:p>
        </p:txBody>
      </p:sp>
      <p:sp>
        <p:nvSpPr>
          <p:cNvPr id="92" name="Freeform 8"/>
          <p:cNvSpPr>
            <a:spLocks/>
          </p:cNvSpPr>
          <p:nvPr userDrawn="1"/>
        </p:nvSpPr>
        <p:spPr bwMode="auto">
          <a:xfrm>
            <a:off x="6742804" y="4431008"/>
            <a:ext cx="443405" cy="657507"/>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rgbClr val="EAAA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a:solidFill>
                <a:srgbClr val="343434"/>
              </a:solidFill>
              <a:cs typeface="Arial"/>
              <a:sym typeface="Arial"/>
            </a:endParaRPr>
          </a:p>
        </p:txBody>
      </p:sp>
      <p:sp>
        <p:nvSpPr>
          <p:cNvPr id="93" name="Rectangle 92"/>
          <p:cNvSpPr/>
          <p:nvPr userDrawn="1"/>
        </p:nvSpPr>
        <p:spPr>
          <a:xfrm>
            <a:off x="7210800" y="4431007"/>
            <a:ext cx="756000" cy="64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r>
              <a:rPr lang="en-GB" sz="525" b="1">
                <a:solidFill>
                  <a:srgbClr val="343434"/>
                </a:solidFill>
                <a:sym typeface="Arial"/>
              </a:rPr>
              <a:t>YELLOW</a:t>
            </a:r>
          </a:p>
          <a:p>
            <a:r>
              <a:rPr lang="en-GB" sz="525" b="1">
                <a:solidFill>
                  <a:srgbClr val="343434"/>
                </a:solidFill>
                <a:sym typeface="Arial"/>
              </a:rPr>
              <a:t>FEVER</a:t>
            </a:r>
          </a:p>
          <a:p>
            <a:r>
              <a:rPr lang="en-GB" sz="525">
                <a:solidFill>
                  <a:srgbClr val="343434"/>
                </a:solidFill>
                <a:sym typeface="Arial"/>
              </a:rPr>
              <a:t>R: 234</a:t>
            </a:r>
          </a:p>
          <a:p>
            <a:r>
              <a:rPr lang="en-GB" sz="525">
                <a:solidFill>
                  <a:srgbClr val="343434"/>
                </a:solidFill>
                <a:sym typeface="Arial"/>
              </a:rPr>
              <a:t>G: 170</a:t>
            </a:r>
          </a:p>
          <a:p>
            <a:r>
              <a:rPr lang="en-GB" sz="525">
                <a:solidFill>
                  <a:srgbClr val="343434"/>
                </a:solidFill>
                <a:sym typeface="Arial"/>
              </a:rPr>
              <a:t>B: 0</a:t>
            </a:r>
          </a:p>
        </p:txBody>
      </p:sp>
      <p:sp>
        <p:nvSpPr>
          <p:cNvPr id="94" name="Freeform 8"/>
          <p:cNvSpPr>
            <a:spLocks/>
          </p:cNvSpPr>
          <p:nvPr userDrawn="1"/>
        </p:nvSpPr>
        <p:spPr bwMode="auto">
          <a:xfrm>
            <a:off x="935041" y="3563657"/>
            <a:ext cx="443405" cy="657507"/>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rgbClr val="AF5C3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a:solidFill>
                <a:srgbClr val="343434"/>
              </a:solidFill>
              <a:cs typeface="Arial"/>
              <a:sym typeface="Arial"/>
            </a:endParaRPr>
          </a:p>
        </p:txBody>
      </p:sp>
      <p:sp>
        <p:nvSpPr>
          <p:cNvPr id="95" name="Rectangle 94"/>
          <p:cNvSpPr/>
          <p:nvPr userDrawn="1"/>
        </p:nvSpPr>
        <p:spPr>
          <a:xfrm>
            <a:off x="1404646" y="3563657"/>
            <a:ext cx="756000" cy="64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r>
              <a:rPr lang="en-GB" sz="525" b="1">
                <a:solidFill>
                  <a:srgbClr val="343434"/>
                </a:solidFill>
                <a:sym typeface="Arial"/>
              </a:rPr>
              <a:t>CHOLERA</a:t>
            </a:r>
          </a:p>
          <a:p>
            <a:r>
              <a:rPr lang="en-GB" sz="525">
                <a:solidFill>
                  <a:srgbClr val="343434"/>
                </a:solidFill>
                <a:sym typeface="Arial"/>
              </a:rPr>
              <a:t>R: 175</a:t>
            </a:r>
          </a:p>
          <a:p>
            <a:r>
              <a:rPr lang="en-GB" sz="525">
                <a:solidFill>
                  <a:srgbClr val="343434"/>
                </a:solidFill>
                <a:sym typeface="Arial"/>
              </a:rPr>
              <a:t>G: 92</a:t>
            </a:r>
          </a:p>
          <a:p>
            <a:r>
              <a:rPr lang="en-GB" sz="525">
                <a:solidFill>
                  <a:srgbClr val="343434"/>
                </a:solidFill>
                <a:sym typeface="Arial"/>
              </a:rPr>
              <a:t>B: 55</a:t>
            </a:r>
          </a:p>
        </p:txBody>
      </p:sp>
      <p:sp>
        <p:nvSpPr>
          <p:cNvPr id="96" name="Freeform 8"/>
          <p:cNvSpPr>
            <a:spLocks/>
          </p:cNvSpPr>
          <p:nvPr userDrawn="1"/>
        </p:nvSpPr>
        <p:spPr bwMode="auto">
          <a:xfrm>
            <a:off x="2096443" y="3563657"/>
            <a:ext cx="443405" cy="657507"/>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rgbClr val="D5003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a:solidFill>
                <a:srgbClr val="343434"/>
              </a:solidFill>
              <a:cs typeface="Arial"/>
              <a:sym typeface="Arial"/>
            </a:endParaRPr>
          </a:p>
        </p:txBody>
      </p:sp>
      <p:sp>
        <p:nvSpPr>
          <p:cNvPr id="97" name="Rectangle 96"/>
          <p:cNvSpPr/>
          <p:nvPr userDrawn="1"/>
        </p:nvSpPr>
        <p:spPr>
          <a:xfrm>
            <a:off x="2566047" y="3563657"/>
            <a:ext cx="756000" cy="64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r>
              <a:rPr lang="en-GB" sz="525" b="1">
                <a:solidFill>
                  <a:srgbClr val="343434"/>
                </a:solidFill>
                <a:sym typeface="Arial"/>
              </a:rPr>
              <a:t>HEPB</a:t>
            </a:r>
          </a:p>
          <a:p>
            <a:r>
              <a:rPr lang="en-GB" sz="525">
                <a:solidFill>
                  <a:srgbClr val="343434"/>
                </a:solidFill>
                <a:sym typeface="Arial"/>
              </a:rPr>
              <a:t>R: 213</a:t>
            </a:r>
          </a:p>
          <a:p>
            <a:r>
              <a:rPr lang="en-GB" sz="525">
                <a:solidFill>
                  <a:srgbClr val="343434"/>
                </a:solidFill>
                <a:sym typeface="Arial"/>
              </a:rPr>
              <a:t>G: 0</a:t>
            </a:r>
          </a:p>
          <a:p>
            <a:r>
              <a:rPr lang="en-GB" sz="525">
                <a:solidFill>
                  <a:srgbClr val="343434"/>
                </a:solidFill>
                <a:sym typeface="Arial"/>
              </a:rPr>
              <a:t>B: 50</a:t>
            </a:r>
          </a:p>
        </p:txBody>
      </p:sp>
      <p:sp>
        <p:nvSpPr>
          <p:cNvPr id="98" name="Freeform 8"/>
          <p:cNvSpPr>
            <a:spLocks/>
          </p:cNvSpPr>
          <p:nvPr userDrawn="1"/>
        </p:nvSpPr>
        <p:spPr bwMode="auto">
          <a:xfrm>
            <a:off x="3257842" y="3563657"/>
            <a:ext cx="443405" cy="657507"/>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rgbClr val="F59BB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a:solidFill>
                <a:srgbClr val="343434"/>
              </a:solidFill>
              <a:cs typeface="Arial"/>
              <a:sym typeface="Arial"/>
            </a:endParaRPr>
          </a:p>
        </p:txBody>
      </p:sp>
      <p:sp>
        <p:nvSpPr>
          <p:cNvPr id="99" name="Rectangle 98"/>
          <p:cNvSpPr/>
          <p:nvPr userDrawn="1"/>
        </p:nvSpPr>
        <p:spPr>
          <a:xfrm>
            <a:off x="3727448" y="3563657"/>
            <a:ext cx="756000" cy="64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r>
              <a:rPr lang="en-GB" sz="525" b="1">
                <a:solidFill>
                  <a:srgbClr val="343434"/>
                </a:solidFill>
                <a:sym typeface="Arial"/>
              </a:rPr>
              <a:t>HPV</a:t>
            </a:r>
          </a:p>
          <a:p>
            <a:r>
              <a:rPr lang="en-GB" sz="525">
                <a:solidFill>
                  <a:srgbClr val="343434"/>
                </a:solidFill>
                <a:sym typeface="Arial"/>
              </a:rPr>
              <a:t>R: 245</a:t>
            </a:r>
          </a:p>
          <a:p>
            <a:r>
              <a:rPr lang="en-GB" sz="525">
                <a:solidFill>
                  <a:srgbClr val="343434"/>
                </a:solidFill>
                <a:sym typeface="Arial"/>
              </a:rPr>
              <a:t>G: 155</a:t>
            </a:r>
          </a:p>
          <a:p>
            <a:r>
              <a:rPr lang="en-GB" sz="525">
                <a:solidFill>
                  <a:srgbClr val="343434"/>
                </a:solidFill>
                <a:sym typeface="Arial"/>
              </a:rPr>
              <a:t>B: 187</a:t>
            </a:r>
          </a:p>
        </p:txBody>
      </p:sp>
      <p:sp>
        <p:nvSpPr>
          <p:cNvPr id="100" name="Freeform 8"/>
          <p:cNvSpPr>
            <a:spLocks/>
          </p:cNvSpPr>
          <p:nvPr userDrawn="1"/>
        </p:nvSpPr>
        <p:spPr bwMode="auto">
          <a:xfrm>
            <a:off x="935041" y="4431008"/>
            <a:ext cx="443405" cy="657507"/>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rgbClr val="005A7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a:solidFill>
                <a:srgbClr val="343434"/>
              </a:solidFill>
              <a:cs typeface="Arial"/>
              <a:sym typeface="Arial"/>
            </a:endParaRPr>
          </a:p>
        </p:txBody>
      </p:sp>
      <p:sp>
        <p:nvSpPr>
          <p:cNvPr id="101" name="Rectangle 100"/>
          <p:cNvSpPr/>
          <p:nvPr userDrawn="1"/>
        </p:nvSpPr>
        <p:spPr>
          <a:xfrm>
            <a:off x="1404646" y="4431007"/>
            <a:ext cx="756000" cy="64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r>
              <a:rPr lang="en-GB" sz="525" b="1">
                <a:solidFill>
                  <a:srgbClr val="343434"/>
                </a:solidFill>
                <a:sym typeface="Arial"/>
              </a:rPr>
              <a:t>MEASLES</a:t>
            </a:r>
          </a:p>
          <a:p>
            <a:r>
              <a:rPr lang="en-GB" sz="525" b="1">
                <a:solidFill>
                  <a:srgbClr val="343434"/>
                </a:solidFill>
                <a:sym typeface="Arial"/>
              </a:rPr>
              <a:t>RUBELLA</a:t>
            </a:r>
          </a:p>
          <a:p>
            <a:r>
              <a:rPr lang="en-GB" sz="525">
                <a:solidFill>
                  <a:srgbClr val="343434"/>
                </a:solidFill>
                <a:sym typeface="Arial"/>
              </a:rPr>
              <a:t>R: 0</a:t>
            </a:r>
          </a:p>
          <a:p>
            <a:r>
              <a:rPr lang="en-GB" sz="525">
                <a:solidFill>
                  <a:srgbClr val="343434"/>
                </a:solidFill>
                <a:sym typeface="Arial"/>
              </a:rPr>
              <a:t>G: 90</a:t>
            </a:r>
          </a:p>
          <a:p>
            <a:r>
              <a:rPr lang="en-GB" sz="525">
                <a:solidFill>
                  <a:srgbClr val="343434"/>
                </a:solidFill>
                <a:sym typeface="Arial"/>
              </a:rPr>
              <a:t>B: 112</a:t>
            </a:r>
          </a:p>
        </p:txBody>
      </p:sp>
      <p:sp>
        <p:nvSpPr>
          <p:cNvPr id="102" name="Freeform 8"/>
          <p:cNvSpPr>
            <a:spLocks/>
          </p:cNvSpPr>
          <p:nvPr userDrawn="1"/>
        </p:nvSpPr>
        <p:spPr bwMode="auto">
          <a:xfrm>
            <a:off x="2096593" y="4431008"/>
            <a:ext cx="443405" cy="657507"/>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rgbClr val="009639"/>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a:solidFill>
                <a:srgbClr val="343434"/>
              </a:solidFill>
              <a:cs typeface="Arial"/>
              <a:sym typeface="Arial"/>
            </a:endParaRPr>
          </a:p>
        </p:txBody>
      </p:sp>
      <p:sp>
        <p:nvSpPr>
          <p:cNvPr id="103" name="Rectangle 102"/>
          <p:cNvSpPr/>
          <p:nvPr userDrawn="1"/>
        </p:nvSpPr>
        <p:spPr>
          <a:xfrm>
            <a:off x="2565877" y="4431007"/>
            <a:ext cx="756000" cy="64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r>
              <a:rPr lang="en-GB" sz="525" b="1">
                <a:solidFill>
                  <a:srgbClr val="343434"/>
                </a:solidFill>
                <a:sym typeface="Arial"/>
              </a:rPr>
              <a:t>MENINGITIS</a:t>
            </a:r>
          </a:p>
          <a:p>
            <a:r>
              <a:rPr lang="en-GB" sz="525" b="1">
                <a:solidFill>
                  <a:srgbClr val="343434"/>
                </a:solidFill>
                <a:sym typeface="Arial"/>
              </a:rPr>
              <a:t>A</a:t>
            </a:r>
          </a:p>
          <a:p>
            <a:r>
              <a:rPr lang="en-GB" sz="525">
                <a:solidFill>
                  <a:srgbClr val="343434"/>
                </a:solidFill>
                <a:sym typeface="Arial"/>
              </a:rPr>
              <a:t>R: 0</a:t>
            </a:r>
          </a:p>
          <a:p>
            <a:r>
              <a:rPr lang="en-GB" sz="525">
                <a:solidFill>
                  <a:srgbClr val="343434"/>
                </a:solidFill>
                <a:sym typeface="Arial"/>
              </a:rPr>
              <a:t>G: 150</a:t>
            </a:r>
          </a:p>
          <a:p>
            <a:r>
              <a:rPr lang="en-GB" sz="525">
                <a:solidFill>
                  <a:srgbClr val="343434"/>
                </a:solidFill>
                <a:sym typeface="Arial"/>
              </a:rPr>
              <a:t>B: 57</a:t>
            </a:r>
          </a:p>
        </p:txBody>
      </p:sp>
      <p:sp>
        <p:nvSpPr>
          <p:cNvPr id="104" name="Freeform 8"/>
          <p:cNvSpPr>
            <a:spLocks/>
          </p:cNvSpPr>
          <p:nvPr userDrawn="1"/>
        </p:nvSpPr>
        <p:spPr bwMode="auto">
          <a:xfrm>
            <a:off x="3258146" y="4431008"/>
            <a:ext cx="443405" cy="657507"/>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rgbClr val="653279"/>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a:solidFill>
                <a:srgbClr val="343434"/>
              </a:solidFill>
              <a:cs typeface="Arial"/>
              <a:sym typeface="Arial"/>
            </a:endParaRPr>
          </a:p>
        </p:txBody>
      </p:sp>
      <p:sp>
        <p:nvSpPr>
          <p:cNvPr id="105" name="Rectangle 104"/>
          <p:cNvSpPr/>
          <p:nvPr userDrawn="1"/>
        </p:nvSpPr>
        <p:spPr>
          <a:xfrm>
            <a:off x="3727108" y="4431007"/>
            <a:ext cx="756000" cy="64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r>
              <a:rPr lang="en-GB" sz="525" b="1">
                <a:solidFill>
                  <a:srgbClr val="343434"/>
                </a:solidFill>
                <a:sym typeface="Arial"/>
              </a:rPr>
              <a:t>PENTA</a:t>
            </a:r>
          </a:p>
          <a:p>
            <a:r>
              <a:rPr lang="en-GB" sz="525" b="1">
                <a:solidFill>
                  <a:srgbClr val="343434"/>
                </a:solidFill>
                <a:sym typeface="Arial"/>
              </a:rPr>
              <a:t>DTP–HEP-HIB</a:t>
            </a:r>
          </a:p>
          <a:p>
            <a:r>
              <a:rPr lang="en-GB" sz="525">
                <a:solidFill>
                  <a:srgbClr val="343434"/>
                </a:solidFill>
                <a:sym typeface="Arial"/>
              </a:rPr>
              <a:t>R: 101</a:t>
            </a:r>
          </a:p>
          <a:p>
            <a:r>
              <a:rPr lang="en-GB" sz="525">
                <a:solidFill>
                  <a:srgbClr val="343434"/>
                </a:solidFill>
                <a:sym typeface="Arial"/>
              </a:rPr>
              <a:t>G: 50</a:t>
            </a:r>
          </a:p>
          <a:p>
            <a:r>
              <a:rPr lang="en-GB" sz="525">
                <a:solidFill>
                  <a:srgbClr val="343434"/>
                </a:solidFill>
                <a:sym typeface="Arial"/>
              </a:rPr>
              <a:t>B: 121</a:t>
            </a:r>
          </a:p>
        </p:txBody>
      </p:sp>
      <p:sp>
        <p:nvSpPr>
          <p:cNvPr id="106" name="Rectangle 105"/>
          <p:cNvSpPr/>
          <p:nvPr userDrawn="1"/>
        </p:nvSpPr>
        <p:spPr>
          <a:xfrm>
            <a:off x="5580116" y="5279243"/>
            <a:ext cx="3168601" cy="756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r>
              <a:rPr lang="en-GB" sz="900" b="1">
                <a:solidFill>
                  <a:srgbClr val="343434"/>
                </a:solidFill>
                <a:sym typeface="Arial"/>
              </a:rPr>
              <a:t>Please use the four </a:t>
            </a:r>
            <a:r>
              <a:rPr lang="en-GB" sz="900" b="1" err="1">
                <a:solidFill>
                  <a:srgbClr val="343434"/>
                </a:solidFill>
                <a:sym typeface="Arial"/>
              </a:rPr>
              <a:t>Gavi</a:t>
            </a:r>
            <a:r>
              <a:rPr lang="en-GB" sz="900" b="1">
                <a:solidFill>
                  <a:srgbClr val="343434"/>
                </a:solidFill>
                <a:sym typeface="Arial"/>
              </a:rPr>
              <a:t> corporate colours where possible.  Specific strategic goals </a:t>
            </a:r>
            <a:br>
              <a:rPr lang="en-GB" sz="900" b="1">
                <a:solidFill>
                  <a:srgbClr val="343434"/>
                </a:solidFill>
                <a:sym typeface="Arial"/>
              </a:rPr>
            </a:br>
            <a:r>
              <a:rPr lang="en-GB" sz="900" b="1">
                <a:solidFill>
                  <a:srgbClr val="343434"/>
                </a:solidFill>
                <a:sym typeface="Arial"/>
              </a:rPr>
              <a:t>or vaccines should be highlighted using the key above. </a:t>
            </a:r>
          </a:p>
        </p:txBody>
      </p:sp>
      <p:sp>
        <p:nvSpPr>
          <p:cNvPr id="107" name="Freeform 8"/>
          <p:cNvSpPr>
            <a:spLocks/>
          </p:cNvSpPr>
          <p:nvPr userDrawn="1"/>
        </p:nvSpPr>
        <p:spPr bwMode="auto">
          <a:xfrm>
            <a:off x="4420804" y="5308461"/>
            <a:ext cx="443405" cy="657507"/>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rgbClr val="64636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a:solidFill>
                <a:srgbClr val="343434"/>
              </a:solidFill>
              <a:cs typeface="Arial"/>
              <a:sym typeface="Arial"/>
            </a:endParaRPr>
          </a:p>
        </p:txBody>
      </p:sp>
      <p:sp>
        <p:nvSpPr>
          <p:cNvPr id="108" name="Rectangle 107"/>
          <p:cNvSpPr/>
          <p:nvPr userDrawn="1"/>
        </p:nvSpPr>
        <p:spPr>
          <a:xfrm>
            <a:off x="4888800" y="5308463"/>
            <a:ext cx="756000" cy="64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r>
              <a:rPr lang="en-GB" sz="525" b="1">
                <a:solidFill>
                  <a:srgbClr val="343434"/>
                </a:solidFill>
                <a:sym typeface="Arial"/>
              </a:rPr>
              <a:t>RABIES</a:t>
            </a:r>
          </a:p>
          <a:p>
            <a:r>
              <a:rPr lang="en-GB" sz="525">
                <a:solidFill>
                  <a:srgbClr val="343434"/>
                </a:solidFill>
                <a:sym typeface="Arial"/>
              </a:rPr>
              <a:t>R: 100</a:t>
            </a:r>
          </a:p>
          <a:p>
            <a:r>
              <a:rPr lang="en-GB" sz="525">
                <a:solidFill>
                  <a:srgbClr val="343434"/>
                </a:solidFill>
                <a:sym typeface="Arial"/>
              </a:rPr>
              <a:t>G: 99</a:t>
            </a:r>
          </a:p>
          <a:p>
            <a:r>
              <a:rPr lang="en-GB" sz="525">
                <a:solidFill>
                  <a:srgbClr val="343434"/>
                </a:solidFill>
                <a:sym typeface="Arial"/>
              </a:rPr>
              <a:t>B: 99</a:t>
            </a:r>
          </a:p>
        </p:txBody>
      </p:sp>
      <p:sp>
        <p:nvSpPr>
          <p:cNvPr id="109" name="Freeform 8"/>
          <p:cNvSpPr>
            <a:spLocks/>
          </p:cNvSpPr>
          <p:nvPr userDrawn="1"/>
        </p:nvSpPr>
        <p:spPr bwMode="auto">
          <a:xfrm>
            <a:off x="935041" y="5308461"/>
            <a:ext cx="443405" cy="657507"/>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rgbClr val="C6C6C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a:solidFill>
                <a:srgbClr val="343434"/>
              </a:solidFill>
              <a:cs typeface="Arial"/>
              <a:sym typeface="Arial"/>
            </a:endParaRPr>
          </a:p>
        </p:txBody>
      </p:sp>
      <p:sp>
        <p:nvSpPr>
          <p:cNvPr id="110" name="Rectangle 109"/>
          <p:cNvSpPr/>
          <p:nvPr userDrawn="1"/>
        </p:nvSpPr>
        <p:spPr>
          <a:xfrm>
            <a:off x="1404646" y="5308463"/>
            <a:ext cx="756000" cy="64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r>
              <a:rPr lang="en-GB" sz="525" b="1">
                <a:solidFill>
                  <a:srgbClr val="343434"/>
                </a:solidFill>
                <a:sym typeface="Arial"/>
              </a:rPr>
              <a:t>DENGUE</a:t>
            </a:r>
          </a:p>
          <a:p>
            <a:r>
              <a:rPr lang="en-GB" sz="525">
                <a:solidFill>
                  <a:srgbClr val="343434"/>
                </a:solidFill>
                <a:sym typeface="Arial"/>
              </a:rPr>
              <a:t>R: 198</a:t>
            </a:r>
          </a:p>
          <a:p>
            <a:r>
              <a:rPr lang="en-GB" sz="525">
                <a:solidFill>
                  <a:srgbClr val="343434"/>
                </a:solidFill>
                <a:sym typeface="Arial"/>
              </a:rPr>
              <a:t>G: 198</a:t>
            </a:r>
          </a:p>
          <a:p>
            <a:r>
              <a:rPr lang="en-GB" sz="525">
                <a:solidFill>
                  <a:srgbClr val="343434"/>
                </a:solidFill>
                <a:sym typeface="Arial"/>
              </a:rPr>
              <a:t>B: 198</a:t>
            </a:r>
          </a:p>
        </p:txBody>
      </p:sp>
      <p:sp>
        <p:nvSpPr>
          <p:cNvPr id="111" name="Freeform 8"/>
          <p:cNvSpPr>
            <a:spLocks/>
          </p:cNvSpPr>
          <p:nvPr userDrawn="1"/>
        </p:nvSpPr>
        <p:spPr bwMode="auto">
          <a:xfrm>
            <a:off x="2096963" y="5308461"/>
            <a:ext cx="443405" cy="657507"/>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rgbClr val="A8A8A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a:solidFill>
                <a:srgbClr val="343434"/>
              </a:solidFill>
              <a:cs typeface="Arial"/>
              <a:sym typeface="Arial"/>
            </a:endParaRPr>
          </a:p>
        </p:txBody>
      </p:sp>
      <p:sp>
        <p:nvSpPr>
          <p:cNvPr id="112" name="Rectangle 111"/>
          <p:cNvSpPr/>
          <p:nvPr userDrawn="1"/>
        </p:nvSpPr>
        <p:spPr>
          <a:xfrm>
            <a:off x="2566031" y="5308463"/>
            <a:ext cx="756000" cy="64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r>
              <a:rPr lang="en-GB" sz="525" b="1">
                <a:solidFill>
                  <a:srgbClr val="343434"/>
                </a:solidFill>
                <a:sym typeface="Arial"/>
              </a:rPr>
              <a:t>MALARIA</a:t>
            </a:r>
          </a:p>
          <a:p>
            <a:r>
              <a:rPr lang="en-GB" sz="525">
                <a:solidFill>
                  <a:srgbClr val="343434"/>
                </a:solidFill>
                <a:sym typeface="Arial"/>
              </a:rPr>
              <a:t>R: 168</a:t>
            </a:r>
          </a:p>
          <a:p>
            <a:r>
              <a:rPr lang="en-GB" sz="525">
                <a:solidFill>
                  <a:srgbClr val="343434"/>
                </a:solidFill>
                <a:sym typeface="Arial"/>
              </a:rPr>
              <a:t>G: 168</a:t>
            </a:r>
          </a:p>
          <a:p>
            <a:r>
              <a:rPr lang="en-GB" sz="525">
                <a:solidFill>
                  <a:srgbClr val="343434"/>
                </a:solidFill>
                <a:sym typeface="Arial"/>
              </a:rPr>
              <a:t>B: 167</a:t>
            </a:r>
          </a:p>
        </p:txBody>
      </p:sp>
      <p:sp>
        <p:nvSpPr>
          <p:cNvPr id="113" name="Freeform 8"/>
          <p:cNvSpPr>
            <a:spLocks/>
          </p:cNvSpPr>
          <p:nvPr userDrawn="1"/>
        </p:nvSpPr>
        <p:spPr bwMode="auto">
          <a:xfrm>
            <a:off x="3258884" y="5308461"/>
            <a:ext cx="443405" cy="657507"/>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rgbClr val="87878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a:solidFill>
                <a:srgbClr val="343434"/>
              </a:solidFill>
              <a:cs typeface="Arial"/>
              <a:sym typeface="Arial"/>
            </a:endParaRPr>
          </a:p>
        </p:txBody>
      </p:sp>
      <p:sp>
        <p:nvSpPr>
          <p:cNvPr id="114" name="Rectangle 113"/>
          <p:cNvSpPr/>
          <p:nvPr userDrawn="1"/>
        </p:nvSpPr>
        <p:spPr>
          <a:xfrm>
            <a:off x="3727416" y="5308463"/>
            <a:ext cx="756000" cy="64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r>
              <a:rPr lang="en-GB" sz="525" b="1">
                <a:solidFill>
                  <a:srgbClr val="343434"/>
                </a:solidFill>
                <a:sym typeface="Arial"/>
              </a:rPr>
              <a:t>MATERNAL</a:t>
            </a:r>
          </a:p>
          <a:p>
            <a:r>
              <a:rPr lang="en-GB" sz="525" b="1">
                <a:solidFill>
                  <a:srgbClr val="343434"/>
                </a:solidFill>
                <a:sym typeface="Arial"/>
              </a:rPr>
              <a:t>FLU</a:t>
            </a:r>
          </a:p>
          <a:p>
            <a:r>
              <a:rPr lang="en-GB" sz="525">
                <a:solidFill>
                  <a:srgbClr val="343434"/>
                </a:solidFill>
                <a:sym typeface="Arial"/>
              </a:rPr>
              <a:t>R: 135</a:t>
            </a:r>
          </a:p>
          <a:p>
            <a:r>
              <a:rPr lang="en-GB" sz="525">
                <a:solidFill>
                  <a:srgbClr val="343434"/>
                </a:solidFill>
                <a:sym typeface="Arial"/>
              </a:rPr>
              <a:t>G: 135</a:t>
            </a:r>
          </a:p>
          <a:p>
            <a:r>
              <a:rPr lang="en-GB" sz="525">
                <a:solidFill>
                  <a:srgbClr val="343434"/>
                </a:solidFill>
                <a:sym typeface="Arial"/>
              </a:rPr>
              <a:t>B: 135</a:t>
            </a:r>
          </a:p>
        </p:txBody>
      </p:sp>
      <p:sp>
        <p:nvSpPr>
          <p:cNvPr id="115" name="Freeform 8"/>
          <p:cNvSpPr>
            <a:spLocks/>
          </p:cNvSpPr>
          <p:nvPr userDrawn="1"/>
        </p:nvSpPr>
        <p:spPr bwMode="auto">
          <a:xfrm>
            <a:off x="7903444" y="4431008"/>
            <a:ext cx="443405" cy="657507"/>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rgbClr val="7D7061"/>
          </a:solidFill>
          <a:ln>
            <a:noFill/>
          </a:ln>
          <a:extLst/>
        </p:spPr>
        <p:txBody>
          <a:bodyPr vert="horz" wrap="square" lIns="68580" tIns="34290" rIns="68580" bIns="34290" numCol="1" anchor="t" anchorCtr="0" compatLnSpc="1">
            <a:prstTxWarp prst="textNoShape">
              <a:avLst/>
            </a:prstTxWarp>
          </a:bodyPr>
          <a:lstStyle/>
          <a:p>
            <a:endParaRPr lang="en-GB" sz="1350">
              <a:solidFill>
                <a:srgbClr val="343434"/>
              </a:solidFill>
              <a:cs typeface="Arial"/>
              <a:sym typeface="Arial"/>
            </a:endParaRPr>
          </a:p>
        </p:txBody>
      </p:sp>
      <p:sp>
        <p:nvSpPr>
          <p:cNvPr id="116" name="Rectangle 115"/>
          <p:cNvSpPr/>
          <p:nvPr userDrawn="1"/>
        </p:nvSpPr>
        <p:spPr>
          <a:xfrm>
            <a:off x="8373052" y="4431007"/>
            <a:ext cx="756000" cy="64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r>
              <a:rPr lang="en-GB" sz="525" b="1">
                <a:solidFill>
                  <a:srgbClr val="343434"/>
                </a:solidFill>
                <a:sym typeface="Arial"/>
              </a:rPr>
              <a:t>TYPHOÏD</a:t>
            </a:r>
          </a:p>
          <a:p>
            <a:r>
              <a:rPr lang="en-GB" sz="525">
                <a:solidFill>
                  <a:srgbClr val="343434"/>
                </a:solidFill>
                <a:sym typeface="Arial"/>
              </a:rPr>
              <a:t>R: 125</a:t>
            </a:r>
          </a:p>
          <a:p>
            <a:r>
              <a:rPr lang="en-GB" sz="525">
                <a:solidFill>
                  <a:srgbClr val="343434"/>
                </a:solidFill>
                <a:sym typeface="Arial"/>
              </a:rPr>
              <a:t>G: 112</a:t>
            </a:r>
          </a:p>
          <a:p>
            <a:r>
              <a:rPr lang="en-GB" sz="525">
                <a:solidFill>
                  <a:srgbClr val="343434"/>
                </a:solidFill>
                <a:sym typeface="Arial"/>
              </a:rPr>
              <a:t>B: 97</a:t>
            </a:r>
          </a:p>
        </p:txBody>
      </p:sp>
      <p:sp>
        <p:nvSpPr>
          <p:cNvPr id="4" name="ZoneTexte 3"/>
          <p:cNvSpPr txBox="1"/>
          <p:nvPr userDrawn="1"/>
        </p:nvSpPr>
        <p:spPr>
          <a:xfrm>
            <a:off x="840535" y="2"/>
            <a:ext cx="7908178" cy="1080095"/>
          </a:xfrm>
          <a:prstGeom prst="rect">
            <a:avLst/>
          </a:prstGeom>
          <a:noFill/>
        </p:spPr>
        <p:txBody>
          <a:bodyPr wrap="square" rtlCol="0" anchor="b" anchorCtr="0">
            <a:noAutofit/>
          </a:bodyPr>
          <a:lstStyle/>
          <a:p>
            <a:r>
              <a:rPr lang="en-GB" sz="2100">
                <a:solidFill>
                  <a:srgbClr val="005CB9"/>
                </a:solidFill>
                <a:cs typeface="Arial"/>
                <a:sym typeface="Arial"/>
              </a:rPr>
              <a:t>BRAND COLOUR PALETTE</a:t>
            </a:r>
          </a:p>
        </p:txBody>
      </p:sp>
    </p:spTree>
    <p:extLst>
      <p:ext uri="{BB962C8B-B14F-4D97-AF65-F5344CB8AC3E}">
        <p14:creationId xmlns:p14="http://schemas.microsoft.com/office/powerpoint/2010/main" val="36142552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9.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Shape 9"/>
        <p:cNvGrpSpPr/>
        <p:nvPr/>
      </p:nvGrpSpPr>
      <p:grpSpPr>
        <a:xfrm>
          <a:off x="0" y="0"/>
          <a:ext cx="0" cy="0"/>
          <a:chOff x="0" y="0"/>
          <a:chExt cx="0" cy="0"/>
        </a:xfrm>
      </p:grpSpPr>
      <p:sp>
        <p:nvSpPr>
          <p:cNvPr id="10" name="Shape 10"/>
          <p:cNvSpPr txBox="1">
            <a:spLocks noGrp="1"/>
          </p:cNvSpPr>
          <p:nvPr>
            <p:ph type="ctrTitle"/>
          </p:nvPr>
        </p:nvSpPr>
        <p:spPr>
          <a:xfrm>
            <a:off x="311708" y="992767"/>
            <a:ext cx="8520600" cy="2736800"/>
          </a:xfrm>
          <a:prstGeom prst="rect">
            <a:avLst/>
          </a:prstGeom>
        </p:spPr>
        <p:txBody>
          <a:bodyPr lIns="91425" tIns="91425" rIns="91425" bIns="91425" anchor="b" anchorCtr="0"/>
          <a:lstStyle>
            <a:lvl1pPr lvl="0" algn="ctr">
              <a:spcBef>
                <a:spcPts val="0"/>
              </a:spcBef>
              <a:buSzPct val="100000"/>
              <a:defRPr sz="5200"/>
            </a:lvl1pPr>
            <a:lvl2pPr lvl="1" algn="ctr">
              <a:spcBef>
                <a:spcPts val="0"/>
              </a:spcBef>
              <a:buSzPct val="100000"/>
              <a:defRPr sz="5200"/>
            </a:lvl2pPr>
            <a:lvl3pPr lvl="2" algn="ctr">
              <a:spcBef>
                <a:spcPts val="0"/>
              </a:spcBef>
              <a:buSzPct val="100000"/>
              <a:defRPr sz="5200"/>
            </a:lvl3pPr>
            <a:lvl4pPr lvl="3" algn="ctr">
              <a:spcBef>
                <a:spcPts val="0"/>
              </a:spcBef>
              <a:buSzPct val="100000"/>
              <a:defRPr sz="5200"/>
            </a:lvl4pPr>
            <a:lvl5pPr lvl="4" algn="ctr">
              <a:spcBef>
                <a:spcPts val="0"/>
              </a:spcBef>
              <a:buSzPct val="100000"/>
              <a:defRPr sz="5200"/>
            </a:lvl5pPr>
            <a:lvl6pPr lvl="5" algn="ctr">
              <a:spcBef>
                <a:spcPts val="0"/>
              </a:spcBef>
              <a:buSzPct val="100000"/>
              <a:defRPr sz="5200"/>
            </a:lvl6pPr>
            <a:lvl7pPr lvl="6" algn="ctr">
              <a:spcBef>
                <a:spcPts val="0"/>
              </a:spcBef>
              <a:buSzPct val="100000"/>
              <a:defRPr sz="5200"/>
            </a:lvl7pPr>
            <a:lvl8pPr lvl="7" algn="ctr">
              <a:spcBef>
                <a:spcPts val="0"/>
              </a:spcBef>
              <a:buSzPct val="100000"/>
              <a:defRPr sz="5200"/>
            </a:lvl8pPr>
            <a:lvl9pPr lvl="8" algn="ctr">
              <a:spcBef>
                <a:spcPts val="0"/>
              </a:spcBef>
              <a:buSzPct val="100000"/>
              <a:defRPr sz="5200"/>
            </a:lvl9pPr>
          </a:lstStyle>
          <a:p>
            <a:endParaRPr/>
          </a:p>
        </p:txBody>
      </p:sp>
      <p:sp>
        <p:nvSpPr>
          <p:cNvPr id="11" name="Shape 11"/>
          <p:cNvSpPr txBox="1">
            <a:spLocks noGrp="1"/>
          </p:cNvSpPr>
          <p:nvPr>
            <p:ph type="subTitle" idx="1"/>
          </p:nvPr>
        </p:nvSpPr>
        <p:spPr>
          <a:xfrm>
            <a:off x="311700" y="3778833"/>
            <a:ext cx="8520600" cy="1056800"/>
          </a:xfrm>
          <a:prstGeom prst="rect">
            <a:avLst/>
          </a:prstGeom>
        </p:spPr>
        <p:txBody>
          <a:bodyPr lIns="91425" tIns="91425" rIns="91425" bIns="91425" anchor="t" anchorCtr="0"/>
          <a:lstStyle>
            <a:lvl1pPr lvl="0" algn="ctr">
              <a:lnSpc>
                <a:spcPct val="100000"/>
              </a:lnSpc>
              <a:spcBef>
                <a:spcPts val="0"/>
              </a:spcBef>
              <a:spcAft>
                <a:spcPts val="0"/>
              </a:spcAft>
              <a:buSzPct val="100000"/>
              <a:buNone/>
              <a:defRPr sz="2800"/>
            </a:lvl1pPr>
            <a:lvl2pPr lvl="1" algn="ctr">
              <a:lnSpc>
                <a:spcPct val="100000"/>
              </a:lnSpc>
              <a:spcBef>
                <a:spcPts val="0"/>
              </a:spcBef>
              <a:spcAft>
                <a:spcPts val="0"/>
              </a:spcAft>
              <a:buSzPct val="100000"/>
              <a:buNone/>
              <a:defRPr sz="2800"/>
            </a:lvl2pPr>
            <a:lvl3pPr lvl="2" algn="ctr">
              <a:lnSpc>
                <a:spcPct val="100000"/>
              </a:lnSpc>
              <a:spcBef>
                <a:spcPts val="0"/>
              </a:spcBef>
              <a:spcAft>
                <a:spcPts val="0"/>
              </a:spcAft>
              <a:buSzPct val="100000"/>
              <a:buNone/>
              <a:defRPr sz="2800"/>
            </a:lvl3pPr>
            <a:lvl4pPr lvl="3" algn="ctr">
              <a:lnSpc>
                <a:spcPct val="100000"/>
              </a:lnSpc>
              <a:spcBef>
                <a:spcPts val="0"/>
              </a:spcBef>
              <a:spcAft>
                <a:spcPts val="0"/>
              </a:spcAft>
              <a:buSzPct val="100000"/>
              <a:buNone/>
              <a:defRPr sz="2800"/>
            </a:lvl4pPr>
            <a:lvl5pPr lvl="4" algn="ctr">
              <a:lnSpc>
                <a:spcPct val="100000"/>
              </a:lnSpc>
              <a:spcBef>
                <a:spcPts val="0"/>
              </a:spcBef>
              <a:spcAft>
                <a:spcPts val="0"/>
              </a:spcAft>
              <a:buSzPct val="100000"/>
              <a:buNone/>
              <a:defRPr sz="2800"/>
            </a:lvl5pPr>
            <a:lvl6pPr lvl="5" algn="ctr">
              <a:lnSpc>
                <a:spcPct val="100000"/>
              </a:lnSpc>
              <a:spcBef>
                <a:spcPts val="0"/>
              </a:spcBef>
              <a:spcAft>
                <a:spcPts val="0"/>
              </a:spcAft>
              <a:buSzPct val="100000"/>
              <a:buNone/>
              <a:defRPr sz="2800"/>
            </a:lvl6pPr>
            <a:lvl7pPr lvl="6" algn="ctr">
              <a:lnSpc>
                <a:spcPct val="100000"/>
              </a:lnSpc>
              <a:spcBef>
                <a:spcPts val="0"/>
              </a:spcBef>
              <a:spcAft>
                <a:spcPts val="0"/>
              </a:spcAft>
              <a:buSzPct val="100000"/>
              <a:buNone/>
              <a:defRPr sz="2800"/>
            </a:lvl7pPr>
            <a:lvl8pPr lvl="7" algn="ctr">
              <a:lnSpc>
                <a:spcPct val="100000"/>
              </a:lnSpc>
              <a:spcBef>
                <a:spcPts val="0"/>
              </a:spcBef>
              <a:spcAft>
                <a:spcPts val="0"/>
              </a:spcAft>
              <a:buSzPct val="100000"/>
              <a:buNone/>
              <a:defRPr sz="2800"/>
            </a:lvl8pPr>
            <a:lvl9pPr lvl="8" algn="ctr">
              <a:lnSpc>
                <a:spcPct val="100000"/>
              </a:lnSpc>
              <a:spcBef>
                <a:spcPts val="0"/>
              </a:spcBef>
              <a:spcAft>
                <a:spcPts val="0"/>
              </a:spcAft>
              <a:buSzPct val="100000"/>
              <a:buNone/>
              <a:defRPr sz="2800"/>
            </a:lvl9pPr>
          </a:lstStyle>
          <a:p>
            <a:endParaRPr/>
          </a:p>
        </p:txBody>
      </p:sp>
      <p:sp>
        <p:nvSpPr>
          <p:cNvPr id="12" name="Shape 12"/>
          <p:cNvSpPr txBox="1">
            <a:spLocks noGrp="1"/>
          </p:cNvSpPr>
          <p:nvPr>
            <p:ph type="sldNum" idx="12"/>
          </p:nvPr>
        </p:nvSpPr>
        <p:spPr>
          <a:xfrm>
            <a:off x="8472457" y="6217621"/>
            <a:ext cx="548700" cy="524800"/>
          </a:xfrm>
          <a:prstGeom prst="rect">
            <a:avLst/>
          </a:prstGeom>
        </p:spPr>
        <p:txBody>
          <a:bodyPr lIns="91425" tIns="91425" rIns="91425" bIns="91425" anchor="ctr" anchorCtr="0">
            <a:noAutofit/>
          </a:bodyPr>
          <a:lstStyle/>
          <a:p>
            <a:fld id="{00000000-1234-1234-1234-123412341234}" type="slidenum">
              <a:rPr lang="en-GB">
                <a:solidFill>
                  <a:srgbClr val="343434"/>
                </a:solidFill>
              </a:rPr>
              <a:pPr/>
              <a:t>‹#›</a:t>
            </a:fld>
            <a:endParaRPr lang="en-GB">
              <a:solidFill>
                <a:srgbClr val="343434"/>
              </a:solidFill>
            </a:endParaRPr>
          </a:p>
        </p:txBody>
      </p:sp>
    </p:spTree>
    <p:extLst>
      <p:ext uri="{BB962C8B-B14F-4D97-AF65-F5344CB8AC3E}">
        <p14:creationId xmlns:p14="http://schemas.microsoft.com/office/powerpoint/2010/main" val="34529209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pic>
        <p:nvPicPr>
          <p:cNvPr id="19" name="Image 18" descr="FD_02.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gray">
          <a:xfrm>
            <a:off x="0" y="0"/>
            <a:ext cx="9144000" cy="5157788"/>
          </a:xfrm>
          <a:prstGeom prst="rect">
            <a:avLst/>
          </a:prstGeom>
        </p:spPr>
      </p:pic>
      <p:sp>
        <p:nvSpPr>
          <p:cNvPr id="22" name="Rectangle 21"/>
          <p:cNvSpPr/>
          <p:nvPr userDrawn="1"/>
        </p:nvSpPr>
        <p:spPr bwMode="gray">
          <a:xfrm>
            <a:off x="3635375" y="5265204"/>
            <a:ext cx="5508625" cy="15927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pic>
        <p:nvPicPr>
          <p:cNvPr id="20" name="Image 19" descr="Bas_couv.png"/>
          <p:cNvPicPr>
            <a:picLocks noChangeAspect="1"/>
          </p:cNvPicPr>
          <p:nvPr userDrawn="1"/>
        </p:nvPicPr>
        <p:blipFill>
          <a:blip r:embed="rId3" cstate="screen">
            <a:extLst>
              <a:ext uri="{28A0092B-C50C-407E-A947-70E740481C1C}">
                <a14:useLocalDpi xmlns:a14="http://schemas.microsoft.com/office/drawing/2010/main"/>
              </a:ext>
            </a:extLst>
          </a:blip>
          <a:srcRect/>
          <a:stretch>
            <a:fillRect/>
          </a:stretch>
        </p:blipFill>
        <p:spPr bwMode="gray">
          <a:xfrm>
            <a:off x="0" y="5172520"/>
            <a:ext cx="3635375" cy="1685480"/>
          </a:xfrm>
          <a:prstGeom prst="rect">
            <a:avLst/>
          </a:prstGeom>
        </p:spPr>
      </p:pic>
      <p:sp>
        <p:nvSpPr>
          <p:cNvPr id="9" name="Espace réservé du texte 8"/>
          <p:cNvSpPr>
            <a:spLocks noGrp="1"/>
          </p:cNvSpPr>
          <p:nvPr>
            <p:ph type="body" sz="quarter" idx="13" hasCustomPrompt="1"/>
          </p:nvPr>
        </p:nvSpPr>
        <p:spPr bwMode="gray">
          <a:xfrm>
            <a:off x="468314" y="1036800"/>
            <a:ext cx="4824412" cy="2232000"/>
          </a:xfrm>
        </p:spPr>
        <p:txBody>
          <a:bodyPr anchor="b" anchorCtr="0"/>
          <a:lstStyle>
            <a:lvl1pPr marL="0" indent="0" algn="l">
              <a:lnSpc>
                <a:spcPct val="90000"/>
              </a:lnSpc>
              <a:buNone/>
              <a:defRPr sz="2800" b="1" cap="none" baseline="0">
                <a:solidFill>
                  <a:schemeClr val="bg1"/>
                </a:solidFill>
              </a:defRPr>
            </a:lvl1pPr>
            <a:lvl2pPr marL="0" algn="ctr">
              <a:lnSpc>
                <a:spcPct val="100000"/>
              </a:lnSpc>
              <a:spcBef>
                <a:spcPts val="6900"/>
              </a:spcBef>
              <a:defRPr sz="2000" b="1">
                <a:solidFill>
                  <a:schemeClr val="bg1"/>
                </a:solidFill>
              </a:defRPr>
            </a:lvl2pPr>
          </a:lstStyle>
          <a:p>
            <a:pPr lvl="0"/>
            <a:r>
              <a:rPr lang="en-US" noProof="0"/>
              <a:t>TITLE</a:t>
            </a:r>
          </a:p>
        </p:txBody>
      </p:sp>
      <p:sp>
        <p:nvSpPr>
          <p:cNvPr id="8" name="Espace réservé du texte 8"/>
          <p:cNvSpPr>
            <a:spLocks noGrp="1"/>
          </p:cNvSpPr>
          <p:nvPr>
            <p:ph type="body" sz="quarter" idx="14" hasCustomPrompt="1"/>
          </p:nvPr>
        </p:nvSpPr>
        <p:spPr bwMode="gray">
          <a:xfrm>
            <a:off x="468314" y="3585600"/>
            <a:ext cx="4824411" cy="1479600"/>
          </a:xfrm>
        </p:spPr>
        <p:txBody>
          <a:bodyPr anchor="t" anchorCtr="0"/>
          <a:lstStyle>
            <a:lvl1pPr marL="0" indent="0" algn="l">
              <a:lnSpc>
                <a:spcPct val="90000"/>
              </a:lnSpc>
              <a:buNone/>
              <a:defRPr sz="2000" b="0" baseline="0">
                <a:solidFill>
                  <a:schemeClr val="bg1"/>
                </a:solidFill>
              </a:defRPr>
            </a:lvl1pPr>
            <a:lvl2pPr marL="0" algn="ctr">
              <a:lnSpc>
                <a:spcPct val="100000"/>
              </a:lnSpc>
              <a:spcBef>
                <a:spcPts val="6900"/>
              </a:spcBef>
              <a:defRPr sz="2000" b="1">
                <a:solidFill>
                  <a:schemeClr val="bg1"/>
                </a:solidFill>
              </a:defRPr>
            </a:lvl2pPr>
          </a:lstStyle>
          <a:p>
            <a:pPr lvl="0"/>
            <a:r>
              <a:rPr lang="en-US" noProof="0"/>
              <a:t>SUBTITLE</a:t>
            </a:r>
          </a:p>
        </p:txBody>
      </p:sp>
      <p:sp>
        <p:nvSpPr>
          <p:cNvPr id="10" name="Espace réservé de la date 9"/>
          <p:cNvSpPr>
            <a:spLocks noGrp="1"/>
          </p:cNvSpPr>
          <p:nvPr>
            <p:ph type="dt" sz="half" idx="15"/>
          </p:nvPr>
        </p:nvSpPr>
        <p:spPr bwMode="gray"/>
        <p:txBody>
          <a:bodyPr/>
          <a:lstStyle/>
          <a:p>
            <a:r>
              <a:rPr lang="en-US">
                <a:solidFill>
                  <a:prstClr val="white">
                    <a:alpha val="0"/>
                  </a:prstClr>
                </a:solidFill>
              </a:rPr>
              <a:t>Date</a:t>
            </a:r>
          </a:p>
        </p:txBody>
      </p:sp>
      <p:sp>
        <p:nvSpPr>
          <p:cNvPr id="11" name="Espace réservé du numéro de diapositive 10"/>
          <p:cNvSpPr>
            <a:spLocks noGrp="1"/>
          </p:cNvSpPr>
          <p:nvPr>
            <p:ph type="sldNum" sz="quarter" idx="16"/>
          </p:nvPr>
        </p:nvSpPr>
        <p:spPr bwMode="gray"/>
        <p:txBody>
          <a:bodyPr/>
          <a:lstStyle>
            <a:lvl1pPr>
              <a:defRPr sz="100">
                <a:solidFill>
                  <a:schemeClr val="bg1">
                    <a:alpha val="0"/>
                  </a:schemeClr>
                </a:solidFill>
              </a:defRPr>
            </a:lvl1pPr>
          </a:lstStyle>
          <a:p>
            <a:pPr algn="l"/>
            <a:r>
              <a:rPr lang="en-US">
                <a:solidFill>
                  <a:prstClr val="white">
                    <a:alpha val="0"/>
                  </a:prstClr>
                </a:solidFill>
              </a:rPr>
              <a:t>Page: </a:t>
            </a:r>
            <a:fld id="{733122C9-A0B9-462F-8757-0847AD287B63}" type="slidenum">
              <a:rPr lang="en-US" smtClean="0">
                <a:solidFill>
                  <a:prstClr val="white">
                    <a:alpha val="0"/>
                  </a:prstClr>
                </a:solidFill>
              </a:rPr>
              <a:pPr algn="l"/>
              <a:t>‹#›</a:t>
            </a:fld>
            <a:endParaRPr lang="en-US">
              <a:solidFill>
                <a:prstClr val="white">
                  <a:alpha val="0"/>
                </a:prstClr>
              </a:solidFill>
            </a:endParaRPr>
          </a:p>
        </p:txBody>
      </p:sp>
      <p:sp>
        <p:nvSpPr>
          <p:cNvPr id="12" name="Espace réservé du pied de page 11"/>
          <p:cNvSpPr>
            <a:spLocks noGrp="1"/>
          </p:cNvSpPr>
          <p:nvPr>
            <p:ph type="ftr" sz="quarter" idx="17"/>
          </p:nvPr>
        </p:nvSpPr>
        <p:spPr bwMode="gray">
          <a:xfrm>
            <a:off x="468312" y="524188"/>
            <a:ext cx="4824413" cy="360000"/>
          </a:xfrm>
        </p:spPr>
        <p:txBody>
          <a:bodyPr/>
          <a:lstStyle>
            <a:lvl1pPr algn="l">
              <a:defRPr sz="1800" b="0">
                <a:solidFill>
                  <a:schemeClr val="bg1"/>
                </a:solidFill>
              </a:defRPr>
            </a:lvl1pPr>
          </a:lstStyle>
          <a:p>
            <a:r>
              <a:rPr lang="en-US">
                <a:solidFill>
                  <a:prstClr val="white"/>
                </a:solidFill>
              </a:rPr>
              <a:t>#vaccelerate</a:t>
            </a:r>
          </a:p>
        </p:txBody>
      </p:sp>
      <p:sp>
        <p:nvSpPr>
          <p:cNvPr id="15" name="Espace réservé du texte 14"/>
          <p:cNvSpPr>
            <a:spLocks noGrp="1"/>
          </p:cNvSpPr>
          <p:nvPr>
            <p:ph type="body" sz="quarter" idx="19" hasCustomPrompt="1"/>
          </p:nvPr>
        </p:nvSpPr>
        <p:spPr bwMode="gray">
          <a:xfrm>
            <a:off x="3635376" y="6021388"/>
            <a:ext cx="5113338" cy="324000"/>
          </a:xfrm>
        </p:spPr>
        <p:txBody>
          <a:bodyPr anchor="b" anchorCtr="0"/>
          <a:lstStyle>
            <a:lvl1pPr algn="r">
              <a:lnSpc>
                <a:spcPct val="100000"/>
              </a:lnSpc>
              <a:defRPr sz="1000" b="1">
                <a:solidFill>
                  <a:schemeClr val="accent3"/>
                </a:solidFill>
              </a:defRPr>
            </a:lvl1pPr>
          </a:lstStyle>
          <a:p>
            <a:pPr lvl="0"/>
            <a:r>
              <a:rPr lang="en-US" noProof="0"/>
              <a:t>Write your claim here</a:t>
            </a:r>
          </a:p>
        </p:txBody>
      </p:sp>
      <p:sp>
        <p:nvSpPr>
          <p:cNvPr id="16" name="Rectangle 15"/>
          <p:cNvSpPr/>
          <p:nvPr userDrawn="1"/>
        </p:nvSpPr>
        <p:spPr bwMode="gray">
          <a:xfrm>
            <a:off x="3635375" y="6354202"/>
            <a:ext cx="5113338" cy="2872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r"/>
            <a:r>
              <a:rPr lang="en-US" sz="1000" err="1">
                <a:solidFill>
                  <a:srgbClr val="95D600"/>
                </a:solidFill>
              </a:rPr>
              <a:t>www.gavi.org</a:t>
            </a:r>
            <a:endParaRPr lang="en-US" sz="1000">
              <a:solidFill>
                <a:srgbClr val="95D600"/>
              </a:solidFill>
            </a:endParaRPr>
          </a:p>
        </p:txBody>
      </p:sp>
      <p:cxnSp>
        <p:nvCxnSpPr>
          <p:cNvPr id="23" name="Connecteur droit 22"/>
          <p:cNvCxnSpPr/>
          <p:nvPr userDrawn="1"/>
        </p:nvCxnSpPr>
        <p:spPr bwMode="gray">
          <a:xfrm flipH="1">
            <a:off x="468313" y="3402000"/>
            <a:ext cx="2448000" cy="0"/>
          </a:xfrm>
          <a:prstGeom prst="line">
            <a:avLst/>
          </a:prstGeom>
          <a:ln w="24130">
            <a:solidFill>
              <a:schemeClr val="accent1"/>
            </a:solidFill>
          </a:ln>
        </p:spPr>
        <p:style>
          <a:lnRef idx="1">
            <a:schemeClr val="accent1"/>
          </a:lnRef>
          <a:fillRef idx="0">
            <a:schemeClr val="accent1"/>
          </a:fillRef>
          <a:effectRef idx="0">
            <a:schemeClr val="accent1"/>
          </a:effectRef>
          <a:fontRef idx="minor">
            <a:schemeClr val="tx1"/>
          </a:fontRef>
        </p:style>
      </p:cxnSp>
      <p:sp>
        <p:nvSpPr>
          <p:cNvPr id="17" name="Espace réservé du texte 16"/>
          <p:cNvSpPr>
            <a:spLocks noGrp="1"/>
          </p:cNvSpPr>
          <p:nvPr>
            <p:ph type="body" sz="quarter" idx="20" hasCustomPrompt="1"/>
          </p:nvPr>
        </p:nvSpPr>
        <p:spPr bwMode="gray">
          <a:xfrm>
            <a:off x="0" y="5157788"/>
            <a:ext cx="9144000" cy="287337"/>
          </a:xfrm>
          <a:solidFill>
            <a:schemeClr val="bg1"/>
          </a:solidFill>
        </p:spPr>
        <p:txBody>
          <a:bodyPr/>
          <a:lstStyle>
            <a:lvl1pPr>
              <a:defRPr sz="100" b="0">
                <a:solidFill>
                  <a:schemeClr val="bg1">
                    <a:alpha val="0"/>
                  </a:schemeClr>
                </a:solidFill>
              </a:defRPr>
            </a:lvl1pPr>
          </a:lstStyle>
          <a:p>
            <a:pPr lvl="0"/>
            <a:r>
              <a:rPr lang="en-US" noProof="0"/>
              <a:t> </a:t>
            </a:r>
          </a:p>
        </p:txBody>
      </p:sp>
    </p:spTree>
    <p:extLst>
      <p:ext uri="{BB962C8B-B14F-4D97-AF65-F5344CB8AC3E}">
        <p14:creationId xmlns:p14="http://schemas.microsoft.com/office/powerpoint/2010/main" val="3888701647"/>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userDrawn="1">
  <p:cSld name="Content_Layout">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p:txBody>
          <a:bodyPr/>
          <a:lstStyle/>
          <a:p>
            <a:r>
              <a:rPr lang="en-US" noProof="0"/>
              <a:t>TITLE</a:t>
            </a:r>
          </a:p>
        </p:txBody>
      </p:sp>
      <p:sp>
        <p:nvSpPr>
          <p:cNvPr id="3" name="Espace réservé du contenu 2"/>
          <p:cNvSpPr>
            <a:spLocks noGrp="1"/>
          </p:cNvSpPr>
          <p:nvPr>
            <p:ph idx="1" hasCustomPrompt="1"/>
          </p:nvPr>
        </p:nvSpPr>
        <p:spPr bwMode="gray">
          <a:xfrm>
            <a:off x="935038" y="1304933"/>
            <a:ext cx="7345362" cy="4716463"/>
          </a:xfrm>
        </p:spPr>
        <p:txBody>
          <a:bodyPr/>
          <a:lstStyle>
            <a:lvl2pPr>
              <a:defRPr/>
            </a:lvl2pPr>
            <a:lvl3pPr>
              <a:defRPr/>
            </a:lvl3pPr>
            <a:lvl4pPr>
              <a:defRPr baseline="0"/>
            </a:lvl4pPr>
            <a:lvl5pPr>
              <a:defRPr/>
            </a:lvl5pPr>
          </a:lstStyle>
          <a:p>
            <a:pPr lvl="0"/>
            <a:r>
              <a:rPr lang="en-US" noProof="0"/>
              <a:t>Text level 1</a:t>
            </a:r>
          </a:p>
          <a:p>
            <a:pPr lvl="1"/>
            <a:r>
              <a:rPr lang="en-US" noProof="0"/>
              <a:t>Text level 2</a:t>
            </a:r>
          </a:p>
          <a:p>
            <a:pPr lvl="2"/>
            <a:r>
              <a:rPr lang="en-US" noProof="0"/>
              <a:t>Text level 3</a:t>
            </a:r>
          </a:p>
          <a:p>
            <a:pPr lvl="3"/>
            <a:r>
              <a:rPr lang="en-US" noProof="0"/>
              <a:t>Text level 4</a:t>
            </a:r>
          </a:p>
          <a:p>
            <a:pPr lvl="4"/>
            <a:r>
              <a:rPr lang="en-US" noProof="0"/>
              <a:t>Text level 5</a:t>
            </a:r>
          </a:p>
        </p:txBody>
      </p:sp>
      <p:sp>
        <p:nvSpPr>
          <p:cNvPr id="13" name="Espace réservé de la date 12"/>
          <p:cNvSpPr>
            <a:spLocks noGrp="1"/>
          </p:cNvSpPr>
          <p:nvPr>
            <p:ph type="dt" sz="half" idx="10"/>
          </p:nvPr>
        </p:nvSpPr>
        <p:spPr bwMode="gray">
          <a:xfrm>
            <a:off x="17" y="6498000"/>
            <a:ext cx="935039" cy="360000"/>
          </a:xfrm>
          <a:prstGeom prst="rect">
            <a:avLst/>
          </a:prstGeom>
        </p:spPr>
        <p:txBody>
          <a:bodyPr/>
          <a:lstStyle/>
          <a:p>
            <a:r>
              <a:rPr lang="en-US">
                <a:solidFill>
                  <a:prstClr val="white">
                    <a:alpha val="0"/>
                  </a:prstClr>
                </a:solidFill>
              </a:rPr>
              <a:t>Date</a:t>
            </a:r>
          </a:p>
        </p:txBody>
      </p:sp>
      <p:sp>
        <p:nvSpPr>
          <p:cNvPr id="14" name="Espace réservé du numéro de diapositive 13"/>
          <p:cNvSpPr>
            <a:spLocks noGrp="1"/>
          </p:cNvSpPr>
          <p:nvPr>
            <p:ph type="sldNum" sz="quarter" idx="11"/>
          </p:nvPr>
        </p:nvSpPr>
        <p:spPr bwMode="gray"/>
        <p:txBody>
          <a:bodyPr/>
          <a:lstStyle/>
          <a:p>
            <a:fld id="{733122C9-A0B9-462F-8757-0847AD287B63}" type="slidenum">
              <a:rPr lang="en-US" smtClean="0">
                <a:solidFill>
                  <a:srgbClr val="343434"/>
                </a:solidFill>
              </a:rPr>
              <a:pPr/>
              <a:t>‹#›</a:t>
            </a:fld>
            <a:endParaRPr lang="en-US">
              <a:solidFill>
                <a:srgbClr val="343434"/>
              </a:solidFill>
            </a:endParaRPr>
          </a:p>
        </p:txBody>
      </p:sp>
      <p:sp>
        <p:nvSpPr>
          <p:cNvPr id="15" name="Espace réservé du pied de page 14"/>
          <p:cNvSpPr>
            <a:spLocks noGrp="1"/>
          </p:cNvSpPr>
          <p:nvPr>
            <p:ph type="ftr" sz="quarter" idx="12"/>
          </p:nvPr>
        </p:nvSpPr>
        <p:spPr bwMode="gray">
          <a:xfrm>
            <a:off x="2412000" y="6498000"/>
            <a:ext cx="4320000" cy="360000"/>
          </a:xfrm>
          <a:prstGeom prst="rect">
            <a:avLst/>
          </a:prstGeom>
        </p:spPr>
        <p:txBody>
          <a:bodyPr/>
          <a:lstStyle/>
          <a:p>
            <a:r>
              <a:rPr lang="en-US" sz="1400" kern="0">
                <a:solidFill>
                  <a:srgbClr val="005CB9"/>
                </a:solidFill>
                <a:cs typeface="Arial"/>
                <a:sym typeface="Arial"/>
              </a:rPr>
              <a:t>#add your hashtag</a:t>
            </a:r>
          </a:p>
        </p:txBody>
      </p:sp>
    </p:spTree>
    <p:extLst>
      <p:ext uri="{BB962C8B-B14F-4D97-AF65-F5344CB8AC3E}">
        <p14:creationId xmlns:p14="http://schemas.microsoft.com/office/powerpoint/2010/main" val="29007105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pic>
        <p:nvPicPr>
          <p:cNvPr id="6" name="Image 18" descr="FD_02.pn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gray">
          <a:xfrm>
            <a:off x="0" y="0"/>
            <a:ext cx="9144000" cy="51577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7" name="Rectangle 6"/>
          <p:cNvSpPr/>
          <p:nvPr userDrawn="1"/>
        </p:nvSpPr>
        <p:spPr bwMode="gray">
          <a:xfrm>
            <a:off x="3635375" y="5265738"/>
            <a:ext cx="5508625" cy="15922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prstClr val="white"/>
              </a:solidFill>
            </a:endParaRPr>
          </a:p>
        </p:txBody>
      </p:sp>
      <p:pic>
        <p:nvPicPr>
          <p:cNvPr id="10" name="Image 19" descr="Bas_couv.png"/>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gray">
          <a:xfrm>
            <a:off x="0" y="5172075"/>
            <a:ext cx="3635375" cy="16859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1" name="Rectangle 10"/>
          <p:cNvSpPr/>
          <p:nvPr userDrawn="1"/>
        </p:nvSpPr>
        <p:spPr bwMode="gray">
          <a:xfrm>
            <a:off x="3635375" y="6354763"/>
            <a:ext cx="5113338" cy="2873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p>
            <a:pPr algn="r">
              <a:defRPr/>
            </a:pPr>
            <a:r>
              <a:rPr lang="en-US" sz="1000" dirty="0" err="1">
                <a:solidFill>
                  <a:srgbClr val="95D600"/>
                </a:solidFill>
              </a:rPr>
              <a:t>www.gavi.org</a:t>
            </a:r>
            <a:endParaRPr lang="en-US" sz="1000" dirty="0">
              <a:solidFill>
                <a:srgbClr val="95D600"/>
              </a:solidFill>
            </a:endParaRPr>
          </a:p>
        </p:txBody>
      </p:sp>
      <p:cxnSp>
        <p:nvCxnSpPr>
          <p:cNvPr id="12" name="Connecteur droit 22"/>
          <p:cNvCxnSpPr/>
          <p:nvPr userDrawn="1"/>
        </p:nvCxnSpPr>
        <p:spPr bwMode="gray">
          <a:xfrm flipH="1">
            <a:off x="468313" y="3402013"/>
            <a:ext cx="2447925" cy="0"/>
          </a:xfrm>
          <a:prstGeom prst="line">
            <a:avLst/>
          </a:prstGeom>
          <a:ln w="24130">
            <a:solidFill>
              <a:schemeClr val="accent1"/>
            </a:solidFill>
          </a:ln>
        </p:spPr>
        <p:style>
          <a:lnRef idx="1">
            <a:schemeClr val="accent1"/>
          </a:lnRef>
          <a:fillRef idx="0">
            <a:schemeClr val="accent1"/>
          </a:fillRef>
          <a:effectRef idx="0">
            <a:schemeClr val="accent1"/>
          </a:effectRef>
          <a:fontRef idx="minor">
            <a:schemeClr val="tx1"/>
          </a:fontRef>
        </p:style>
      </p:cxnSp>
      <p:sp>
        <p:nvSpPr>
          <p:cNvPr id="9" name="Espace réservé du texte 8"/>
          <p:cNvSpPr>
            <a:spLocks noGrp="1"/>
          </p:cNvSpPr>
          <p:nvPr>
            <p:ph type="body" sz="quarter" idx="13"/>
          </p:nvPr>
        </p:nvSpPr>
        <p:spPr bwMode="gray">
          <a:xfrm>
            <a:off x="468314" y="1036800"/>
            <a:ext cx="4824412" cy="2232000"/>
          </a:xfrm>
        </p:spPr>
        <p:txBody>
          <a:bodyPr anchor="b"/>
          <a:lstStyle>
            <a:lvl1pPr marL="0" indent="0" algn="l">
              <a:lnSpc>
                <a:spcPct val="90000"/>
              </a:lnSpc>
              <a:buNone/>
              <a:defRPr sz="2800" b="1" cap="none" baseline="0">
                <a:solidFill>
                  <a:schemeClr val="bg1"/>
                </a:solidFill>
              </a:defRPr>
            </a:lvl1pPr>
            <a:lvl2pPr marL="0" algn="ctr">
              <a:lnSpc>
                <a:spcPct val="100000"/>
              </a:lnSpc>
              <a:spcBef>
                <a:spcPts val="6900"/>
              </a:spcBef>
              <a:defRPr sz="2000" b="1">
                <a:solidFill>
                  <a:schemeClr val="bg1"/>
                </a:solidFill>
              </a:defRPr>
            </a:lvl2pPr>
          </a:lstStyle>
          <a:p>
            <a:pPr lvl="0"/>
            <a:r>
              <a:rPr lang="en-US" noProof="0" smtClean="0"/>
              <a:t>Click to edit Master text styles</a:t>
            </a:r>
          </a:p>
        </p:txBody>
      </p:sp>
      <p:sp>
        <p:nvSpPr>
          <p:cNvPr id="8" name="Espace réservé du texte 8"/>
          <p:cNvSpPr>
            <a:spLocks noGrp="1"/>
          </p:cNvSpPr>
          <p:nvPr>
            <p:ph type="body" sz="quarter" idx="14"/>
          </p:nvPr>
        </p:nvSpPr>
        <p:spPr bwMode="gray">
          <a:xfrm>
            <a:off x="468314" y="3585600"/>
            <a:ext cx="4824411" cy="1479600"/>
          </a:xfrm>
        </p:spPr>
        <p:txBody>
          <a:bodyPr/>
          <a:lstStyle>
            <a:lvl1pPr marL="0" indent="0" algn="l">
              <a:lnSpc>
                <a:spcPct val="90000"/>
              </a:lnSpc>
              <a:buNone/>
              <a:defRPr sz="2000" b="0" baseline="0">
                <a:solidFill>
                  <a:schemeClr val="bg1"/>
                </a:solidFill>
              </a:defRPr>
            </a:lvl1pPr>
            <a:lvl2pPr marL="0" algn="ctr">
              <a:lnSpc>
                <a:spcPct val="100000"/>
              </a:lnSpc>
              <a:spcBef>
                <a:spcPts val="6900"/>
              </a:spcBef>
              <a:defRPr sz="2000" b="1">
                <a:solidFill>
                  <a:schemeClr val="bg1"/>
                </a:solidFill>
              </a:defRPr>
            </a:lvl2pPr>
          </a:lstStyle>
          <a:p>
            <a:pPr lvl="0"/>
            <a:r>
              <a:rPr lang="en-US" noProof="0" smtClean="0"/>
              <a:t>Click to edit Master text styles</a:t>
            </a:r>
          </a:p>
        </p:txBody>
      </p:sp>
      <p:sp>
        <p:nvSpPr>
          <p:cNvPr id="15" name="Espace réservé du texte 14"/>
          <p:cNvSpPr>
            <a:spLocks noGrp="1"/>
          </p:cNvSpPr>
          <p:nvPr>
            <p:ph type="body" sz="quarter" idx="19"/>
          </p:nvPr>
        </p:nvSpPr>
        <p:spPr bwMode="gray">
          <a:xfrm>
            <a:off x="3635376" y="6021388"/>
            <a:ext cx="5113338" cy="324000"/>
          </a:xfrm>
        </p:spPr>
        <p:txBody>
          <a:bodyPr anchor="b"/>
          <a:lstStyle>
            <a:lvl1pPr algn="r">
              <a:lnSpc>
                <a:spcPct val="100000"/>
              </a:lnSpc>
              <a:defRPr sz="1000" b="1">
                <a:solidFill>
                  <a:schemeClr val="accent3"/>
                </a:solidFill>
              </a:defRPr>
            </a:lvl1pPr>
          </a:lstStyle>
          <a:p>
            <a:pPr lvl="0"/>
            <a:r>
              <a:rPr lang="en-US" noProof="0" smtClean="0"/>
              <a:t>Click to edit Master text styles</a:t>
            </a:r>
          </a:p>
        </p:txBody>
      </p:sp>
      <p:sp>
        <p:nvSpPr>
          <p:cNvPr id="17" name="Espace réservé du texte 16"/>
          <p:cNvSpPr>
            <a:spLocks noGrp="1"/>
          </p:cNvSpPr>
          <p:nvPr>
            <p:ph type="body" sz="quarter" idx="20"/>
          </p:nvPr>
        </p:nvSpPr>
        <p:spPr bwMode="gray">
          <a:xfrm>
            <a:off x="0" y="5157788"/>
            <a:ext cx="9144000" cy="287337"/>
          </a:xfrm>
          <a:solidFill>
            <a:schemeClr val="bg1"/>
          </a:solidFill>
        </p:spPr>
        <p:txBody>
          <a:bodyPr/>
          <a:lstStyle>
            <a:lvl1pPr>
              <a:defRPr sz="100" b="0">
                <a:solidFill>
                  <a:schemeClr val="bg1">
                    <a:alpha val="0"/>
                  </a:schemeClr>
                </a:solidFill>
              </a:defRPr>
            </a:lvl1pPr>
          </a:lstStyle>
          <a:p>
            <a:pPr lvl="0"/>
            <a:r>
              <a:rPr lang="en-US" noProof="0" smtClean="0"/>
              <a:t>Click to edit Master text styles</a:t>
            </a:r>
          </a:p>
        </p:txBody>
      </p:sp>
      <p:sp>
        <p:nvSpPr>
          <p:cNvPr id="13" name="Espace réservé de la date 9"/>
          <p:cNvSpPr>
            <a:spLocks noGrp="1"/>
          </p:cNvSpPr>
          <p:nvPr>
            <p:ph type="dt" sz="half" idx="21"/>
          </p:nvPr>
        </p:nvSpPr>
        <p:spPr/>
        <p:txBody>
          <a:bodyPr/>
          <a:lstStyle>
            <a:lvl1pPr>
              <a:defRPr/>
            </a:lvl1pPr>
          </a:lstStyle>
          <a:p>
            <a:pPr>
              <a:defRPr/>
            </a:pPr>
            <a:r>
              <a:rPr lang="en-US">
                <a:solidFill>
                  <a:prstClr val="white">
                    <a:alpha val="0"/>
                  </a:prstClr>
                </a:solidFill>
              </a:rPr>
              <a:t>Date</a:t>
            </a:r>
          </a:p>
        </p:txBody>
      </p:sp>
      <p:sp>
        <p:nvSpPr>
          <p:cNvPr id="14" name="Espace réservé du numéro de diapositive 10"/>
          <p:cNvSpPr>
            <a:spLocks noGrp="1"/>
          </p:cNvSpPr>
          <p:nvPr>
            <p:ph type="sldNum" sz="quarter" idx="22"/>
          </p:nvPr>
        </p:nvSpPr>
        <p:spPr/>
        <p:txBody>
          <a:bodyPr/>
          <a:lstStyle>
            <a:lvl1pPr>
              <a:defRPr sz="100">
                <a:solidFill>
                  <a:schemeClr val="bg1">
                    <a:alpha val="0"/>
                  </a:schemeClr>
                </a:solidFill>
              </a:defRPr>
            </a:lvl1pPr>
          </a:lstStyle>
          <a:p>
            <a:pPr>
              <a:defRPr/>
            </a:pPr>
            <a:r>
              <a:rPr lang="en-US">
                <a:solidFill>
                  <a:prstClr val="white">
                    <a:alpha val="0"/>
                  </a:prstClr>
                </a:solidFill>
              </a:rPr>
              <a:t>Page: </a:t>
            </a:r>
            <a:fld id="{541ADD26-9626-44B7-849C-716E619042DF}" type="slidenum">
              <a:rPr lang="en-US">
                <a:solidFill>
                  <a:prstClr val="white">
                    <a:alpha val="0"/>
                  </a:prstClr>
                </a:solidFill>
              </a:rPr>
              <a:pPr>
                <a:defRPr/>
              </a:pPr>
              <a:t>‹#›</a:t>
            </a:fld>
            <a:endParaRPr lang="en-US">
              <a:solidFill>
                <a:prstClr val="white">
                  <a:alpha val="0"/>
                </a:prstClr>
              </a:solidFill>
            </a:endParaRPr>
          </a:p>
        </p:txBody>
      </p:sp>
      <p:sp>
        <p:nvSpPr>
          <p:cNvPr id="16" name="Espace réservé du pied de page 11"/>
          <p:cNvSpPr>
            <a:spLocks noGrp="1"/>
          </p:cNvSpPr>
          <p:nvPr>
            <p:ph type="ftr" sz="quarter" idx="23"/>
          </p:nvPr>
        </p:nvSpPr>
        <p:spPr>
          <a:xfrm>
            <a:off x="468313" y="523875"/>
            <a:ext cx="4824412" cy="360363"/>
          </a:xfrm>
        </p:spPr>
        <p:txBody>
          <a:bodyPr/>
          <a:lstStyle>
            <a:lvl1pPr algn="l">
              <a:defRPr sz="1800" b="0">
                <a:solidFill>
                  <a:schemeClr val="bg1"/>
                </a:solidFill>
              </a:defRPr>
            </a:lvl1pPr>
          </a:lstStyle>
          <a:p>
            <a:pPr>
              <a:defRPr/>
            </a:pPr>
            <a:r>
              <a:rPr lang="en-US">
                <a:solidFill>
                  <a:prstClr val="white"/>
                </a:solidFill>
              </a:rPr>
              <a:t>#vaccelerate</a:t>
            </a:r>
          </a:p>
        </p:txBody>
      </p:sp>
    </p:spTree>
    <p:extLst>
      <p:ext uri="{BB962C8B-B14F-4D97-AF65-F5344CB8AC3E}">
        <p14:creationId xmlns:p14="http://schemas.microsoft.com/office/powerpoint/2010/main" val="431645495"/>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Cover_Picture_1">
    <p:spTree>
      <p:nvGrpSpPr>
        <p:cNvPr id="1" name=""/>
        <p:cNvGrpSpPr/>
        <p:nvPr/>
      </p:nvGrpSpPr>
      <p:grpSpPr>
        <a:xfrm>
          <a:off x="0" y="0"/>
          <a:ext cx="0" cy="0"/>
          <a:chOff x="0" y="0"/>
          <a:chExt cx="0" cy="0"/>
        </a:xfrm>
      </p:grpSpPr>
      <p:pic>
        <p:nvPicPr>
          <p:cNvPr id="7" name="Image 20" descr="FD_1_L254.png"/>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gray">
          <a:xfrm>
            <a:off x="0" y="0"/>
            <a:ext cx="9144000" cy="51577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0" name="Rectangle 9"/>
          <p:cNvSpPr/>
          <p:nvPr userDrawn="1"/>
        </p:nvSpPr>
        <p:spPr bwMode="gray">
          <a:xfrm>
            <a:off x="3635375" y="5265738"/>
            <a:ext cx="5508625" cy="15922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prstClr val="white"/>
              </a:solidFill>
            </a:endParaRPr>
          </a:p>
        </p:txBody>
      </p:sp>
      <p:pic>
        <p:nvPicPr>
          <p:cNvPr id="11" name="Image 19" descr="Bas_couv.png"/>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gray">
          <a:xfrm>
            <a:off x="0" y="5172075"/>
            <a:ext cx="3635375" cy="16859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2" name="Rectangle 11"/>
          <p:cNvSpPr/>
          <p:nvPr userDrawn="1"/>
        </p:nvSpPr>
        <p:spPr bwMode="gray">
          <a:xfrm>
            <a:off x="3635375" y="6354763"/>
            <a:ext cx="5113338" cy="2873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p>
            <a:pPr algn="r">
              <a:defRPr/>
            </a:pPr>
            <a:r>
              <a:rPr lang="en-US" sz="1000" dirty="0" err="1">
                <a:solidFill>
                  <a:srgbClr val="95D600"/>
                </a:solidFill>
              </a:rPr>
              <a:t>www.gavi.org</a:t>
            </a:r>
            <a:endParaRPr lang="en-US" sz="1000" dirty="0">
              <a:solidFill>
                <a:srgbClr val="95D600"/>
              </a:solidFill>
            </a:endParaRPr>
          </a:p>
        </p:txBody>
      </p:sp>
      <p:cxnSp>
        <p:nvCxnSpPr>
          <p:cNvPr id="13" name="Connecteur droit 22"/>
          <p:cNvCxnSpPr/>
          <p:nvPr userDrawn="1"/>
        </p:nvCxnSpPr>
        <p:spPr bwMode="gray">
          <a:xfrm flipH="1">
            <a:off x="468313" y="3402013"/>
            <a:ext cx="2447925" cy="0"/>
          </a:xfrm>
          <a:prstGeom prst="line">
            <a:avLst/>
          </a:prstGeom>
          <a:ln w="24130">
            <a:solidFill>
              <a:schemeClr val="accent1"/>
            </a:solidFill>
          </a:ln>
        </p:spPr>
        <p:style>
          <a:lnRef idx="1">
            <a:schemeClr val="accent1"/>
          </a:lnRef>
          <a:fillRef idx="0">
            <a:schemeClr val="accent1"/>
          </a:fillRef>
          <a:effectRef idx="0">
            <a:schemeClr val="accent1"/>
          </a:effectRef>
          <a:fontRef idx="minor">
            <a:schemeClr val="tx1"/>
          </a:fontRef>
        </p:style>
      </p:cxnSp>
      <p:sp>
        <p:nvSpPr>
          <p:cNvPr id="9" name="Espace réservé du texte 8"/>
          <p:cNvSpPr>
            <a:spLocks noGrp="1"/>
          </p:cNvSpPr>
          <p:nvPr>
            <p:ph type="body" sz="quarter" idx="13"/>
          </p:nvPr>
        </p:nvSpPr>
        <p:spPr bwMode="gray">
          <a:xfrm>
            <a:off x="468314" y="1036638"/>
            <a:ext cx="4824412" cy="2231392"/>
          </a:xfrm>
        </p:spPr>
        <p:txBody>
          <a:bodyPr anchor="b"/>
          <a:lstStyle>
            <a:lvl1pPr marL="0" indent="0" algn="l">
              <a:lnSpc>
                <a:spcPct val="90000"/>
              </a:lnSpc>
              <a:buNone/>
              <a:defRPr sz="2800" b="1" cap="none" baseline="0">
                <a:solidFill>
                  <a:schemeClr val="bg1"/>
                </a:solidFill>
              </a:defRPr>
            </a:lvl1pPr>
            <a:lvl2pPr marL="0" algn="ctr">
              <a:lnSpc>
                <a:spcPct val="100000"/>
              </a:lnSpc>
              <a:spcBef>
                <a:spcPts val="6900"/>
              </a:spcBef>
              <a:defRPr sz="2000" b="1">
                <a:solidFill>
                  <a:schemeClr val="bg1"/>
                </a:solidFill>
              </a:defRPr>
            </a:lvl2pPr>
          </a:lstStyle>
          <a:p>
            <a:pPr lvl="0"/>
            <a:r>
              <a:rPr lang="en-US" noProof="0" smtClean="0"/>
              <a:t>Click to edit Master text styles</a:t>
            </a:r>
          </a:p>
        </p:txBody>
      </p:sp>
      <p:sp>
        <p:nvSpPr>
          <p:cNvPr id="8" name="Espace réservé du texte 8"/>
          <p:cNvSpPr>
            <a:spLocks noGrp="1"/>
          </p:cNvSpPr>
          <p:nvPr>
            <p:ph type="body" sz="quarter" idx="14"/>
          </p:nvPr>
        </p:nvSpPr>
        <p:spPr bwMode="gray">
          <a:xfrm>
            <a:off x="468314" y="3584637"/>
            <a:ext cx="3592800" cy="1477788"/>
          </a:xfrm>
        </p:spPr>
        <p:txBody>
          <a:bodyPr/>
          <a:lstStyle>
            <a:lvl1pPr marL="0" indent="0" algn="l">
              <a:lnSpc>
                <a:spcPct val="90000"/>
              </a:lnSpc>
              <a:buNone/>
              <a:defRPr sz="2000" b="0" baseline="0">
                <a:solidFill>
                  <a:schemeClr val="bg1"/>
                </a:solidFill>
              </a:defRPr>
            </a:lvl1pPr>
            <a:lvl2pPr marL="0" algn="ctr">
              <a:lnSpc>
                <a:spcPct val="100000"/>
              </a:lnSpc>
              <a:spcBef>
                <a:spcPts val="6900"/>
              </a:spcBef>
              <a:defRPr sz="2000" b="1">
                <a:solidFill>
                  <a:schemeClr val="bg1"/>
                </a:solidFill>
              </a:defRPr>
            </a:lvl2pPr>
          </a:lstStyle>
          <a:p>
            <a:pPr lvl="0"/>
            <a:r>
              <a:rPr lang="en-US" noProof="0" smtClean="0"/>
              <a:t>Click to edit Master text styles</a:t>
            </a:r>
          </a:p>
        </p:txBody>
      </p:sp>
      <p:sp>
        <p:nvSpPr>
          <p:cNvPr id="15" name="Espace réservé du texte 14"/>
          <p:cNvSpPr>
            <a:spLocks noGrp="1"/>
          </p:cNvSpPr>
          <p:nvPr>
            <p:ph type="body" sz="quarter" idx="19"/>
          </p:nvPr>
        </p:nvSpPr>
        <p:spPr bwMode="gray">
          <a:xfrm>
            <a:off x="3635376" y="6021388"/>
            <a:ext cx="5113338" cy="324000"/>
          </a:xfrm>
        </p:spPr>
        <p:txBody>
          <a:bodyPr anchor="b"/>
          <a:lstStyle>
            <a:lvl1pPr algn="r">
              <a:lnSpc>
                <a:spcPct val="100000"/>
              </a:lnSpc>
              <a:defRPr sz="1000" b="1">
                <a:solidFill>
                  <a:schemeClr val="accent3"/>
                </a:solidFill>
              </a:defRPr>
            </a:lvl1pPr>
          </a:lstStyle>
          <a:p>
            <a:pPr lvl="0"/>
            <a:r>
              <a:rPr lang="en-US" noProof="0" smtClean="0"/>
              <a:t>Click to edit Master text styles</a:t>
            </a:r>
          </a:p>
        </p:txBody>
      </p:sp>
      <p:sp>
        <p:nvSpPr>
          <p:cNvPr id="17" name="Espace réservé du texte 16"/>
          <p:cNvSpPr>
            <a:spLocks noGrp="1"/>
          </p:cNvSpPr>
          <p:nvPr>
            <p:ph type="body" sz="quarter" idx="20"/>
          </p:nvPr>
        </p:nvSpPr>
        <p:spPr bwMode="gray">
          <a:xfrm>
            <a:off x="0" y="5157788"/>
            <a:ext cx="9144000" cy="287337"/>
          </a:xfrm>
          <a:solidFill>
            <a:schemeClr val="bg1"/>
          </a:solidFill>
        </p:spPr>
        <p:txBody>
          <a:bodyPr/>
          <a:lstStyle>
            <a:lvl1pPr>
              <a:defRPr sz="100" b="0">
                <a:solidFill>
                  <a:schemeClr val="bg1">
                    <a:alpha val="0"/>
                  </a:schemeClr>
                </a:solidFill>
              </a:defRPr>
            </a:lvl1pPr>
          </a:lstStyle>
          <a:p>
            <a:pPr lvl="0"/>
            <a:r>
              <a:rPr lang="en-US" noProof="0" smtClean="0"/>
              <a:t>Click to edit Master text styles</a:t>
            </a:r>
          </a:p>
        </p:txBody>
      </p:sp>
      <p:sp>
        <p:nvSpPr>
          <p:cNvPr id="24" name="Espace réservé pour une image  17"/>
          <p:cNvSpPr>
            <a:spLocks noGrp="1"/>
          </p:cNvSpPr>
          <p:nvPr>
            <p:ph type="pic" sz="quarter" idx="18"/>
          </p:nvPr>
        </p:nvSpPr>
        <p:spPr bwMode="gray">
          <a:xfrm>
            <a:off x="4192588" y="0"/>
            <a:ext cx="4951412" cy="5162400"/>
          </a:xfrm>
          <a:custGeom>
            <a:avLst/>
            <a:gdLst>
              <a:gd name="connsiteX0" fmla="*/ 0 w 3851275"/>
              <a:gd name="connsiteY0" fmla="*/ 0 h 5157788"/>
              <a:gd name="connsiteX1" fmla="*/ 3851275 w 3851275"/>
              <a:gd name="connsiteY1" fmla="*/ 0 h 5157788"/>
              <a:gd name="connsiteX2" fmla="*/ 3851275 w 3851275"/>
              <a:gd name="connsiteY2" fmla="*/ 5157788 h 5157788"/>
              <a:gd name="connsiteX3" fmla="*/ 0 w 3851275"/>
              <a:gd name="connsiteY3" fmla="*/ 5157788 h 5157788"/>
              <a:gd name="connsiteX4" fmla="*/ 0 w 3851275"/>
              <a:gd name="connsiteY4"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0 w 3851275"/>
              <a:gd name="connsiteY3" fmla="*/ 5157788 h 5157788"/>
              <a:gd name="connsiteX4" fmla="*/ 1692275 w 3851275"/>
              <a:gd name="connsiteY4" fmla="*/ 0 h 5157788"/>
              <a:gd name="connsiteX0" fmla="*/ 0 w 2159000"/>
              <a:gd name="connsiteY0" fmla="*/ 0 h 5157788"/>
              <a:gd name="connsiteX1" fmla="*/ 2159000 w 2159000"/>
              <a:gd name="connsiteY1" fmla="*/ 0 h 5157788"/>
              <a:gd name="connsiteX2" fmla="*/ 2159000 w 2159000"/>
              <a:gd name="connsiteY2" fmla="*/ 5157788 h 5157788"/>
              <a:gd name="connsiteX3" fmla="*/ 0 w 2159000"/>
              <a:gd name="connsiteY3" fmla="*/ 5157788 h 5157788"/>
              <a:gd name="connsiteX4" fmla="*/ 0 w 2159000"/>
              <a:gd name="connsiteY4" fmla="*/ 0 h 5157788"/>
              <a:gd name="connsiteX0" fmla="*/ 2625271 w 4784271"/>
              <a:gd name="connsiteY0" fmla="*/ 0 h 5157788"/>
              <a:gd name="connsiteX1" fmla="*/ 4784271 w 4784271"/>
              <a:gd name="connsiteY1" fmla="*/ 0 h 5157788"/>
              <a:gd name="connsiteX2" fmla="*/ 4784271 w 4784271"/>
              <a:gd name="connsiteY2" fmla="*/ 5157788 h 5157788"/>
              <a:gd name="connsiteX3" fmla="*/ 2625271 w 4784271"/>
              <a:gd name="connsiteY3" fmla="*/ 5157788 h 5157788"/>
              <a:gd name="connsiteX4" fmla="*/ 2625271 w 4784271"/>
              <a:gd name="connsiteY4" fmla="*/ 0 h 5157788"/>
              <a:gd name="connsiteX0" fmla="*/ 2625271 w 4784271"/>
              <a:gd name="connsiteY0" fmla="*/ 0 h 5157788"/>
              <a:gd name="connsiteX1" fmla="*/ 4784271 w 4784271"/>
              <a:gd name="connsiteY1" fmla="*/ 0 h 5157788"/>
              <a:gd name="connsiteX2" fmla="*/ 4784271 w 4784271"/>
              <a:gd name="connsiteY2" fmla="*/ 5157788 h 5157788"/>
              <a:gd name="connsiteX3" fmla="*/ 2625271 w 4784271"/>
              <a:gd name="connsiteY3" fmla="*/ 5157788 h 5157788"/>
              <a:gd name="connsiteX4" fmla="*/ 2625271 w 4784271"/>
              <a:gd name="connsiteY4" fmla="*/ 0 h 5157788"/>
              <a:gd name="connsiteX0" fmla="*/ 3568576 w 5727576"/>
              <a:gd name="connsiteY0" fmla="*/ 0 h 5157788"/>
              <a:gd name="connsiteX1" fmla="*/ 5727576 w 5727576"/>
              <a:gd name="connsiteY1" fmla="*/ 0 h 5157788"/>
              <a:gd name="connsiteX2" fmla="*/ 5727576 w 5727576"/>
              <a:gd name="connsiteY2" fmla="*/ 5157788 h 5157788"/>
              <a:gd name="connsiteX3" fmla="*/ 3568576 w 5727576"/>
              <a:gd name="connsiteY3" fmla="*/ 5157788 h 5157788"/>
              <a:gd name="connsiteX4" fmla="*/ 3568576 w 5727576"/>
              <a:gd name="connsiteY4" fmla="*/ 0 h 5157788"/>
              <a:gd name="connsiteX0" fmla="*/ 3306355 w 5465355"/>
              <a:gd name="connsiteY0" fmla="*/ 0 h 5157788"/>
              <a:gd name="connsiteX1" fmla="*/ 5465355 w 5465355"/>
              <a:gd name="connsiteY1" fmla="*/ 0 h 5157788"/>
              <a:gd name="connsiteX2" fmla="*/ 5465355 w 5465355"/>
              <a:gd name="connsiteY2" fmla="*/ 5157788 h 5157788"/>
              <a:gd name="connsiteX3" fmla="*/ 3306355 w 5465355"/>
              <a:gd name="connsiteY3" fmla="*/ 5157788 h 5157788"/>
              <a:gd name="connsiteX4" fmla="*/ 3306355 w 5465355"/>
              <a:gd name="connsiteY4" fmla="*/ 0 h 5157788"/>
              <a:gd name="connsiteX0" fmla="*/ 1416957 w 3575957"/>
              <a:gd name="connsiteY0" fmla="*/ 0 h 5157788"/>
              <a:gd name="connsiteX1" fmla="*/ 3575957 w 3575957"/>
              <a:gd name="connsiteY1" fmla="*/ 0 h 5157788"/>
              <a:gd name="connsiteX2" fmla="*/ 3575957 w 3575957"/>
              <a:gd name="connsiteY2" fmla="*/ 5157788 h 5157788"/>
              <a:gd name="connsiteX3" fmla="*/ 1416957 w 3575957"/>
              <a:gd name="connsiteY3" fmla="*/ 5157788 h 5157788"/>
              <a:gd name="connsiteX4" fmla="*/ 0 w 3575957"/>
              <a:gd name="connsiteY4" fmla="*/ 3339193 h 5157788"/>
              <a:gd name="connsiteX5" fmla="*/ 1416957 w 3575957"/>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6017419"/>
              <a:gd name="connsiteX1" fmla="*/ 3851275 w 3851275"/>
              <a:gd name="connsiteY1" fmla="*/ 0 h 6017419"/>
              <a:gd name="connsiteX2" fmla="*/ 3851275 w 3851275"/>
              <a:gd name="connsiteY2" fmla="*/ 5157788 h 6017419"/>
              <a:gd name="connsiteX3" fmla="*/ 1692275 w 3851275"/>
              <a:gd name="connsiteY3" fmla="*/ 5157788 h 6017419"/>
              <a:gd name="connsiteX4" fmla="*/ 0 w 3851275"/>
              <a:gd name="connsiteY4" fmla="*/ 3284984 h 6017419"/>
              <a:gd name="connsiteX5" fmla="*/ 1692275 w 3851275"/>
              <a:gd name="connsiteY5" fmla="*/ 0 h 6017419"/>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429000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429000 h 5157788"/>
              <a:gd name="connsiteX5" fmla="*/ 1710871 w 3869871"/>
              <a:gd name="connsiteY5" fmla="*/ 0 h 5157788"/>
              <a:gd name="connsiteX0" fmla="*/ 1704975 w 3863975"/>
              <a:gd name="connsiteY0" fmla="*/ 0 h 5157788"/>
              <a:gd name="connsiteX1" fmla="*/ 3863975 w 3863975"/>
              <a:gd name="connsiteY1" fmla="*/ 0 h 5157788"/>
              <a:gd name="connsiteX2" fmla="*/ 3863975 w 3863975"/>
              <a:gd name="connsiteY2" fmla="*/ 5157788 h 5157788"/>
              <a:gd name="connsiteX3" fmla="*/ 1704975 w 3863975"/>
              <a:gd name="connsiteY3" fmla="*/ 5157788 h 5157788"/>
              <a:gd name="connsiteX4" fmla="*/ 12700 w 3863975"/>
              <a:gd name="connsiteY4" fmla="*/ 3429000 h 5157788"/>
              <a:gd name="connsiteX5" fmla="*/ 1704975 w 3863975"/>
              <a:gd name="connsiteY5" fmla="*/ 0 h 5157788"/>
              <a:gd name="connsiteX0" fmla="*/ 1707243 w 3866243"/>
              <a:gd name="connsiteY0" fmla="*/ 0 h 5157788"/>
              <a:gd name="connsiteX1" fmla="*/ 3866243 w 3866243"/>
              <a:gd name="connsiteY1" fmla="*/ 0 h 5157788"/>
              <a:gd name="connsiteX2" fmla="*/ 3866243 w 3866243"/>
              <a:gd name="connsiteY2" fmla="*/ 5157788 h 5157788"/>
              <a:gd name="connsiteX3" fmla="*/ 1707243 w 3866243"/>
              <a:gd name="connsiteY3" fmla="*/ 5157788 h 5157788"/>
              <a:gd name="connsiteX4" fmla="*/ 14968 w 3866243"/>
              <a:gd name="connsiteY4" fmla="*/ 3429000 h 5157788"/>
              <a:gd name="connsiteX5" fmla="*/ 1707243 w 3866243"/>
              <a:gd name="connsiteY5" fmla="*/ 0 h 5157788"/>
              <a:gd name="connsiteX0" fmla="*/ 1130447 w 3866243"/>
              <a:gd name="connsiteY0" fmla="*/ 0 h 5157788"/>
              <a:gd name="connsiteX1" fmla="*/ 3866243 w 3866243"/>
              <a:gd name="connsiteY1" fmla="*/ 0 h 5157788"/>
              <a:gd name="connsiteX2" fmla="*/ 3866243 w 3866243"/>
              <a:gd name="connsiteY2" fmla="*/ 5157788 h 5157788"/>
              <a:gd name="connsiteX3" fmla="*/ 1707243 w 3866243"/>
              <a:gd name="connsiteY3" fmla="*/ 5157788 h 5157788"/>
              <a:gd name="connsiteX4" fmla="*/ 14968 w 3866243"/>
              <a:gd name="connsiteY4" fmla="*/ 3429000 h 5157788"/>
              <a:gd name="connsiteX5" fmla="*/ 1130447 w 3866243"/>
              <a:gd name="connsiteY5" fmla="*/ 0 h 5157788"/>
              <a:gd name="connsiteX0" fmla="*/ 2746143 w 5481939"/>
              <a:gd name="connsiteY0" fmla="*/ 0 h 5157788"/>
              <a:gd name="connsiteX1" fmla="*/ 5481939 w 5481939"/>
              <a:gd name="connsiteY1" fmla="*/ 0 h 5157788"/>
              <a:gd name="connsiteX2" fmla="*/ 5481939 w 5481939"/>
              <a:gd name="connsiteY2" fmla="*/ 5157788 h 5157788"/>
              <a:gd name="connsiteX3" fmla="*/ 585903 w 5481939"/>
              <a:gd name="connsiteY3" fmla="*/ 5153180 h 5157788"/>
              <a:gd name="connsiteX4" fmla="*/ 1630664 w 5481939"/>
              <a:gd name="connsiteY4" fmla="*/ 3429000 h 5157788"/>
              <a:gd name="connsiteX5" fmla="*/ 2746143 w 5481939"/>
              <a:gd name="connsiteY5" fmla="*/ 0 h 5157788"/>
              <a:gd name="connsiteX0" fmla="*/ 2746143 w 5481939"/>
              <a:gd name="connsiteY0" fmla="*/ 0 h 5157788"/>
              <a:gd name="connsiteX1" fmla="*/ 5481939 w 5481939"/>
              <a:gd name="connsiteY1" fmla="*/ 0 h 5157788"/>
              <a:gd name="connsiteX2" fmla="*/ 5481939 w 5481939"/>
              <a:gd name="connsiteY2" fmla="*/ 5157788 h 5157788"/>
              <a:gd name="connsiteX3" fmla="*/ 585903 w 5481939"/>
              <a:gd name="connsiteY3" fmla="*/ 5153180 h 5157788"/>
              <a:gd name="connsiteX4" fmla="*/ 1630664 w 5481939"/>
              <a:gd name="connsiteY4" fmla="*/ 3429000 h 5157788"/>
              <a:gd name="connsiteX5" fmla="*/ 2746143 w 548193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3574235 w 6310031"/>
              <a:gd name="connsiteY0" fmla="*/ 0 h 5157788"/>
              <a:gd name="connsiteX1" fmla="*/ 6310031 w 6310031"/>
              <a:gd name="connsiteY1" fmla="*/ 0 h 5157788"/>
              <a:gd name="connsiteX2" fmla="*/ 6310031 w 6310031"/>
              <a:gd name="connsiteY2" fmla="*/ 5157788 h 5157788"/>
              <a:gd name="connsiteX3" fmla="*/ 585903 w 6310031"/>
              <a:gd name="connsiteY3" fmla="*/ 5153180 h 5157788"/>
              <a:gd name="connsiteX4" fmla="*/ 1738031 w 6310031"/>
              <a:gd name="connsiteY4" fmla="*/ 3389965 h 5157788"/>
              <a:gd name="connsiteX5" fmla="*/ 3574235 w 6310031"/>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296143 w 5724128"/>
              <a:gd name="connsiteY4" fmla="*/ 3461908 h 5157788"/>
              <a:gd name="connsiteX5" fmla="*/ 2988332 w 5724128"/>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1188132 w 5760132"/>
              <a:gd name="connsiteY4" fmla="*/ 3425937 h 5157788"/>
              <a:gd name="connsiteX5" fmla="*/ 3024336 w 5760132"/>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2736304 w 5760132"/>
              <a:gd name="connsiteY4" fmla="*/ 3461908 h 5157788"/>
              <a:gd name="connsiteX5" fmla="*/ 3024336 w 5760132"/>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2736304 w 5760132"/>
              <a:gd name="connsiteY4" fmla="*/ 3461908 h 5157788"/>
              <a:gd name="connsiteX5" fmla="*/ 3024336 w 5760132"/>
              <a:gd name="connsiteY5" fmla="*/ 0 h 5157788"/>
              <a:gd name="connsiteX0" fmla="*/ 2160240 w 4896036"/>
              <a:gd name="connsiteY0" fmla="*/ 0 h 5157788"/>
              <a:gd name="connsiteX1" fmla="*/ 4896036 w 4896036"/>
              <a:gd name="connsiteY1" fmla="*/ 0 h 5157788"/>
              <a:gd name="connsiteX2" fmla="*/ 4896036 w 4896036"/>
              <a:gd name="connsiteY2" fmla="*/ 5157788 h 5157788"/>
              <a:gd name="connsiteX3" fmla="*/ 0 w 4896036"/>
              <a:gd name="connsiteY3" fmla="*/ 5153180 h 5157788"/>
              <a:gd name="connsiteX4" fmla="*/ 1872208 w 4896036"/>
              <a:gd name="connsiteY4" fmla="*/ 3461908 h 5157788"/>
              <a:gd name="connsiteX5" fmla="*/ 2160240 w 4896036"/>
              <a:gd name="connsiteY5" fmla="*/ 0 h 5157788"/>
              <a:gd name="connsiteX0" fmla="*/ 2232248 w 4968044"/>
              <a:gd name="connsiteY0" fmla="*/ 0 h 5157788"/>
              <a:gd name="connsiteX1" fmla="*/ 4968044 w 4968044"/>
              <a:gd name="connsiteY1" fmla="*/ 0 h 5157788"/>
              <a:gd name="connsiteX2" fmla="*/ 4968044 w 4968044"/>
              <a:gd name="connsiteY2" fmla="*/ 5157788 h 5157788"/>
              <a:gd name="connsiteX3" fmla="*/ 0 w 4968044"/>
              <a:gd name="connsiteY3" fmla="*/ 5153180 h 5157788"/>
              <a:gd name="connsiteX4" fmla="*/ 1944216 w 4968044"/>
              <a:gd name="connsiteY4" fmla="*/ 3461908 h 5157788"/>
              <a:gd name="connsiteX5" fmla="*/ 2232248 w 4968044"/>
              <a:gd name="connsiteY5" fmla="*/ 0 h 5157788"/>
              <a:gd name="connsiteX0" fmla="*/ 2207679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207679 w 4943475"/>
              <a:gd name="connsiteY5" fmla="*/ 0 h 5157788"/>
              <a:gd name="connsiteX0" fmla="*/ 2963763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963763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092200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71575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343583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675731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675731 w 4943475"/>
              <a:gd name="connsiteY5" fmla="*/ 0 h 5157788"/>
              <a:gd name="connsiteX0" fmla="*/ 2675731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675731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9672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19672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51412" h="5157788">
                <a:moveTo>
                  <a:pt x="2706687" y="0"/>
                </a:moveTo>
                <a:lnTo>
                  <a:pt x="4951412" y="0"/>
                </a:lnTo>
                <a:lnTo>
                  <a:pt x="4951412" y="5157788"/>
                </a:lnTo>
                <a:lnTo>
                  <a:pt x="0" y="5153180"/>
                </a:lnTo>
                <a:cubicBezTo>
                  <a:pt x="84411" y="4542509"/>
                  <a:pt x="183041" y="4024723"/>
                  <a:pt x="1243508" y="2562613"/>
                </a:cubicBezTo>
                <a:cubicBezTo>
                  <a:pt x="1867447" y="1704780"/>
                  <a:pt x="2665955" y="709265"/>
                  <a:pt x="2706687" y="0"/>
                </a:cubicBezTo>
                <a:close/>
              </a:path>
            </a:pathLst>
          </a:custGeom>
          <a:solidFill>
            <a:schemeClr val="bg2"/>
          </a:solidFill>
          <a:ln w="3175">
            <a:noFill/>
          </a:ln>
        </p:spPr>
        <p:txBody>
          <a:bodyPr tIns="720000" rtlCol="0" anchor="ctr">
            <a:noAutofit/>
          </a:bodyPr>
          <a:lstStyle>
            <a:lvl1pPr algn="ctr">
              <a:defRPr sz="1500">
                <a:solidFill>
                  <a:schemeClr val="bg1"/>
                </a:solidFill>
              </a:defRPr>
            </a:lvl1pPr>
          </a:lstStyle>
          <a:p>
            <a:pPr lvl="0"/>
            <a:r>
              <a:rPr lang="en-US" noProof="0" smtClean="0"/>
              <a:t>Click icon to add picture</a:t>
            </a:r>
            <a:endParaRPr lang="en-US" noProof="0" dirty="0"/>
          </a:p>
        </p:txBody>
      </p:sp>
      <p:sp>
        <p:nvSpPr>
          <p:cNvPr id="14" name="Espace réservé de la date 9"/>
          <p:cNvSpPr>
            <a:spLocks noGrp="1"/>
          </p:cNvSpPr>
          <p:nvPr>
            <p:ph type="dt" sz="half" idx="21"/>
          </p:nvPr>
        </p:nvSpPr>
        <p:spPr/>
        <p:txBody>
          <a:bodyPr/>
          <a:lstStyle>
            <a:lvl1pPr>
              <a:defRPr/>
            </a:lvl1pPr>
          </a:lstStyle>
          <a:p>
            <a:pPr>
              <a:defRPr/>
            </a:pPr>
            <a:r>
              <a:rPr lang="en-US">
                <a:solidFill>
                  <a:prstClr val="white">
                    <a:alpha val="0"/>
                  </a:prstClr>
                </a:solidFill>
              </a:rPr>
              <a:t>Date</a:t>
            </a:r>
          </a:p>
        </p:txBody>
      </p:sp>
      <p:sp>
        <p:nvSpPr>
          <p:cNvPr id="16" name="Espace réservé du numéro de diapositive 10"/>
          <p:cNvSpPr>
            <a:spLocks noGrp="1"/>
          </p:cNvSpPr>
          <p:nvPr>
            <p:ph type="sldNum" sz="quarter" idx="22"/>
          </p:nvPr>
        </p:nvSpPr>
        <p:spPr/>
        <p:txBody>
          <a:bodyPr/>
          <a:lstStyle>
            <a:lvl1pPr>
              <a:defRPr sz="100">
                <a:solidFill>
                  <a:schemeClr val="bg1">
                    <a:alpha val="0"/>
                  </a:schemeClr>
                </a:solidFill>
              </a:defRPr>
            </a:lvl1pPr>
          </a:lstStyle>
          <a:p>
            <a:pPr>
              <a:defRPr/>
            </a:pPr>
            <a:r>
              <a:rPr lang="en-US">
                <a:solidFill>
                  <a:prstClr val="white">
                    <a:alpha val="0"/>
                  </a:prstClr>
                </a:solidFill>
              </a:rPr>
              <a:t>Page: </a:t>
            </a:r>
            <a:fld id="{FBC781E1-DB0D-44EA-942B-52789A2EA6EC}" type="slidenum">
              <a:rPr lang="en-US">
                <a:solidFill>
                  <a:prstClr val="white">
                    <a:alpha val="0"/>
                  </a:prstClr>
                </a:solidFill>
              </a:rPr>
              <a:pPr>
                <a:defRPr/>
              </a:pPr>
              <a:t>‹#›</a:t>
            </a:fld>
            <a:endParaRPr lang="en-US">
              <a:solidFill>
                <a:prstClr val="white">
                  <a:alpha val="0"/>
                </a:prstClr>
              </a:solidFill>
            </a:endParaRPr>
          </a:p>
        </p:txBody>
      </p:sp>
      <p:sp>
        <p:nvSpPr>
          <p:cNvPr id="18" name="Espace réservé du pied de page 11"/>
          <p:cNvSpPr>
            <a:spLocks noGrp="1"/>
          </p:cNvSpPr>
          <p:nvPr>
            <p:ph type="ftr" sz="quarter" idx="23"/>
          </p:nvPr>
        </p:nvSpPr>
        <p:spPr>
          <a:xfrm>
            <a:off x="468313" y="523875"/>
            <a:ext cx="4824412" cy="360363"/>
          </a:xfrm>
        </p:spPr>
        <p:txBody>
          <a:bodyPr/>
          <a:lstStyle>
            <a:lvl1pPr algn="l">
              <a:defRPr sz="1800" b="0">
                <a:solidFill>
                  <a:schemeClr val="bg1"/>
                </a:solidFill>
              </a:defRPr>
            </a:lvl1pPr>
          </a:lstStyle>
          <a:p>
            <a:pPr>
              <a:defRPr/>
            </a:pPr>
            <a:r>
              <a:rPr lang="en-US">
                <a:solidFill>
                  <a:prstClr val="white"/>
                </a:solidFill>
              </a:rPr>
              <a:t>#</a:t>
            </a:r>
            <a:r>
              <a:rPr lang="en-US" err="1">
                <a:solidFill>
                  <a:prstClr val="white"/>
                </a:solidFill>
              </a:rPr>
              <a:t>vaccineswork</a:t>
            </a:r>
            <a:endParaRPr lang="en-US">
              <a:solidFill>
                <a:prstClr val="white"/>
              </a:solidFill>
            </a:endParaRPr>
          </a:p>
          <a:p>
            <a:pPr>
              <a:defRPr/>
            </a:pPr>
            <a:endParaRPr lang="en-US">
              <a:solidFill>
                <a:prstClr val="white"/>
              </a:solidFill>
            </a:endParaRPr>
          </a:p>
        </p:txBody>
      </p:sp>
    </p:spTree>
    <p:extLst>
      <p:ext uri="{BB962C8B-B14F-4D97-AF65-F5344CB8AC3E}">
        <p14:creationId xmlns:p14="http://schemas.microsoft.com/office/powerpoint/2010/main" val="1993021221"/>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Cover_Picture_2">
    <p:spTree>
      <p:nvGrpSpPr>
        <p:cNvPr id="1" name=""/>
        <p:cNvGrpSpPr/>
        <p:nvPr/>
      </p:nvGrpSpPr>
      <p:grpSpPr>
        <a:xfrm>
          <a:off x="0" y="0"/>
          <a:ext cx="0" cy="0"/>
          <a:chOff x="0" y="0"/>
          <a:chExt cx="0" cy="0"/>
        </a:xfrm>
      </p:grpSpPr>
      <p:pic>
        <p:nvPicPr>
          <p:cNvPr id="7" name="Image 20" descr="FD_1_L254.png"/>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gray">
          <a:xfrm>
            <a:off x="0" y="0"/>
            <a:ext cx="9144000" cy="51577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0" name="Rectangle 9"/>
          <p:cNvSpPr/>
          <p:nvPr userDrawn="1"/>
        </p:nvSpPr>
        <p:spPr bwMode="gray">
          <a:xfrm>
            <a:off x="3635375" y="5265738"/>
            <a:ext cx="5508625" cy="15922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prstClr val="white"/>
              </a:solidFill>
            </a:endParaRPr>
          </a:p>
        </p:txBody>
      </p:sp>
      <p:pic>
        <p:nvPicPr>
          <p:cNvPr id="11" name="Image 19" descr="Bas_couv.png"/>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gray">
          <a:xfrm>
            <a:off x="0" y="5172075"/>
            <a:ext cx="3635375" cy="16859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2" name="Rectangle 11"/>
          <p:cNvSpPr/>
          <p:nvPr userDrawn="1"/>
        </p:nvSpPr>
        <p:spPr bwMode="gray">
          <a:xfrm>
            <a:off x="3635375" y="6354763"/>
            <a:ext cx="5113338" cy="2873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p>
            <a:pPr algn="r">
              <a:defRPr/>
            </a:pPr>
            <a:r>
              <a:rPr lang="en-US" sz="1000" dirty="0" err="1">
                <a:solidFill>
                  <a:srgbClr val="95D600"/>
                </a:solidFill>
              </a:rPr>
              <a:t>www.gavi.org</a:t>
            </a:r>
            <a:endParaRPr lang="en-US" sz="1000" dirty="0">
              <a:solidFill>
                <a:srgbClr val="95D600"/>
              </a:solidFill>
            </a:endParaRPr>
          </a:p>
        </p:txBody>
      </p:sp>
      <p:cxnSp>
        <p:nvCxnSpPr>
          <p:cNvPr id="13" name="Connecteur droit 13"/>
          <p:cNvCxnSpPr/>
          <p:nvPr userDrawn="1"/>
        </p:nvCxnSpPr>
        <p:spPr bwMode="gray">
          <a:xfrm flipH="1">
            <a:off x="468313" y="3402013"/>
            <a:ext cx="2447925" cy="0"/>
          </a:xfrm>
          <a:prstGeom prst="line">
            <a:avLst/>
          </a:prstGeom>
          <a:ln w="24130">
            <a:solidFill>
              <a:schemeClr val="accent1"/>
            </a:solidFill>
          </a:ln>
        </p:spPr>
        <p:style>
          <a:lnRef idx="1">
            <a:schemeClr val="accent1"/>
          </a:lnRef>
          <a:fillRef idx="0">
            <a:schemeClr val="accent1"/>
          </a:fillRef>
          <a:effectRef idx="0">
            <a:schemeClr val="accent1"/>
          </a:effectRef>
          <a:fontRef idx="minor">
            <a:schemeClr val="tx1"/>
          </a:fontRef>
        </p:style>
      </p:cxnSp>
      <p:sp>
        <p:nvSpPr>
          <p:cNvPr id="9" name="Espace réservé du texte 8"/>
          <p:cNvSpPr>
            <a:spLocks noGrp="1"/>
          </p:cNvSpPr>
          <p:nvPr>
            <p:ph type="body" sz="quarter" idx="13"/>
          </p:nvPr>
        </p:nvSpPr>
        <p:spPr bwMode="gray">
          <a:xfrm>
            <a:off x="468000" y="1036800"/>
            <a:ext cx="4824412" cy="2232000"/>
          </a:xfrm>
        </p:spPr>
        <p:txBody>
          <a:bodyPr anchor="b"/>
          <a:lstStyle>
            <a:lvl1pPr marL="0" indent="0" algn="l">
              <a:lnSpc>
                <a:spcPct val="90000"/>
              </a:lnSpc>
              <a:buNone/>
              <a:defRPr sz="2800" b="1" cap="none" baseline="0">
                <a:solidFill>
                  <a:schemeClr val="bg1"/>
                </a:solidFill>
              </a:defRPr>
            </a:lvl1pPr>
            <a:lvl2pPr marL="0" algn="ctr">
              <a:lnSpc>
                <a:spcPct val="100000"/>
              </a:lnSpc>
              <a:spcBef>
                <a:spcPts val="6900"/>
              </a:spcBef>
              <a:defRPr sz="2000" b="1">
                <a:solidFill>
                  <a:schemeClr val="bg1"/>
                </a:solidFill>
              </a:defRPr>
            </a:lvl2pPr>
          </a:lstStyle>
          <a:p>
            <a:pPr lvl="0"/>
            <a:r>
              <a:rPr lang="en-US" noProof="0" smtClean="0"/>
              <a:t>Click to edit Master text styles</a:t>
            </a:r>
          </a:p>
        </p:txBody>
      </p:sp>
      <p:sp>
        <p:nvSpPr>
          <p:cNvPr id="8" name="Espace réservé du texte 8"/>
          <p:cNvSpPr>
            <a:spLocks noGrp="1"/>
          </p:cNvSpPr>
          <p:nvPr>
            <p:ph type="body" sz="quarter" idx="14"/>
          </p:nvPr>
        </p:nvSpPr>
        <p:spPr bwMode="gray">
          <a:xfrm>
            <a:off x="468314" y="3585600"/>
            <a:ext cx="3592800" cy="1479600"/>
          </a:xfrm>
        </p:spPr>
        <p:txBody>
          <a:bodyPr/>
          <a:lstStyle>
            <a:lvl1pPr marL="0" indent="0" algn="l">
              <a:lnSpc>
                <a:spcPct val="90000"/>
              </a:lnSpc>
              <a:buNone/>
              <a:defRPr sz="2000" b="0" baseline="0">
                <a:solidFill>
                  <a:schemeClr val="bg1"/>
                </a:solidFill>
              </a:defRPr>
            </a:lvl1pPr>
            <a:lvl2pPr marL="0" algn="ctr">
              <a:lnSpc>
                <a:spcPct val="100000"/>
              </a:lnSpc>
              <a:spcBef>
                <a:spcPts val="6900"/>
              </a:spcBef>
              <a:defRPr sz="2000" b="1">
                <a:solidFill>
                  <a:schemeClr val="bg1"/>
                </a:solidFill>
              </a:defRPr>
            </a:lvl2pPr>
          </a:lstStyle>
          <a:p>
            <a:pPr lvl="0"/>
            <a:r>
              <a:rPr lang="en-US" noProof="0" smtClean="0"/>
              <a:t>Click to edit Master text styles</a:t>
            </a:r>
          </a:p>
        </p:txBody>
      </p:sp>
      <p:sp>
        <p:nvSpPr>
          <p:cNvPr id="15" name="Espace réservé du texte 14"/>
          <p:cNvSpPr>
            <a:spLocks noGrp="1"/>
          </p:cNvSpPr>
          <p:nvPr>
            <p:ph type="body" sz="quarter" idx="19"/>
          </p:nvPr>
        </p:nvSpPr>
        <p:spPr bwMode="gray">
          <a:xfrm>
            <a:off x="3635376" y="6021388"/>
            <a:ext cx="5113338" cy="324000"/>
          </a:xfrm>
        </p:spPr>
        <p:txBody>
          <a:bodyPr anchor="b"/>
          <a:lstStyle>
            <a:lvl1pPr algn="r">
              <a:lnSpc>
                <a:spcPct val="100000"/>
              </a:lnSpc>
              <a:defRPr sz="1000" b="1">
                <a:solidFill>
                  <a:schemeClr val="accent3"/>
                </a:solidFill>
              </a:defRPr>
            </a:lvl1pPr>
          </a:lstStyle>
          <a:p>
            <a:pPr lvl="0"/>
            <a:r>
              <a:rPr lang="en-US" noProof="0" smtClean="0"/>
              <a:t>Click to edit Master text styles</a:t>
            </a:r>
          </a:p>
        </p:txBody>
      </p:sp>
      <p:sp>
        <p:nvSpPr>
          <p:cNvPr id="17" name="Espace réservé du texte 16"/>
          <p:cNvSpPr>
            <a:spLocks noGrp="1"/>
          </p:cNvSpPr>
          <p:nvPr>
            <p:ph type="body" sz="quarter" idx="20"/>
          </p:nvPr>
        </p:nvSpPr>
        <p:spPr bwMode="gray">
          <a:xfrm>
            <a:off x="0" y="5157788"/>
            <a:ext cx="9144000" cy="287337"/>
          </a:xfrm>
          <a:solidFill>
            <a:schemeClr val="bg1"/>
          </a:solidFill>
        </p:spPr>
        <p:txBody>
          <a:bodyPr/>
          <a:lstStyle>
            <a:lvl1pPr>
              <a:defRPr sz="100" b="0">
                <a:solidFill>
                  <a:schemeClr val="bg1">
                    <a:alpha val="0"/>
                  </a:schemeClr>
                </a:solidFill>
              </a:defRPr>
            </a:lvl1pPr>
          </a:lstStyle>
          <a:p>
            <a:pPr lvl="0"/>
            <a:r>
              <a:rPr lang="en-US" noProof="0" smtClean="0"/>
              <a:t>Click to edit Master text styles</a:t>
            </a:r>
          </a:p>
        </p:txBody>
      </p:sp>
      <p:sp>
        <p:nvSpPr>
          <p:cNvPr id="18" name="Espace réservé pour une image  17"/>
          <p:cNvSpPr>
            <a:spLocks noGrp="1"/>
          </p:cNvSpPr>
          <p:nvPr>
            <p:ph type="pic" sz="quarter" idx="18"/>
          </p:nvPr>
        </p:nvSpPr>
        <p:spPr bwMode="gray">
          <a:xfrm>
            <a:off x="4192588" y="0"/>
            <a:ext cx="4951412" cy="5162400"/>
          </a:xfrm>
          <a:custGeom>
            <a:avLst/>
            <a:gdLst>
              <a:gd name="connsiteX0" fmla="*/ 0 w 3851275"/>
              <a:gd name="connsiteY0" fmla="*/ 0 h 5157788"/>
              <a:gd name="connsiteX1" fmla="*/ 3851275 w 3851275"/>
              <a:gd name="connsiteY1" fmla="*/ 0 h 5157788"/>
              <a:gd name="connsiteX2" fmla="*/ 3851275 w 3851275"/>
              <a:gd name="connsiteY2" fmla="*/ 5157788 h 5157788"/>
              <a:gd name="connsiteX3" fmla="*/ 0 w 3851275"/>
              <a:gd name="connsiteY3" fmla="*/ 5157788 h 5157788"/>
              <a:gd name="connsiteX4" fmla="*/ 0 w 3851275"/>
              <a:gd name="connsiteY4"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0 w 3851275"/>
              <a:gd name="connsiteY3" fmla="*/ 5157788 h 5157788"/>
              <a:gd name="connsiteX4" fmla="*/ 1692275 w 3851275"/>
              <a:gd name="connsiteY4" fmla="*/ 0 h 5157788"/>
              <a:gd name="connsiteX0" fmla="*/ 0 w 2159000"/>
              <a:gd name="connsiteY0" fmla="*/ 0 h 5157788"/>
              <a:gd name="connsiteX1" fmla="*/ 2159000 w 2159000"/>
              <a:gd name="connsiteY1" fmla="*/ 0 h 5157788"/>
              <a:gd name="connsiteX2" fmla="*/ 2159000 w 2159000"/>
              <a:gd name="connsiteY2" fmla="*/ 5157788 h 5157788"/>
              <a:gd name="connsiteX3" fmla="*/ 0 w 2159000"/>
              <a:gd name="connsiteY3" fmla="*/ 5157788 h 5157788"/>
              <a:gd name="connsiteX4" fmla="*/ 0 w 2159000"/>
              <a:gd name="connsiteY4" fmla="*/ 0 h 5157788"/>
              <a:gd name="connsiteX0" fmla="*/ 2625271 w 4784271"/>
              <a:gd name="connsiteY0" fmla="*/ 0 h 5157788"/>
              <a:gd name="connsiteX1" fmla="*/ 4784271 w 4784271"/>
              <a:gd name="connsiteY1" fmla="*/ 0 h 5157788"/>
              <a:gd name="connsiteX2" fmla="*/ 4784271 w 4784271"/>
              <a:gd name="connsiteY2" fmla="*/ 5157788 h 5157788"/>
              <a:gd name="connsiteX3" fmla="*/ 2625271 w 4784271"/>
              <a:gd name="connsiteY3" fmla="*/ 5157788 h 5157788"/>
              <a:gd name="connsiteX4" fmla="*/ 2625271 w 4784271"/>
              <a:gd name="connsiteY4" fmla="*/ 0 h 5157788"/>
              <a:gd name="connsiteX0" fmla="*/ 2625271 w 4784271"/>
              <a:gd name="connsiteY0" fmla="*/ 0 h 5157788"/>
              <a:gd name="connsiteX1" fmla="*/ 4784271 w 4784271"/>
              <a:gd name="connsiteY1" fmla="*/ 0 h 5157788"/>
              <a:gd name="connsiteX2" fmla="*/ 4784271 w 4784271"/>
              <a:gd name="connsiteY2" fmla="*/ 5157788 h 5157788"/>
              <a:gd name="connsiteX3" fmla="*/ 2625271 w 4784271"/>
              <a:gd name="connsiteY3" fmla="*/ 5157788 h 5157788"/>
              <a:gd name="connsiteX4" fmla="*/ 2625271 w 4784271"/>
              <a:gd name="connsiteY4" fmla="*/ 0 h 5157788"/>
              <a:gd name="connsiteX0" fmla="*/ 3568576 w 5727576"/>
              <a:gd name="connsiteY0" fmla="*/ 0 h 5157788"/>
              <a:gd name="connsiteX1" fmla="*/ 5727576 w 5727576"/>
              <a:gd name="connsiteY1" fmla="*/ 0 h 5157788"/>
              <a:gd name="connsiteX2" fmla="*/ 5727576 w 5727576"/>
              <a:gd name="connsiteY2" fmla="*/ 5157788 h 5157788"/>
              <a:gd name="connsiteX3" fmla="*/ 3568576 w 5727576"/>
              <a:gd name="connsiteY3" fmla="*/ 5157788 h 5157788"/>
              <a:gd name="connsiteX4" fmla="*/ 3568576 w 5727576"/>
              <a:gd name="connsiteY4" fmla="*/ 0 h 5157788"/>
              <a:gd name="connsiteX0" fmla="*/ 3306355 w 5465355"/>
              <a:gd name="connsiteY0" fmla="*/ 0 h 5157788"/>
              <a:gd name="connsiteX1" fmla="*/ 5465355 w 5465355"/>
              <a:gd name="connsiteY1" fmla="*/ 0 h 5157788"/>
              <a:gd name="connsiteX2" fmla="*/ 5465355 w 5465355"/>
              <a:gd name="connsiteY2" fmla="*/ 5157788 h 5157788"/>
              <a:gd name="connsiteX3" fmla="*/ 3306355 w 5465355"/>
              <a:gd name="connsiteY3" fmla="*/ 5157788 h 5157788"/>
              <a:gd name="connsiteX4" fmla="*/ 3306355 w 5465355"/>
              <a:gd name="connsiteY4" fmla="*/ 0 h 5157788"/>
              <a:gd name="connsiteX0" fmla="*/ 1416957 w 3575957"/>
              <a:gd name="connsiteY0" fmla="*/ 0 h 5157788"/>
              <a:gd name="connsiteX1" fmla="*/ 3575957 w 3575957"/>
              <a:gd name="connsiteY1" fmla="*/ 0 h 5157788"/>
              <a:gd name="connsiteX2" fmla="*/ 3575957 w 3575957"/>
              <a:gd name="connsiteY2" fmla="*/ 5157788 h 5157788"/>
              <a:gd name="connsiteX3" fmla="*/ 1416957 w 3575957"/>
              <a:gd name="connsiteY3" fmla="*/ 5157788 h 5157788"/>
              <a:gd name="connsiteX4" fmla="*/ 0 w 3575957"/>
              <a:gd name="connsiteY4" fmla="*/ 3339193 h 5157788"/>
              <a:gd name="connsiteX5" fmla="*/ 1416957 w 3575957"/>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6017419"/>
              <a:gd name="connsiteX1" fmla="*/ 3851275 w 3851275"/>
              <a:gd name="connsiteY1" fmla="*/ 0 h 6017419"/>
              <a:gd name="connsiteX2" fmla="*/ 3851275 w 3851275"/>
              <a:gd name="connsiteY2" fmla="*/ 5157788 h 6017419"/>
              <a:gd name="connsiteX3" fmla="*/ 1692275 w 3851275"/>
              <a:gd name="connsiteY3" fmla="*/ 5157788 h 6017419"/>
              <a:gd name="connsiteX4" fmla="*/ 0 w 3851275"/>
              <a:gd name="connsiteY4" fmla="*/ 3284984 h 6017419"/>
              <a:gd name="connsiteX5" fmla="*/ 1692275 w 3851275"/>
              <a:gd name="connsiteY5" fmla="*/ 0 h 6017419"/>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429000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429000 h 5157788"/>
              <a:gd name="connsiteX5" fmla="*/ 1710871 w 3869871"/>
              <a:gd name="connsiteY5" fmla="*/ 0 h 5157788"/>
              <a:gd name="connsiteX0" fmla="*/ 1704975 w 3863975"/>
              <a:gd name="connsiteY0" fmla="*/ 0 h 5157788"/>
              <a:gd name="connsiteX1" fmla="*/ 3863975 w 3863975"/>
              <a:gd name="connsiteY1" fmla="*/ 0 h 5157788"/>
              <a:gd name="connsiteX2" fmla="*/ 3863975 w 3863975"/>
              <a:gd name="connsiteY2" fmla="*/ 5157788 h 5157788"/>
              <a:gd name="connsiteX3" fmla="*/ 1704975 w 3863975"/>
              <a:gd name="connsiteY3" fmla="*/ 5157788 h 5157788"/>
              <a:gd name="connsiteX4" fmla="*/ 12700 w 3863975"/>
              <a:gd name="connsiteY4" fmla="*/ 3429000 h 5157788"/>
              <a:gd name="connsiteX5" fmla="*/ 1704975 w 3863975"/>
              <a:gd name="connsiteY5" fmla="*/ 0 h 5157788"/>
              <a:gd name="connsiteX0" fmla="*/ 1707243 w 3866243"/>
              <a:gd name="connsiteY0" fmla="*/ 0 h 5157788"/>
              <a:gd name="connsiteX1" fmla="*/ 3866243 w 3866243"/>
              <a:gd name="connsiteY1" fmla="*/ 0 h 5157788"/>
              <a:gd name="connsiteX2" fmla="*/ 3866243 w 3866243"/>
              <a:gd name="connsiteY2" fmla="*/ 5157788 h 5157788"/>
              <a:gd name="connsiteX3" fmla="*/ 1707243 w 3866243"/>
              <a:gd name="connsiteY3" fmla="*/ 5157788 h 5157788"/>
              <a:gd name="connsiteX4" fmla="*/ 14968 w 3866243"/>
              <a:gd name="connsiteY4" fmla="*/ 3429000 h 5157788"/>
              <a:gd name="connsiteX5" fmla="*/ 1707243 w 3866243"/>
              <a:gd name="connsiteY5" fmla="*/ 0 h 5157788"/>
              <a:gd name="connsiteX0" fmla="*/ 1130447 w 3866243"/>
              <a:gd name="connsiteY0" fmla="*/ 0 h 5157788"/>
              <a:gd name="connsiteX1" fmla="*/ 3866243 w 3866243"/>
              <a:gd name="connsiteY1" fmla="*/ 0 h 5157788"/>
              <a:gd name="connsiteX2" fmla="*/ 3866243 w 3866243"/>
              <a:gd name="connsiteY2" fmla="*/ 5157788 h 5157788"/>
              <a:gd name="connsiteX3" fmla="*/ 1707243 w 3866243"/>
              <a:gd name="connsiteY3" fmla="*/ 5157788 h 5157788"/>
              <a:gd name="connsiteX4" fmla="*/ 14968 w 3866243"/>
              <a:gd name="connsiteY4" fmla="*/ 3429000 h 5157788"/>
              <a:gd name="connsiteX5" fmla="*/ 1130447 w 3866243"/>
              <a:gd name="connsiteY5" fmla="*/ 0 h 5157788"/>
              <a:gd name="connsiteX0" fmla="*/ 2746143 w 5481939"/>
              <a:gd name="connsiteY0" fmla="*/ 0 h 5157788"/>
              <a:gd name="connsiteX1" fmla="*/ 5481939 w 5481939"/>
              <a:gd name="connsiteY1" fmla="*/ 0 h 5157788"/>
              <a:gd name="connsiteX2" fmla="*/ 5481939 w 5481939"/>
              <a:gd name="connsiteY2" fmla="*/ 5157788 h 5157788"/>
              <a:gd name="connsiteX3" fmla="*/ 585903 w 5481939"/>
              <a:gd name="connsiteY3" fmla="*/ 5153180 h 5157788"/>
              <a:gd name="connsiteX4" fmla="*/ 1630664 w 5481939"/>
              <a:gd name="connsiteY4" fmla="*/ 3429000 h 5157788"/>
              <a:gd name="connsiteX5" fmla="*/ 2746143 w 5481939"/>
              <a:gd name="connsiteY5" fmla="*/ 0 h 5157788"/>
              <a:gd name="connsiteX0" fmla="*/ 2746143 w 5481939"/>
              <a:gd name="connsiteY0" fmla="*/ 0 h 5157788"/>
              <a:gd name="connsiteX1" fmla="*/ 5481939 w 5481939"/>
              <a:gd name="connsiteY1" fmla="*/ 0 h 5157788"/>
              <a:gd name="connsiteX2" fmla="*/ 5481939 w 5481939"/>
              <a:gd name="connsiteY2" fmla="*/ 5157788 h 5157788"/>
              <a:gd name="connsiteX3" fmla="*/ 585903 w 5481939"/>
              <a:gd name="connsiteY3" fmla="*/ 5153180 h 5157788"/>
              <a:gd name="connsiteX4" fmla="*/ 1630664 w 5481939"/>
              <a:gd name="connsiteY4" fmla="*/ 3429000 h 5157788"/>
              <a:gd name="connsiteX5" fmla="*/ 2746143 w 548193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3574235 w 6310031"/>
              <a:gd name="connsiteY0" fmla="*/ 0 h 5157788"/>
              <a:gd name="connsiteX1" fmla="*/ 6310031 w 6310031"/>
              <a:gd name="connsiteY1" fmla="*/ 0 h 5157788"/>
              <a:gd name="connsiteX2" fmla="*/ 6310031 w 6310031"/>
              <a:gd name="connsiteY2" fmla="*/ 5157788 h 5157788"/>
              <a:gd name="connsiteX3" fmla="*/ 585903 w 6310031"/>
              <a:gd name="connsiteY3" fmla="*/ 5153180 h 5157788"/>
              <a:gd name="connsiteX4" fmla="*/ 1738031 w 6310031"/>
              <a:gd name="connsiteY4" fmla="*/ 3389965 h 5157788"/>
              <a:gd name="connsiteX5" fmla="*/ 3574235 w 6310031"/>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296143 w 5724128"/>
              <a:gd name="connsiteY4" fmla="*/ 3461908 h 5157788"/>
              <a:gd name="connsiteX5" fmla="*/ 2988332 w 5724128"/>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1188132 w 5760132"/>
              <a:gd name="connsiteY4" fmla="*/ 3425937 h 5157788"/>
              <a:gd name="connsiteX5" fmla="*/ 3024336 w 5760132"/>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2736304 w 5760132"/>
              <a:gd name="connsiteY4" fmla="*/ 3461908 h 5157788"/>
              <a:gd name="connsiteX5" fmla="*/ 3024336 w 5760132"/>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2736304 w 5760132"/>
              <a:gd name="connsiteY4" fmla="*/ 3461908 h 5157788"/>
              <a:gd name="connsiteX5" fmla="*/ 3024336 w 5760132"/>
              <a:gd name="connsiteY5" fmla="*/ 0 h 5157788"/>
              <a:gd name="connsiteX0" fmla="*/ 2160240 w 4896036"/>
              <a:gd name="connsiteY0" fmla="*/ 0 h 5157788"/>
              <a:gd name="connsiteX1" fmla="*/ 4896036 w 4896036"/>
              <a:gd name="connsiteY1" fmla="*/ 0 h 5157788"/>
              <a:gd name="connsiteX2" fmla="*/ 4896036 w 4896036"/>
              <a:gd name="connsiteY2" fmla="*/ 5157788 h 5157788"/>
              <a:gd name="connsiteX3" fmla="*/ 0 w 4896036"/>
              <a:gd name="connsiteY3" fmla="*/ 5153180 h 5157788"/>
              <a:gd name="connsiteX4" fmla="*/ 1872208 w 4896036"/>
              <a:gd name="connsiteY4" fmla="*/ 3461908 h 5157788"/>
              <a:gd name="connsiteX5" fmla="*/ 2160240 w 4896036"/>
              <a:gd name="connsiteY5" fmla="*/ 0 h 5157788"/>
              <a:gd name="connsiteX0" fmla="*/ 2232248 w 4968044"/>
              <a:gd name="connsiteY0" fmla="*/ 0 h 5157788"/>
              <a:gd name="connsiteX1" fmla="*/ 4968044 w 4968044"/>
              <a:gd name="connsiteY1" fmla="*/ 0 h 5157788"/>
              <a:gd name="connsiteX2" fmla="*/ 4968044 w 4968044"/>
              <a:gd name="connsiteY2" fmla="*/ 5157788 h 5157788"/>
              <a:gd name="connsiteX3" fmla="*/ 0 w 4968044"/>
              <a:gd name="connsiteY3" fmla="*/ 5153180 h 5157788"/>
              <a:gd name="connsiteX4" fmla="*/ 1944216 w 4968044"/>
              <a:gd name="connsiteY4" fmla="*/ 3461908 h 5157788"/>
              <a:gd name="connsiteX5" fmla="*/ 2232248 w 4968044"/>
              <a:gd name="connsiteY5" fmla="*/ 0 h 5157788"/>
              <a:gd name="connsiteX0" fmla="*/ 2207679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207679 w 4943475"/>
              <a:gd name="connsiteY5" fmla="*/ 0 h 5157788"/>
              <a:gd name="connsiteX0" fmla="*/ 2963763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963763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092200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71575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343583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675731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675731 w 4943475"/>
              <a:gd name="connsiteY5" fmla="*/ 0 h 5157788"/>
              <a:gd name="connsiteX0" fmla="*/ 2675731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675731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9672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19672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51412" h="5157788">
                <a:moveTo>
                  <a:pt x="2706687" y="0"/>
                </a:moveTo>
                <a:lnTo>
                  <a:pt x="4951412" y="0"/>
                </a:lnTo>
                <a:lnTo>
                  <a:pt x="4951412" y="5157788"/>
                </a:lnTo>
                <a:lnTo>
                  <a:pt x="0" y="5153180"/>
                </a:lnTo>
                <a:cubicBezTo>
                  <a:pt x="84411" y="4542509"/>
                  <a:pt x="183041" y="4024723"/>
                  <a:pt x="1243508" y="2562613"/>
                </a:cubicBezTo>
                <a:cubicBezTo>
                  <a:pt x="1867447" y="1704780"/>
                  <a:pt x="2665955" y="709265"/>
                  <a:pt x="2706687" y="0"/>
                </a:cubicBezTo>
                <a:close/>
              </a:path>
            </a:pathLst>
          </a:custGeom>
          <a:solidFill>
            <a:schemeClr val="bg2"/>
          </a:solidFill>
          <a:ln w="3175">
            <a:noFill/>
          </a:ln>
        </p:spPr>
        <p:txBody>
          <a:bodyPr tIns="720000" rtlCol="0" anchor="ctr">
            <a:noAutofit/>
          </a:bodyPr>
          <a:lstStyle>
            <a:lvl1pPr algn="ctr">
              <a:defRPr sz="1500">
                <a:solidFill>
                  <a:schemeClr val="bg1"/>
                </a:solidFill>
              </a:defRPr>
            </a:lvl1pPr>
          </a:lstStyle>
          <a:p>
            <a:pPr lvl="0"/>
            <a:r>
              <a:rPr lang="en-US" noProof="0" smtClean="0"/>
              <a:t>Click icon to add picture</a:t>
            </a:r>
            <a:endParaRPr lang="en-US" noProof="0" dirty="0"/>
          </a:p>
        </p:txBody>
      </p:sp>
      <p:sp>
        <p:nvSpPr>
          <p:cNvPr id="14" name="Espace réservé de la date 9"/>
          <p:cNvSpPr>
            <a:spLocks noGrp="1"/>
          </p:cNvSpPr>
          <p:nvPr>
            <p:ph type="dt" sz="half" idx="21"/>
          </p:nvPr>
        </p:nvSpPr>
        <p:spPr/>
        <p:txBody>
          <a:bodyPr/>
          <a:lstStyle>
            <a:lvl1pPr>
              <a:defRPr/>
            </a:lvl1pPr>
          </a:lstStyle>
          <a:p>
            <a:pPr>
              <a:defRPr/>
            </a:pPr>
            <a:r>
              <a:rPr lang="en-US">
                <a:solidFill>
                  <a:prstClr val="white">
                    <a:alpha val="0"/>
                  </a:prstClr>
                </a:solidFill>
              </a:rPr>
              <a:t>Date</a:t>
            </a:r>
          </a:p>
        </p:txBody>
      </p:sp>
      <p:sp>
        <p:nvSpPr>
          <p:cNvPr id="16" name="Espace réservé du numéro de diapositive 10"/>
          <p:cNvSpPr>
            <a:spLocks noGrp="1"/>
          </p:cNvSpPr>
          <p:nvPr>
            <p:ph type="sldNum" sz="quarter" idx="22"/>
          </p:nvPr>
        </p:nvSpPr>
        <p:spPr/>
        <p:txBody>
          <a:bodyPr/>
          <a:lstStyle>
            <a:lvl1pPr>
              <a:defRPr sz="100">
                <a:solidFill>
                  <a:schemeClr val="bg1">
                    <a:alpha val="0"/>
                  </a:schemeClr>
                </a:solidFill>
              </a:defRPr>
            </a:lvl1pPr>
          </a:lstStyle>
          <a:p>
            <a:pPr>
              <a:defRPr/>
            </a:pPr>
            <a:r>
              <a:rPr lang="en-US">
                <a:solidFill>
                  <a:prstClr val="white">
                    <a:alpha val="0"/>
                  </a:prstClr>
                </a:solidFill>
              </a:rPr>
              <a:t>Page: </a:t>
            </a:r>
            <a:fld id="{A170035D-6B8C-439A-85EA-19B5ADE5A975}" type="slidenum">
              <a:rPr lang="en-US">
                <a:solidFill>
                  <a:prstClr val="white">
                    <a:alpha val="0"/>
                  </a:prstClr>
                </a:solidFill>
              </a:rPr>
              <a:pPr>
                <a:defRPr/>
              </a:pPr>
              <a:t>‹#›</a:t>
            </a:fld>
            <a:endParaRPr lang="en-US">
              <a:solidFill>
                <a:prstClr val="white">
                  <a:alpha val="0"/>
                </a:prstClr>
              </a:solidFill>
            </a:endParaRPr>
          </a:p>
        </p:txBody>
      </p:sp>
      <p:sp>
        <p:nvSpPr>
          <p:cNvPr id="19" name="Espace réservé du pied de page 11"/>
          <p:cNvSpPr>
            <a:spLocks noGrp="1"/>
          </p:cNvSpPr>
          <p:nvPr>
            <p:ph type="ftr" sz="quarter" idx="23"/>
          </p:nvPr>
        </p:nvSpPr>
        <p:spPr>
          <a:xfrm>
            <a:off x="468313" y="523875"/>
            <a:ext cx="4824412" cy="360363"/>
          </a:xfrm>
        </p:spPr>
        <p:txBody>
          <a:bodyPr/>
          <a:lstStyle>
            <a:lvl1pPr algn="l">
              <a:defRPr sz="1800" b="0">
                <a:solidFill>
                  <a:schemeClr val="bg1"/>
                </a:solidFill>
              </a:defRPr>
            </a:lvl1pPr>
          </a:lstStyle>
          <a:p>
            <a:pPr>
              <a:defRPr/>
            </a:pPr>
            <a:r>
              <a:rPr lang="en-US">
                <a:solidFill>
                  <a:prstClr val="white"/>
                </a:solidFill>
              </a:rPr>
              <a:t>#</a:t>
            </a:r>
            <a:r>
              <a:rPr lang="en-US" err="1">
                <a:solidFill>
                  <a:prstClr val="white"/>
                </a:solidFill>
              </a:rPr>
              <a:t>vaccineswork</a:t>
            </a:r>
            <a:endParaRPr lang="en-US">
              <a:solidFill>
                <a:prstClr val="white"/>
              </a:solidFill>
            </a:endParaRPr>
          </a:p>
        </p:txBody>
      </p:sp>
    </p:spTree>
    <p:extLst>
      <p:ext uri="{BB962C8B-B14F-4D97-AF65-F5344CB8AC3E}">
        <p14:creationId xmlns:p14="http://schemas.microsoft.com/office/powerpoint/2010/main" val="2243769621"/>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Chapter_Layout">
    <p:spTree>
      <p:nvGrpSpPr>
        <p:cNvPr id="1" name=""/>
        <p:cNvGrpSpPr/>
        <p:nvPr/>
      </p:nvGrpSpPr>
      <p:grpSpPr>
        <a:xfrm>
          <a:off x="0" y="0"/>
          <a:ext cx="0" cy="0"/>
          <a:chOff x="0" y="0"/>
          <a:chExt cx="0" cy="0"/>
        </a:xfrm>
      </p:grpSpPr>
      <p:pic>
        <p:nvPicPr>
          <p:cNvPr id="6" name="Image 17" descr="FD_03_chap_110x190,5.pn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gray">
          <a:xfrm>
            <a:off x="0" y="0"/>
            <a:ext cx="3959225" cy="68580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cxnSp>
        <p:nvCxnSpPr>
          <p:cNvPr id="7" name="Connecteur droit 14"/>
          <p:cNvCxnSpPr/>
          <p:nvPr userDrawn="1"/>
        </p:nvCxnSpPr>
        <p:spPr bwMode="gray">
          <a:xfrm flipH="1">
            <a:off x="3635375" y="2389188"/>
            <a:ext cx="1584325" cy="0"/>
          </a:xfrm>
          <a:prstGeom prst="line">
            <a:avLst/>
          </a:prstGeom>
          <a:ln w="24130">
            <a:solidFill>
              <a:schemeClr val="accent1"/>
            </a:solidFill>
          </a:ln>
        </p:spPr>
        <p:style>
          <a:lnRef idx="1">
            <a:schemeClr val="accent1"/>
          </a:lnRef>
          <a:fillRef idx="0">
            <a:schemeClr val="accent1"/>
          </a:fillRef>
          <a:effectRef idx="0">
            <a:schemeClr val="accent1"/>
          </a:effectRef>
          <a:fontRef idx="minor">
            <a:schemeClr val="tx1"/>
          </a:fontRef>
        </p:style>
      </p:cxnSp>
      <p:sp>
        <p:nvSpPr>
          <p:cNvPr id="2" name="Titre 1"/>
          <p:cNvSpPr>
            <a:spLocks noGrp="1"/>
          </p:cNvSpPr>
          <p:nvPr>
            <p:ph type="title"/>
          </p:nvPr>
        </p:nvSpPr>
        <p:spPr bwMode="gray">
          <a:xfrm>
            <a:off x="3635374" y="1036638"/>
            <a:ext cx="3263901" cy="1268759"/>
          </a:xfrm>
        </p:spPr>
        <p:txBody>
          <a:bodyPr/>
          <a:lstStyle/>
          <a:p>
            <a:r>
              <a:rPr lang="en-US" noProof="0" smtClean="0"/>
              <a:t>Click to edit Master title style</a:t>
            </a:r>
            <a:endParaRPr lang="en-US" noProof="0" dirty="0"/>
          </a:p>
        </p:txBody>
      </p:sp>
      <p:sp>
        <p:nvSpPr>
          <p:cNvPr id="10" name="Espace réservé du texte 9"/>
          <p:cNvSpPr>
            <a:spLocks noGrp="1"/>
          </p:cNvSpPr>
          <p:nvPr>
            <p:ph type="body" sz="quarter" idx="13"/>
          </p:nvPr>
        </p:nvSpPr>
        <p:spPr bwMode="gray">
          <a:xfrm>
            <a:off x="3635376" y="2574000"/>
            <a:ext cx="3263900" cy="3447388"/>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4" name="Espace réservé du texte 9"/>
          <p:cNvSpPr>
            <a:spLocks noGrp="1"/>
          </p:cNvSpPr>
          <p:nvPr>
            <p:ph type="body" sz="quarter" idx="14"/>
          </p:nvPr>
        </p:nvSpPr>
        <p:spPr bwMode="gray">
          <a:xfrm>
            <a:off x="0" y="139974"/>
            <a:ext cx="2628000" cy="5017814"/>
          </a:xfrm>
        </p:spPr>
        <p:txBody>
          <a:bodyPr/>
          <a:lstStyle>
            <a:lvl1pPr algn="r">
              <a:defRPr sz="16600" b="1">
                <a:solidFill>
                  <a:schemeClr val="bg1"/>
                </a:solidFill>
              </a:defRPr>
            </a:lvl1pPr>
          </a:lstStyle>
          <a:p>
            <a:pPr lvl="0"/>
            <a:r>
              <a:rPr lang="en-US" noProof="0" smtClean="0"/>
              <a:t>Click to edit Master text styles</a:t>
            </a:r>
          </a:p>
        </p:txBody>
      </p:sp>
      <p:sp>
        <p:nvSpPr>
          <p:cNvPr id="19" name="Espace réservé pour une image  17"/>
          <p:cNvSpPr>
            <a:spLocks noGrp="1"/>
          </p:cNvSpPr>
          <p:nvPr>
            <p:ph type="pic" sz="quarter" idx="18"/>
          </p:nvPr>
        </p:nvSpPr>
        <p:spPr bwMode="gray">
          <a:xfrm>
            <a:off x="7254332" y="132082"/>
            <a:ext cx="1899827" cy="5812641"/>
          </a:xfrm>
          <a:custGeom>
            <a:avLst/>
            <a:gdLst>
              <a:gd name="connsiteX0" fmla="*/ 0 w 3851275"/>
              <a:gd name="connsiteY0" fmla="*/ 0 h 5157788"/>
              <a:gd name="connsiteX1" fmla="*/ 3851275 w 3851275"/>
              <a:gd name="connsiteY1" fmla="*/ 0 h 5157788"/>
              <a:gd name="connsiteX2" fmla="*/ 3851275 w 3851275"/>
              <a:gd name="connsiteY2" fmla="*/ 5157788 h 5157788"/>
              <a:gd name="connsiteX3" fmla="*/ 0 w 3851275"/>
              <a:gd name="connsiteY3" fmla="*/ 5157788 h 5157788"/>
              <a:gd name="connsiteX4" fmla="*/ 0 w 3851275"/>
              <a:gd name="connsiteY4"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0 w 3851275"/>
              <a:gd name="connsiteY3" fmla="*/ 5157788 h 5157788"/>
              <a:gd name="connsiteX4" fmla="*/ 1692275 w 3851275"/>
              <a:gd name="connsiteY4" fmla="*/ 0 h 5157788"/>
              <a:gd name="connsiteX0" fmla="*/ 0 w 2159000"/>
              <a:gd name="connsiteY0" fmla="*/ 0 h 5157788"/>
              <a:gd name="connsiteX1" fmla="*/ 2159000 w 2159000"/>
              <a:gd name="connsiteY1" fmla="*/ 0 h 5157788"/>
              <a:gd name="connsiteX2" fmla="*/ 2159000 w 2159000"/>
              <a:gd name="connsiteY2" fmla="*/ 5157788 h 5157788"/>
              <a:gd name="connsiteX3" fmla="*/ 0 w 2159000"/>
              <a:gd name="connsiteY3" fmla="*/ 5157788 h 5157788"/>
              <a:gd name="connsiteX4" fmla="*/ 0 w 2159000"/>
              <a:gd name="connsiteY4" fmla="*/ 0 h 5157788"/>
              <a:gd name="connsiteX0" fmla="*/ 2625271 w 4784271"/>
              <a:gd name="connsiteY0" fmla="*/ 0 h 5157788"/>
              <a:gd name="connsiteX1" fmla="*/ 4784271 w 4784271"/>
              <a:gd name="connsiteY1" fmla="*/ 0 h 5157788"/>
              <a:gd name="connsiteX2" fmla="*/ 4784271 w 4784271"/>
              <a:gd name="connsiteY2" fmla="*/ 5157788 h 5157788"/>
              <a:gd name="connsiteX3" fmla="*/ 2625271 w 4784271"/>
              <a:gd name="connsiteY3" fmla="*/ 5157788 h 5157788"/>
              <a:gd name="connsiteX4" fmla="*/ 2625271 w 4784271"/>
              <a:gd name="connsiteY4" fmla="*/ 0 h 5157788"/>
              <a:gd name="connsiteX0" fmla="*/ 2625271 w 4784271"/>
              <a:gd name="connsiteY0" fmla="*/ 0 h 5157788"/>
              <a:gd name="connsiteX1" fmla="*/ 4784271 w 4784271"/>
              <a:gd name="connsiteY1" fmla="*/ 0 h 5157788"/>
              <a:gd name="connsiteX2" fmla="*/ 4784271 w 4784271"/>
              <a:gd name="connsiteY2" fmla="*/ 5157788 h 5157788"/>
              <a:gd name="connsiteX3" fmla="*/ 2625271 w 4784271"/>
              <a:gd name="connsiteY3" fmla="*/ 5157788 h 5157788"/>
              <a:gd name="connsiteX4" fmla="*/ 2625271 w 4784271"/>
              <a:gd name="connsiteY4" fmla="*/ 0 h 5157788"/>
              <a:gd name="connsiteX0" fmla="*/ 3568576 w 5727576"/>
              <a:gd name="connsiteY0" fmla="*/ 0 h 5157788"/>
              <a:gd name="connsiteX1" fmla="*/ 5727576 w 5727576"/>
              <a:gd name="connsiteY1" fmla="*/ 0 h 5157788"/>
              <a:gd name="connsiteX2" fmla="*/ 5727576 w 5727576"/>
              <a:gd name="connsiteY2" fmla="*/ 5157788 h 5157788"/>
              <a:gd name="connsiteX3" fmla="*/ 3568576 w 5727576"/>
              <a:gd name="connsiteY3" fmla="*/ 5157788 h 5157788"/>
              <a:gd name="connsiteX4" fmla="*/ 3568576 w 5727576"/>
              <a:gd name="connsiteY4" fmla="*/ 0 h 5157788"/>
              <a:gd name="connsiteX0" fmla="*/ 3306355 w 5465355"/>
              <a:gd name="connsiteY0" fmla="*/ 0 h 5157788"/>
              <a:gd name="connsiteX1" fmla="*/ 5465355 w 5465355"/>
              <a:gd name="connsiteY1" fmla="*/ 0 h 5157788"/>
              <a:gd name="connsiteX2" fmla="*/ 5465355 w 5465355"/>
              <a:gd name="connsiteY2" fmla="*/ 5157788 h 5157788"/>
              <a:gd name="connsiteX3" fmla="*/ 3306355 w 5465355"/>
              <a:gd name="connsiteY3" fmla="*/ 5157788 h 5157788"/>
              <a:gd name="connsiteX4" fmla="*/ 3306355 w 5465355"/>
              <a:gd name="connsiteY4" fmla="*/ 0 h 5157788"/>
              <a:gd name="connsiteX0" fmla="*/ 1416957 w 3575957"/>
              <a:gd name="connsiteY0" fmla="*/ 0 h 5157788"/>
              <a:gd name="connsiteX1" fmla="*/ 3575957 w 3575957"/>
              <a:gd name="connsiteY1" fmla="*/ 0 h 5157788"/>
              <a:gd name="connsiteX2" fmla="*/ 3575957 w 3575957"/>
              <a:gd name="connsiteY2" fmla="*/ 5157788 h 5157788"/>
              <a:gd name="connsiteX3" fmla="*/ 1416957 w 3575957"/>
              <a:gd name="connsiteY3" fmla="*/ 5157788 h 5157788"/>
              <a:gd name="connsiteX4" fmla="*/ 0 w 3575957"/>
              <a:gd name="connsiteY4" fmla="*/ 3339193 h 5157788"/>
              <a:gd name="connsiteX5" fmla="*/ 1416957 w 3575957"/>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6017419"/>
              <a:gd name="connsiteX1" fmla="*/ 3851275 w 3851275"/>
              <a:gd name="connsiteY1" fmla="*/ 0 h 6017419"/>
              <a:gd name="connsiteX2" fmla="*/ 3851275 w 3851275"/>
              <a:gd name="connsiteY2" fmla="*/ 5157788 h 6017419"/>
              <a:gd name="connsiteX3" fmla="*/ 1692275 w 3851275"/>
              <a:gd name="connsiteY3" fmla="*/ 5157788 h 6017419"/>
              <a:gd name="connsiteX4" fmla="*/ 0 w 3851275"/>
              <a:gd name="connsiteY4" fmla="*/ 3284984 h 6017419"/>
              <a:gd name="connsiteX5" fmla="*/ 1692275 w 3851275"/>
              <a:gd name="connsiteY5" fmla="*/ 0 h 6017419"/>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429000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429000 h 5157788"/>
              <a:gd name="connsiteX5" fmla="*/ 1710871 w 3869871"/>
              <a:gd name="connsiteY5" fmla="*/ 0 h 5157788"/>
              <a:gd name="connsiteX0" fmla="*/ 1704975 w 3863975"/>
              <a:gd name="connsiteY0" fmla="*/ 0 h 5157788"/>
              <a:gd name="connsiteX1" fmla="*/ 3863975 w 3863975"/>
              <a:gd name="connsiteY1" fmla="*/ 0 h 5157788"/>
              <a:gd name="connsiteX2" fmla="*/ 3863975 w 3863975"/>
              <a:gd name="connsiteY2" fmla="*/ 5157788 h 5157788"/>
              <a:gd name="connsiteX3" fmla="*/ 1704975 w 3863975"/>
              <a:gd name="connsiteY3" fmla="*/ 5157788 h 5157788"/>
              <a:gd name="connsiteX4" fmla="*/ 12700 w 3863975"/>
              <a:gd name="connsiteY4" fmla="*/ 3429000 h 5157788"/>
              <a:gd name="connsiteX5" fmla="*/ 1704975 w 3863975"/>
              <a:gd name="connsiteY5" fmla="*/ 0 h 5157788"/>
              <a:gd name="connsiteX0" fmla="*/ 1707243 w 3866243"/>
              <a:gd name="connsiteY0" fmla="*/ 0 h 5157788"/>
              <a:gd name="connsiteX1" fmla="*/ 3866243 w 3866243"/>
              <a:gd name="connsiteY1" fmla="*/ 0 h 5157788"/>
              <a:gd name="connsiteX2" fmla="*/ 3866243 w 3866243"/>
              <a:gd name="connsiteY2" fmla="*/ 5157788 h 5157788"/>
              <a:gd name="connsiteX3" fmla="*/ 1707243 w 3866243"/>
              <a:gd name="connsiteY3" fmla="*/ 5157788 h 5157788"/>
              <a:gd name="connsiteX4" fmla="*/ 14968 w 3866243"/>
              <a:gd name="connsiteY4" fmla="*/ 3429000 h 5157788"/>
              <a:gd name="connsiteX5" fmla="*/ 1707243 w 3866243"/>
              <a:gd name="connsiteY5" fmla="*/ 0 h 5157788"/>
              <a:gd name="connsiteX0" fmla="*/ 1130447 w 3866243"/>
              <a:gd name="connsiteY0" fmla="*/ 0 h 5157788"/>
              <a:gd name="connsiteX1" fmla="*/ 3866243 w 3866243"/>
              <a:gd name="connsiteY1" fmla="*/ 0 h 5157788"/>
              <a:gd name="connsiteX2" fmla="*/ 3866243 w 3866243"/>
              <a:gd name="connsiteY2" fmla="*/ 5157788 h 5157788"/>
              <a:gd name="connsiteX3" fmla="*/ 1707243 w 3866243"/>
              <a:gd name="connsiteY3" fmla="*/ 5157788 h 5157788"/>
              <a:gd name="connsiteX4" fmla="*/ 14968 w 3866243"/>
              <a:gd name="connsiteY4" fmla="*/ 3429000 h 5157788"/>
              <a:gd name="connsiteX5" fmla="*/ 1130447 w 3866243"/>
              <a:gd name="connsiteY5" fmla="*/ 0 h 5157788"/>
              <a:gd name="connsiteX0" fmla="*/ 2746143 w 5481939"/>
              <a:gd name="connsiteY0" fmla="*/ 0 h 5157788"/>
              <a:gd name="connsiteX1" fmla="*/ 5481939 w 5481939"/>
              <a:gd name="connsiteY1" fmla="*/ 0 h 5157788"/>
              <a:gd name="connsiteX2" fmla="*/ 5481939 w 5481939"/>
              <a:gd name="connsiteY2" fmla="*/ 5157788 h 5157788"/>
              <a:gd name="connsiteX3" fmla="*/ 585903 w 5481939"/>
              <a:gd name="connsiteY3" fmla="*/ 5153180 h 5157788"/>
              <a:gd name="connsiteX4" fmla="*/ 1630664 w 5481939"/>
              <a:gd name="connsiteY4" fmla="*/ 3429000 h 5157788"/>
              <a:gd name="connsiteX5" fmla="*/ 2746143 w 5481939"/>
              <a:gd name="connsiteY5" fmla="*/ 0 h 5157788"/>
              <a:gd name="connsiteX0" fmla="*/ 2746143 w 5481939"/>
              <a:gd name="connsiteY0" fmla="*/ 0 h 5157788"/>
              <a:gd name="connsiteX1" fmla="*/ 5481939 w 5481939"/>
              <a:gd name="connsiteY1" fmla="*/ 0 h 5157788"/>
              <a:gd name="connsiteX2" fmla="*/ 5481939 w 5481939"/>
              <a:gd name="connsiteY2" fmla="*/ 5157788 h 5157788"/>
              <a:gd name="connsiteX3" fmla="*/ 585903 w 5481939"/>
              <a:gd name="connsiteY3" fmla="*/ 5153180 h 5157788"/>
              <a:gd name="connsiteX4" fmla="*/ 1630664 w 5481939"/>
              <a:gd name="connsiteY4" fmla="*/ 3429000 h 5157788"/>
              <a:gd name="connsiteX5" fmla="*/ 2746143 w 548193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3574235 w 6310031"/>
              <a:gd name="connsiteY0" fmla="*/ 0 h 5157788"/>
              <a:gd name="connsiteX1" fmla="*/ 6310031 w 6310031"/>
              <a:gd name="connsiteY1" fmla="*/ 0 h 5157788"/>
              <a:gd name="connsiteX2" fmla="*/ 6310031 w 6310031"/>
              <a:gd name="connsiteY2" fmla="*/ 5157788 h 5157788"/>
              <a:gd name="connsiteX3" fmla="*/ 585903 w 6310031"/>
              <a:gd name="connsiteY3" fmla="*/ 5153180 h 5157788"/>
              <a:gd name="connsiteX4" fmla="*/ 1738031 w 6310031"/>
              <a:gd name="connsiteY4" fmla="*/ 3389965 h 5157788"/>
              <a:gd name="connsiteX5" fmla="*/ 3574235 w 6310031"/>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296143 w 5724128"/>
              <a:gd name="connsiteY4" fmla="*/ 3461908 h 5157788"/>
              <a:gd name="connsiteX5" fmla="*/ 2988332 w 5724128"/>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1188132 w 5760132"/>
              <a:gd name="connsiteY4" fmla="*/ 3425937 h 5157788"/>
              <a:gd name="connsiteX5" fmla="*/ 3024336 w 5760132"/>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2736304 w 5760132"/>
              <a:gd name="connsiteY4" fmla="*/ 3461908 h 5157788"/>
              <a:gd name="connsiteX5" fmla="*/ 3024336 w 5760132"/>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2736304 w 5760132"/>
              <a:gd name="connsiteY4" fmla="*/ 3461908 h 5157788"/>
              <a:gd name="connsiteX5" fmla="*/ 3024336 w 5760132"/>
              <a:gd name="connsiteY5" fmla="*/ 0 h 5157788"/>
              <a:gd name="connsiteX0" fmla="*/ 2160240 w 4896036"/>
              <a:gd name="connsiteY0" fmla="*/ 0 h 5157788"/>
              <a:gd name="connsiteX1" fmla="*/ 4896036 w 4896036"/>
              <a:gd name="connsiteY1" fmla="*/ 0 h 5157788"/>
              <a:gd name="connsiteX2" fmla="*/ 4896036 w 4896036"/>
              <a:gd name="connsiteY2" fmla="*/ 5157788 h 5157788"/>
              <a:gd name="connsiteX3" fmla="*/ 0 w 4896036"/>
              <a:gd name="connsiteY3" fmla="*/ 5153180 h 5157788"/>
              <a:gd name="connsiteX4" fmla="*/ 1872208 w 4896036"/>
              <a:gd name="connsiteY4" fmla="*/ 3461908 h 5157788"/>
              <a:gd name="connsiteX5" fmla="*/ 2160240 w 4896036"/>
              <a:gd name="connsiteY5" fmla="*/ 0 h 5157788"/>
              <a:gd name="connsiteX0" fmla="*/ 2232248 w 4968044"/>
              <a:gd name="connsiteY0" fmla="*/ 0 h 5157788"/>
              <a:gd name="connsiteX1" fmla="*/ 4968044 w 4968044"/>
              <a:gd name="connsiteY1" fmla="*/ 0 h 5157788"/>
              <a:gd name="connsiteX2" fmla="*/ 4968044 w 4968044"/>
              <a:gd name="connsiteY2" fmla="*/ 5157788 h 5157788"/>
              <a:gd name="connsiteX3" fmla="*/ 0 w 4968044"/>
              <a:gd name="connsiteY3" fmla="*/ 5153180 h 5157788"/>
              <a:gd name="connsiteX4" fmla="*/ 1944216 w 4968044"/>
              <a:gd name="connsiteY4" fmla="*/ 3461908 h 5157788"/>
              <a:gd name="connsiteX5" fmla="*/ 2232248 w 4968044"/>
              <a:gd name="connsiteY5" fmla="*/ 0 h 5157788"/>
              <a:gd name="connsiteX0" fmla="*/ 2207679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207679 w 4943475"/>
              <a:gd name="connsiteY5" fmla="*/ 0 h 5157788"/>
              <a:gd name="connsiteX0" fmla="*/ 2963763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963763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092200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71575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343583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675731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675731 w 4943475"/>
              <a:gd name="connsiteY5" fmla="*/ 0 h 5157788"/>
              <a:gd name="connsiteX0" fmla="*/ 2675731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675731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9672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19672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1668519 w 3913244"/>
              <a:gd name="connsiteY0" fmla="*/ 0 h 5183692"/>
              <a:gd name="connsiteX1" fmla="*/ 3913244 w 3913244"/>
              <a:gd name="connsiteY1" fmla="*/ 0 h 5183692"/>
              <a:gd name="connsiteX2" fmla="*/ 3913244 w 3913244"/>
              <a:gd name="connsiteY2" fmla="*/ 5157788 h 5183692"/>
              <a:gd name="connsiteX3" fmla="*/ 2456872 w 3913244"/>
              <a:gd name="connsiteY3" fmla="*/ 5183633 h 5183692"/>
              <a:gd name="connsiteX4" fmla="*/ 205340 w 3913244"/>
              <a:gd name="connsiteY4" fmla="*/ 2562613 h 5183692"/>
              <a:gd name="connsiteX5" fmla="*/ 1668519 w 3913244"/>
              <a:gd name="connsiteY5" fmla="*/ 0 h 5183692"/>
              <a:gd name="connsiteX0" fmla="*/ 1668519 w 3923404"/>
              <a:gd name="connsiteY0" fmla="*/ 0 h 5939409"/>
              <a:gd name="connsiteX1" fmla="*/ 3913244 w 3923404"/>
              <a:gd name="connsiteY1" fmla="*/ 0 h 5939409"/>
              <a:gd name="connsiteX2" fmla="*/ 3923404 w 3923404"/>
              <a:gd name="connsiteY2" fmla="*/ 5939409 h 5939409"/>
              <a:gd name="connsiteX3" fmla="*/ 2456872 w 3923404"/>
              <a:gd name="connsiteY3" fmla="*/ 5183633 h 5939409"/>
              <a:gd name="connsiteX4" fmla="*/ 205340 w 3923404"/>
              <a:gd name="connsiteY4" fmla="*/ 2562613 h 5939409"/>
              <a:gd name="connsiteX5" fmla="*/ 1668519 w 3923404"/>
              <a:gd name="connsiteY5" fmla="*/ 0 h 5939409"/>
              <a:gd name="connsiteX0" fmla="*/ 1668519 w 3923404"/>
              <a:gd name="connsiteY0" fmla="*/ 0 h 5939409"/>
              <a:gd name="connsiteX1" fmla="*/ 3913244 w 3923404"/>
              <a:gd name="connsiteY1" fmla="*/ 0 h 5939409"/>
              <a:gd name="connsiteX2" fmla="*/ 3923404 w 3923404"/>
              <a:gd name="connsiteY2" fmla="*/ 5939409 h 5939409"/>
              <a:gd name="connsiteX3" fmla="*/ 2456872 w 3923404"/>
              <a:gd name="connsiteY3" fmla="*/ 5183633 h 5939409"/>
              <a:gd name="connsiteX4" fmla="*/ 205340 w 3923404"/>
              <a:gd name="connsiteY4" fmla="*/ 2562613 h 5939409"/>
              <a:gd name="connsiteX5" fmla="*/ 1668519 w 3923404"/>
              <a:gd name="connsiteY5" fmla="*/ 0 h 5939409"/>
              <a:gd name="connsiteX0" fmla="*/ 1696047 w 3950932"/>
              <a:gd name="connsiteY0" fmla="*/ 0 h 5939409"/>
              <a:gd name="connsiteX1" fmla="*/ 3940772 w 3950932"/>
              <a:gd name="connsiteY1" fmla="*/ 0 h 5939409"/>
              <a:gd name="connsiteX2" fmla="*/ 3950932 w 3950932"/>
              <a:gd name="connsiteY2" fmla="*/ 5939409 h 5939409"/>
              <a:gd name="connsiteX3" fmla="*/ 2484400 w 3950932"/>
              <a:gd name="connsiteY3" fmla="*/ 5183633 h 5939409"/>
              <a:gd name="connsiteX4" fmla="*/ 232868 w 3950932"/>
              <a:gd name="connsiteY4" fmla="*/ 2562613 h 5939409"/>
              <a:gd name="connsiteX5" fmla="*/ 1696047 w 3950932"/>
              <a:gd name="connsiteY5" fmla="*/ 0 h 5939409"/>
              <a:gd name="connsiteX0" fmla="*/ 1463179 w 3718064"/>
              <a:gd name="connsiteY0" fmla="*/ 0 h 5983194"/>
              <a:gd name="connsiteX1" fmla="*/ 3707904 w 3718064"/>
              <a:gd name="connsiteY1" fmla="*/ 0 h 5983194"/>
              <a:gd name="connsiteX2" fmla="*/ 3718064 w 3718064"/>
              <a:gd name="connsiteY2" fmla="*/ 5939409 h 5983194"/>
              <a:gd name="connsiteX3" fmla="*/ 0 w 3718064"/>
              <a:gd name="connsiteY3" fmla="*/ 2562613 h 5983194"/>
              <a:gd name="connsiteX4" fmla="*/ 1463179 w 3718064"/>
              <a:gd name="connsiteY4" fmla="*/ 0 h 5983194"/>
              <a:gd name="connsiteX0" fmla="*/ 1464005 w 3718890"/>
              <a:gd name="connsiteY0" fmla="*/ 0 h 5987401"/>
              <a:gd name="connsiteX1" fmla="*/ 3708730 w 3718890"/>
              <a:gd name="connsiteY1" fmla="*/ 0 h 5987401"/>
              <a:gd name="connsiteX2" fmla="*/ 3718890 w 3718890"/>
              <a:gd name="connsiteY2" fmla="*/ 5939409 h 5987401"/>
              <a:gd name="connsiteX3" fmla="*/ 826 w 3718890"/>
              <a:gd name="connsiteY3" fmla="*/ 2562613 h 5987401"/>
              <a:gd name="connsiteX4" fmla="*/ 1464005 w 3718890"/>
              <a:gd name="connsiteY4" fmla="*/ 0 h 5987401"/>
              <a:gd name="connsiteX0" fmla="*/ 1267 w 2256152"/>
              <a:gd name="connsiteY0" fmla="*/ 0 h 6002954"/>
              <a:gd name="connsiteX1" fmla="*/ 2245992 w 2256152"/>
              <a:gd name="connsiteY1" fmla="*/ 0 h 6002954"/>
              <a:gd name="connsiteX2" fmla="*/ 2256152 w 2256152"/>
              <a:gd name="connsiteY2" fmla="*/ 5939409 h 6002954"/>
              <a:gd name="connsiteX3" fmla="*/ 956168 w 2256152"/>
              <a:gd name="connsiteY3" fmla="*/ 3273178 h 6002954"/>
              <a:gd name="connsiteX4" fmla="*/ 1267 w 2256152"/>
              <a:gd name="connsiteY4" fmla="*/ 0 h 6002954"/>
              <a:gd name="connsiteX0" fmla="*/ 2 w 1299986"/>
              <a:gd name="connsiteY0" fmla="*/ 3321709 h 6044422"/>
              <a:gd name="connsiteX1" fmla="*/ 1289826 w 1299986"/>
              <a:gd name="connsiteY1" fmla="*/ 48531 h 6044422"/>
              <a:gd name="connsiteX2" fmla="*/ 1299986 w 1299986"/>
              <a:gd name="connsiteY2" fmla="*/ 5987940 h 6044422"/>
              <a:gd name="connsiteX3" fmla="*/ 2 w 1299986"/>
              <a:gd name="connsiteY3" fmla="*/ 3321709 h 6044422"/>
              <a:gd name="connsiteX0" fmla="*/ 2 w 1299986"/>
              <a:gd name="connsiteY0" fmla="*/ 3273178 h 5995891"/>
              <a:gd name="connsiteX1" fmla="*/ 1289826 w 1299986"/>
              <a:gd name="connsiteY1" fmla="*/ 0 h 5995891"/>
              <a:gd name="connsiteX2" fmla="*/ 1299986 w 1299986"/>
              <a:gd name="connsiteY2" fmla="*/ 5939409 h 5995891"/>
              <a:gd name="connsiteX3" fmla="*/ 2 w 1299986"/>
              <a:gd name="connsiteY3" fmla="*/ 3273178 h 5995891"/>
              <a:gd name="connsiteX0" fmla="*/ 2 w 1299986"/>
              <a:gd name="connsiteY0" fmla="*/ 3273178 h 5995891"/>
              <a:gd name="connsiteX1" fmla="*/ 1289826 w 1299986"/>
              <a:gd name="connsiteY1" fmla="*/ 0 h 5995891"/>
              <a:gd name="connsiteX2" fmla="*/ 1299986 w 1299986"/>
              <a:gd name="connsiteY2" fmla="*/ 5939409 h 5995891"/>
              <a:gd name="connsiteX3" fmla="*/ 2 w 1299986"/>
              <a:gd name="connsiteY3" fmla="*/ 3273178 h 5995891"/>
              <a:gd name="connsiteX0" fmla="*/ 2 w 1299986"/>
              <a:gd name="connsiteY0" fmla="*/ 3273178 h 5995891"/>
              <a:gd name="connsiteX1" fmla="*/ 1289826 w 1299986"/>
              <a:gd name="connsiteY1" fmla="*/ 0 h 5995891"/>
              <a:gd name="connsiteX2" fmla="*/ 1299986 w 1299986"/>
              <a:gd name="connsiteY2" fmla="*/ 5939409 h 5995891"/>
              <a:gd name="connsiteX3" fmla="*/ 2 w 1299986"/>
              <a:gd name="connsiteY3" fmla="*/ 3273178 h 5995891"/>
              <a:gd name="connsiteX0" fmla="*/ 2 w 1299986"/>
              <a:gd name="connsiteY0" fmla="*/ 2725028 h 5445777"/>
              <a:gd name="connsiteX1" fmla="*/ 1289826 w 1299986"/>
              <a:gd name="connsiteY1" fmla="*/ 0 h 5445777"/>
              <a:gd name="connsiteX2" fmla="*/ 1299986 w 1299986"/>
              <a:gd name="connsiteY2" fmla="*/ 5391259 h 5445777"/>
              <a:gd name="connsiteX3" fmla="*/ 2 w 1299986"/>
              <a:gd name="connsiteY3" fmla="*/ 2725028 h 5445777"/>
              <a:gd name="connsiteX0" fmla="*/ 2 w 1299986"/>
              <a:gd name="connsiteY0" fmla="*/ 3141216 h 5863443"/>
              <a:gd name="connsiteX1" fmla="*/ 1289826 w 1299986"/>
              <a:gd name="connsiteY1" fmla="*/ 0 h 5863443"/>
              <a:gd name="connsiteX2" fmla="*/ 1299986 w 1299986"/>
              <a:gd name="connsiteY2" fmla="*/ 5807447 h 5863443"/>
              <a:gd name="connsiteX3" fmla="*/ 2 w 1299986"/>
              <a:gd name="connsiteY3" fmla="*/ 3141216 h 5863443"/>
              <a:gd name="connsiteX0" fmla="*/ 2 w 1299986"/>
              <a:gd name="connsiteY0" fmla="*/ 3141216 h 5863444"/>
              <a:gd name="connsiteX1" fmla="*/ 1289826 w 1299986"/>
              <a:gd name="connsiteY1" fmla="*/ 0 h 5863444"/>
              <a:gd name="connsiteX2" fmla="*/ 1299986 w 1299986"/>
              <a:gd name="connsiteY2" fmla="*/ 5807447 h 5863444"/>
              <a:gd name="connsiteX3" fmla="*/ 2 w 1299986"/>
              <a:gd name="connsiteY3" fmla="*/ 3141216 h 5863444"/>
              <a:gd name="connsiteX0" fmla="*/ 1 w 1889265"/>
              <a:gd name="connsiteY0" fmla="*/ 3851780 h 5885741"/>
              <a:gd name="connsiteX1" fmla="*/ 1879105 w 1889265"/>
              <a:gd name="connsiteY1" fmla="*/ 0 h 5885741"/>
              <a:gd name="connsiteX2" fmla="*/ 1889265 w 1889265"/>
              <a:gd name="connsiteY2" fmla="*/ 5807447 h 5885741"/>
              <a:gd name="connsiteX3" fmla="*/ 1 w 1889265"/>
              <a:gd name="connsiteY3" fmla="*/ 3851780 h 5885741"/>
              <a:gd name="connsiteX0" fmla="*/ 694 w 1889958"/>
              <a:gd name="connsiteY0" fmla="*/ 3851780 h 5898819"/>
              <a:gd name="connsiteX1" fmla="*/ 1879798 w 1889958"/>
              <a:gd name="connsiteY1" fmla="*/ 0 h 5898819"/>
              <a:gd name="connsiteX2" fmla="*/ 1889958 w 1889958"/>
              <a:gd name="connsiteY2" fmla="*/ 5807447 h 5898819"/>
              <a:gd name="connsiteX3" fmla="*/ 694 w 1889958"/>
              <a:gd name="connsiteY3" fmla="*/ 3851780 h 5898819"/>
              <a:gd name="connsiteX0" fmla="*/ 694 w 1889958"/>
              <a:gd name="connsiteY0" fmla="*/ 3740120 h 5892762"/>
              <a:gd name="connsiteX1" fmla="*/ 1879798 w 1889958"/>
              <a:gd name="connsiteY1" fmla="*/ 0 h 5892762"/>
              <a:gd name="connsiteX2" fmla="*/ 1889958 w 1889958"/>
              <a:gd name="connsiteY2" fmla="*/ 5807447 h 5892762"/>
              <a:gd name="connsiteX3" fmla="*/ 694 w 1889958"/>
              <a:gd name="connsiteY3" fmla="*/ 3740120 h 5892762"/>
              <a:gd name="connsiteX0" fmla="*/ 690 w 1900114"/>
              <a:gd name="connsiteY0" fmla="*/ 3811177 h 5896524"/>
              <a:gd name="connsiteX1" fmla="*/ 1889954 w 1900114"/>
              <a:gd name="connsiteY1" fmla="*/ 0 h 5896524"/>
              <a:gd name="connsiteX2" fmla="*/ 1900114 w 1900114"/>
              <a:gd name="connsiteY2" fmla="*/ 5807447 h 5896524"/>
              <a:gd name="connsiteX3" fmla="*/ 690 w 1900114"/>
              <a:gd name="connsiteY3" fmla="*/ 3811177 h 5896524"/>
              <a:gd name="connsiteX0" fmla="*/ 690 w 1900114"/>
              <a:gd name="connsiteY0" fmla="*/ 3811177 h 5807447"/>
              <a:gd name="connsiteX1" fmla="*/ 1889954 w 1900114"/>
              <a:gd name="connsiteY1" fmla="*/ 0 h 5807447"/>
              <a:gd name="connsiteX2" fmla="*/ 1900114 w 1900114"/>
              <a:gd name="connsiteY2" fmla="*/ 5807447 h 5807447"/>
              <a:gd name="connsiteX3" fmla="*/ 690 w 1900114"/>
              <a:gd name="connsiteY3" fmla="*/ 3811177 h 5807447"/>
              <a:gd name="connsiteX0" fmla="*/ 690 w 1900114"/>
              <a:gd name="connsiteY0" fmla="*/ 3811177 h 5807447"/>
              <a:gd name="connsiteX1" fmla="*/ 1889954 w 1900114"/>
              <a:gd name="connsiteY1" fmla="*/ 0 h 5807447"/>
              <a:gd name="connsiteX2" fmla="*/ 1900114 w 1900114"/>
              <a:gd name="connsiteY2" fmla="*/ 5807447 h 5807447"/>
              <a:gd name="connsiteX3" fmla="*/ 690 w 1900114"/>
              <a:gd name="connsiteY3" fmla="*/ 3811177 h 5807447"/>
              <a:gd name="connsiteX0" fmla="*/ 403 w 1899827"/>
              <a:gd name="connsiteY0" fmla="*/ 3811177 h 5807447"/>
              <a:gd name="connsiteX1" fmla="*/ 1889667 w 1899827"/>
              <a:gd name="connsiteY1" fmla="*/ 0 h 5807447"/>
              <a:gd name="connsiteX2" fmla="*/ 1899827 w 1899827"/>
              <a:gd name="connsiteY2" fmla="*/ 5807447 h 5807447"/>
              <a:gd name="connsiteX3" fmla="*/ 403 w 1899827"/>
              <a:gd name="connsiteY3" fmla="*/ 3811177 h 5807447"/>
            </a:gdLst>
            <a:ahLst/>
            <a:cxnLst>
              <a:cxn ang="0">
                <a:pos x="connsiteX0" y="connsiteY0"/>
              </a:cxn>
              <a:cxn ang="0">
                <a:pos x="connsiteX1" y="connsiteY1"/>
              </a:cxn>
              <a:cxn ang="0">
                <a:pos x="connsiteX2" y="connsiteY2"/>
              </a:cxn>
              <a:cxn ang="0">
                <a:pos x="connsiteX3" y="connsiteY3"/>
              </a:cxn>
            </a:cxnLst>
            <a:rect l="l" t="t" r="r" b="b"/>
            <a:pathLst>
              <a:path w="1899827" h="5807447">
                <a:moveTo>
                  <a:pt x="403" y="3811177"/>
                </a:moveTo>
                <a:cubicBezTo>
                  <a:pt x="-31770" y="2467685"/>
                  <a:pt x="1876203" y="854946"/>
                  <a:pt x="1889667" y="0"/>
                </a:cubicBezTo>
                <a:cubicBezTo>
                  <a:pt x="1893054" y="1979803"/>
                  <a:pt x="1896440" y="3827644"/>
                  <a:pt x="1899827" y="5807447"/>
                </a:cubicBezTo>
                <a:cubicBezTo>
                  <a:pt x="1007523" y="5706703"/>
                  <a:pt x="32576" y="5154669"/>
                  <a:pt x="403" y="3811177"/>
                </a:cubicBezTo>
                <a:close/>
              </a:path>
            </a:pathLst>
          </a:custGeom>
          <a:solidFill>
            <a:schemeClr val="bg2"/>
          </a:solidFill>
          <a:ln w="3175">
            <a:noFill/>
          </a:ln>
        </p:spPr>
        <p:txBody>
          <a:bodyPr tIns="720000" rtlCol="0" anchor="ctr">
            <a:noAutofit/>
          </a:bodyPr>
          <a:lstStyle>
            <a:lvl1pPr algn="ctr">
              <a:defRPr sz="1500">
                <a:solidFill>
                  <a:schemeClr val="bg1"/>
                </a:solidFill>
              </a:defRPr>
            </a:lvl1pPr>
          </a:lstStyle>
          <a:p>
            <a:pPr lvl="0"/>
            <a:r>
              <a:rPr lang="en-US" noProof="0" smtClean="0"/>
              <a:t>Click icon to add picture</a:t>
            </a:r>
            <a:endParaRPr lang="en-US" noProof="0" dirty="0"/>
          </a:p>
        </p:txBody>
      </p:sp>
      <p:sp>
        <p:nvSpPr>
          <p:cNvPr id="8" name="Espace réservé de la date 10"/>
          <p:cNvSpPr>
            <a:spLocks noGrp="1"/>
          </p:cNvSpPr>
          <p:nvPr>
            <p:ph type="dt" sz="half" idx="19"/>
          </p:nvPr>
        </p:nvSpPr>
        <p:spPr/>
        <p:txBody>
          <a:bodyPr/>
          <a:lstStyle>
            <a:lvl1pPr>
              <a:defRPr/>
            </a:lvl1pPr>
          </a:lstStyle>
          <a:p>
            <a:pPr>
              <a:defRPr/>
            </a:pPr>
            <a:r>
              <a:rPr lang="en-US">
                <a:solidFill>
                  <a:prstClr val="white">
                    <a:alpha val="0"/>
                  </a:prstClr>
                </a:solidFill>
              </a:rPr>
              <a:t>Date</a:t>
            </a:r>
          </a:p>
        </p:txBody>
      </p:sp>
      <p:sp>
        <p:nvSpPr>
          <p:cNvPr id="9" name="Espace réservé du numéro de diapositive 11"/>
          <p:cNvSpPr>
            <a:spLocks noGrp="1"/>
          </p:cNvSpPr>
          <p:nvPr>
            <p:ph type="sldNum" sz="quarter" idx="20"/>
          </p:nvPr>
        </p:nvSpPr>
        <p:spPr/>
        <p:txBody>
          <a:bodyPr/>
          <a:lstStyle>
            <a:lvl1pPr>
              <a:defRPr/>
            </a:lvl1pPr>
          </a:lstStyle>
          <a:p>
            <a:pPr>
              <a:defRPr/>
            </a:pPr>
            <a:fld id="{669CD8F2-86ED-43C7-A24E-82A206DEE6AE}" type="slidenum">
              <a:rPr lang="en-US">
                <a:solidFill>
                  <a:srgbClr val="343434"/>
                </a:solidFill>
              </a:rPr>
              <a:pPr>
                <a:defRPr/>
              </a:pPr>
              <a:t>‹#›</a:t>
            </a:fld>
            <a:endParaRPr lang="en-US">
              <a:solidFill>
                <a:srgbClr val="343434"/>
              </a:solidFill>
            </a:endParaRPr>
          </a:p>
        </p:txBody>
      </p:sp>
      <p:sp>
        <p:nvSpPr>
          <p:cNvPr id="11" name="Espace réservé du pied de page 12"/>
          <p:cNvSpPr>
            <a:spLocks noGrp="1"/>
          </p:cNvSpPr>
          <p:nvPr>
            <p:ph type="ftr" sz="quarter" idx="21"/>
          </p:nvPr>
        </p:nvSpPr>
        <p:spPr/>
        <p:txBody>
          <a:bodyPr/>
          <a:lstStyle>
            <a:lvl1pPr>
              <a:defRPr/>
            </a:lvl1pPr>
          </a:lstStyle>
          <a:p>
            <a:pPr>
              <a:defRPr/>
            </a:pPr>
            <a:r>
              <a:rPr lang="en-US">
                <a:solidFill>
                  <a:srgbClr val="005CB9"/>
                </a:solidFill>
              </a:rPr>
              <a:t>#</a:t>
            </a:r>
            <a:r>
              <a:rPr lang="en-US" err="1">
                <a:solidFill>
                  <a:srgbClr val="005CB9"/>
                </a:solidFill>
              </a:rPr>
              <a:t>vaccineswork</a:t>
            </a:r>
            <a:endParaRPr lang="en-US">
              <a:solidFill>
                <a:srgbClr val="005CB9"/>
              </a:solidFill>
            </a:endParaRPr>
          </a:p>
        </p:txBody>
      </p:sp>
    </p:spTree>
    <p:extLst>
      <p:ext uri="{BB962C8B-B14F-4D97-AF65-F5344CB8AC3E}">
        <p14:creationId xmlns:p14="http://schemas.microsoft.com/office/powerpoint/2010/main" val="1988107245"/>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Picture_Layout">
    <p:spTree>
      <p:nvGrpSpPr>
        <p:cNvPr id="1" name=""/>
        <p:cNvGrpSpPr/>
        <p:nvPr/>
      </p:nvGrpSpPr>
      <p:grpSpPr>
        <a:xfrm>
          <a:off x="0" y="0"/>
          <a:ext cx="0" cy="0"/>
          <a:chOff x="0" y="0"/>
          <a:chExt cx="0" cy="0"/>
        </a:xfrm>
      </p:grpSpPr>
      <p:sp>
        <p:nvSpPr>
          <p:cNvPr id="2" name="Titre 1"/>
          <p:cNvSpPr>
            <a:spLocks noGrp="1"/>
          </p:cNvSpPr>
          <p:nvPr>
            <p:ph type="title"/>
          </p:nvPr>
        </p:nvSpPr>
        <p:spPr bwMode="gray"/>
        <p:txBody>
          <a:bodyPr/>
          <a:lstStyle/>
          <a:p>
            <a:r>
              <a:rPr lang="en-US" noProof="0" smtClean="0"/>
              <a:t>Click to edit Master title style</a:t>
            </a:r>
            <a:endParaRPr lang="en-US" noProof="0" dirty="0"/>
          </a:p>
        </p:txBody>
      </p:sp>
      <p:sp>
        <p:nvSpPr>
          <p:cNvPr id="3" name="Espace réservé du contenu 2"/>
          <p:cNvSpPr>
            <a:spLocks noGrp="1"/>
          </p:cNvSpPr>
          <p:nvPr>
            <p:ph idx="1"/>
          </p:nvPr>
        </p:nvSpPr>
        <p:spPr bwMode="gray">
          <a:xfrm>
            <a:off x="3635896" y="1304925"/>
            <a:ext cx="4644504" cy="4716463"/>
          </a:xfrm>
        </p:spPr>
        <p:txBody>
          <a:bodyPr/>
          <a:lstStyle>
            <a:lvl2pPr>
              <a:defRPr/>
            </a:lvl2pPr>
            <a:lvl3pPr>
              <a:defRPr/>
            </a:lvl3pPr>
            <a:lvl4pPr>
              <a:defRPr baseline="0"/>
            </a:lvl4pPr>
            <a:lvl5pPr>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9" name="Espace réservé pour une image  8"/>
          <p:cNvSpPr>
            <a:spLocks noGrp="1"/>
          </p:cNvSpPr>
          <p:nvPr>
            <p:ph type="pic" sz="quarter" idx="13"/>
          </p:nvPr>
        </p:nvSpPr>
        <p:spPr bwMode="gray">
          <a:xfrm>
            <a:off x="0" y="1341438"/>
            <a:ext cx="3419038" cy="4679950"/>
          </a:xfrm>
        </p:spPr>
        <p:txBody>
          <a:bodyPr tIns="1008000" rtlCol="0" anchor="ctr">
            <a:noAutofit/>
          </a:bodyPr>
          <a:lstStyle>
            <a:lvl1pPr algn="ctr">
              <a:defRPr/>
            </a:lvl1pPr>
          </a:lstStyle>
          <a:p>
            <a:pPr lvl="0"/>
            <a:r>
              <a:rPr lang="en-US" noProof="0" smtClean="0"/>
              <a:t>Click icon to add picture</a:t>
            </a:r>
            <a:endParaRPr lang="en-US" noProof="0" dirty="0"/>
          </a:p>
        </p:txBody>
      </p:sp>
      <p:sp>
        <p:nvSpPr>
          <p:cNvPr id="5" name="Espace réservé de la date 3"/>
          <p:cNvSpPr>
            <a:spLocks noGrp="1"/>
          </p:cNvSpPr>
          <p:nvPr>
            <p:ph type="dt" sz="half" idx="14"/>
          </p:nvPr>
        </p:nvSpPr>
        <p:spPr/>
        <p:txBody>
          <a:bodyPr/>
          <a:lstStyle>
            <a:lvl1pPr>
              <a:defRPr/>
            </a:lvl1pPr>
          </a:lstStyle>
          <a:p>
            <a:pPr>
              <a:defRPr/>
            </a:pPr>
            <a:r>
              <a:rPr lang="en-US">
                <a:solidFill>
                  <a:prstClr val="white">
                    <a:alpha val="0"/>
                  </a:prstClr>
                </a:solidFill>
              </a:rPr>
              <a:t>Date</a:t>
            </a:r>
          </a:p>
        </p:txBody>
      </p:sp>
      <p:sp>
        <p:nvSpPr>
          <p:cNvPr id="6" name="Espace réservé du pied de page 4"/>
          <p:cNvSpPr>
            <a:spLocks noGrp="1"/>
          </p:cNvSpPr>
          <p:nvPr>
            <p:ph type="ftr" sz="quarter" idx="15"/>
          </p:nvPr>
        </p:nvSpPr>
        <p:spPr/>
        <p:txBody>
          <a:bodyPr/>
          <a:lstStyle>
            <a:lvl1pPr>
              <a:defRPr/>
            </a:lvl1pPr>
          </a:lstStyle>
          <a:p>
            <a:pPr>
              <a:defRPr/>
            </a:pPr>
            <a:r>
              <a:rPr lang="en-US">
                <a:solidFill>
                  <a:srgbClr val="005CB9"/>
                </a:solidFill>
              </a:rPr>
              <a:t>#</a:t>
            </a:r>
            <a:r>
              <a:rPr lang="en-US" err="1">
                <a:solidFill>
                  <a:srgbClr val="005CB9"/>
                </a:solidFill>
              </a:rPr>
              <a:t>vaccineswork</a:t>
            </a:r>
            <a:endParaRPr lang="en-US">
              <a:solidFill>
                <a:srgbClr val="005CB9"/>
              </a:solidFill>
            </a:endParaRPr>
          </a:p>
        </p:txBody>
      </p:sp>
      <p:sp>
        <p:nvSpPr>
          <p:cNvPr id="7" name="Espace réservé du numéro de diapositive 5"/>
          <p:cNvSpPr>
            <a:spLocks noGrp="1"/>
          </p:cNvSpPr>
          <p:nvPr>
            <p:ph type="sldNum" sz="quarter" idx="16"/>
          </p:nvPr>
        </p:nvSpPr>
        <p:spPr/>
        <p:txBody>
          <a:bodyPr/>
          <a:lstStyle>
            <a:lvl1pPr>
              <a:defRPr/>
            </a:lvl1pPr>
          </a:lstStyle>
          <a:p>
            <a:pPr>
              <a:defRPr/>
            </a:pPr>
            <a:fld id="{D8886677-8A24-41A7-8E0F-301076E1EA36}" type="slidenum">
              <a:rPr lang="en-US">
                <a:solidFill>
                  <a:srgbClr val="343434"/>
                </a:solidFill>
              </a:rPr>
              <a:pPr>
                <a:defRPr/>
              </a:pPr>
              <a:t>‹#›</a:t>
            </a:fld>
            <a:endParaRPr lang="en-US">
              <a:solidFill>
                <a:srgbClr val="343434"/>
              </a:solidFill>
            </a:endParaRPr>
          </a:p>
        </p:txBody>
      </p:sp>
    </p:spTree>
    <p:extLst>
      <p:ext uri="{BB962C8B-B14F-4D97-AF65-F5344CB8AC3E}">
        <p14:creationId xmlns:p14="http://schemas.microsoft.com/office/powerpoint/2010/main" val="683983378"/>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Text&amp;Content_Layout">
    <p:spTree>
      <p:nvGrpSpPr>
        <p:cNvPr id="1" name=""/>
        <p:cNvGrpSpPr/>
        <p:nvPr/>
      </p:nvGrpSpPr>
      <p:grpSpPr>
        <a:xfrm>
          <a:off x="0" y="0"/>
          <a:ext cx="0" cy="0"/>
          <a:chOff x="0" y="0"/>
          <a:chExt cx="0" cy="0"/>
        </a:xfrm>
      </p:grpSpPr>
      <p:sp>
        <p:nvSpPr>
          <p:cNvPr id="2" name="Titre 1"/>
          <p:cNvSpPr>
            <a:spLocks noGrp="1"/>
          </p:cNvSpPr>
          <p:nvPr>
            <p:ph type="title"/>
          </p:nvPr>
        </p:nvSpPr>
        <p:spPr bwMode="gray"/>
        <p:txBody>
          <a:bodyPr/>
          <a:lstStyle/>
          <a:p>
            <a:r>
              <a:rPr lang="en-US" noProof="0" smtClean="0"/>
              <a:t>Click to edit Master title style</a:t>
            </a:r>
            <a:endParaRPr lang="en-US" noProof="0"/>
          </a:p>
        </p:txBody>
      </p:sp>
      <p:sp>
        <p:nvSpPr>
          <p:cNvPr id="3" name="Espace réservé du contenu 2"/>
          <p:cNvSpPr>
            <a:spLocks noGrp="1"/>
          </p:cNvSpPr>
          <p:nvPr>
            <p:ph idx="1"/>
          </p:nvPr>
        </p:nvSpPr>
        <p:spPr bwMode="gray">
          <a:xfrm>
            <a:off x="935038" y="2781388"/>
            <a:ext cx="7345362" cy="3240000"/>
          </a:xfrm>
        </p:spPr>
        <p:txBody>
          <a:bodyPr/>
          <a:lstStyle>
            <a:lvl2pPr>
              <a:defRPr/>
            </a:lvl2pPr>
            <a:lvl3pPr>
              <a:defRPr/>
            </a:lvl3pPr>
            <a:lvl4pPr>
              <a:defRPr baseline="0"/>
            </a:lvl4pPr>
            <a:lvl5pPr>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0" name="Espace réservé du texte 9"/>
          <p:cNvSpPr>
            <a:spLocks noGrp="1"/>
          </p:cNvSpPr>
          <p:nvPr>
            <p:ph type="body" sz="quarter" idx="13"/>
          </p:nvPr>
        </p:nvSpPr>
        <p:spPr bwMode="gray">
          <a:xfrm>
            <a:off x="935038" y="1304924"/>
            <a:ext cx="7345362" cy="12600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5" name="Espace réservé de la date 3"/>
          <p:cNvSpPr>
            <a:spLocks noGrp="1"/>
          </p:cNvSpPr>
          <p:nvPr>
            <p:ph type="dt" sz="half" idx="14"/>
          </p:nvPr>
        </p:nvSpPr>
        <p:spPr/>
        <p:txBody>
          <a:bodyPr/>
          <a:lstStyle>
            <a:lvl1pPr>
              <a:defRPr/>
            </a:lvl1pPr>
          </a:lstStyle>
          <a:p>
            <a:pPr>
              <a:defRPr/>
            </a:pPr>
            <a:r>
              <a:rPr lang="en-US">
                <a:solidFill>
                  <a:prstClr val="white">
                    <a:alpha val="0"/>
                  </a:prstClr>
                </a:solidFill>
              </a:rPr>
              <a:t>Date</a:t>
            </a:r>
          </a:p>
        </p:txBody>
      </p:sp>
      <p:sp>
        <p:nvSpPr>
          <p:cNvPr id="6" name="Espace réservé du pied de page 4"/>
          <p:cNvSpPr>
            <a:spLocks noGrp="1"/>
          </p:cNvSpPr>
          <p:nvPr>
            <p:ph type="ftr" sz="quarter" idx="15"/>
          </p:nvPr>
        </p:nvSpPr>
        <p:spPr/>
        <p:txBody>
          <a:bodyPr/>
          <a:lstStyle>
            <a:lvl1pPr>
              <a:defRPr/>
            </a:lvl1pPr>
          </a:lstStyle>
          <a:p>
            <a:pPr>
              <a:defRPr/>
            </a:pPr>
            <a:r>
              <a:rPr lang="en-US">
                <a:solidFill>
                  <a:srgbClr val="005CB9"/>
                </a:solidFill>
              </a:rPr>
              <a:t>#</a:t>
            </a:r>
            <a:r>
              <a:rPr lang="en-US" err="1">
                <a:solidFill>
                  <a:srgbClr val="005CB9"/>
                </a:solidFill>
              </a:rPr>
              <a:t>vaccineswork</a:t>
            </a:r>
            <a:endParaRPr lang="en-US">
              <a:solidFill>
                <a:srgbClr val="005CB9"/>
              </a:solidFill>
            </a:endParaRPr>
          </a:p>
        </p:txBody>
      </p:sp>
      <p:sp>
        <p:nvSpPr>
          <p:cNvPr id="7" name="Espace réservé du numéro de diapositive 5"/>
          <p:cNvSpPr>
            <a:spLocks noGrp="1"/>
          </p:cNvSpPr>
          <p:nvPr>
            <p:ph type="sldNum" sz="quarter" idx="16"/>
          </p:nvPr>
        </p:nvSpPr>
        <p:spPr/>
        <p:txBody>
          <a:bodyPr/>
          <a:lstStyle>
            <a:lvl1pPr>
              <a:defRPr/>
            </a:lvl1pPr>
          </a:lstStyle>
          <a:p>
            <a:pPr>
              <a:defRPr/>
            </a:pPr>
            <a:fld id="{8779425B-3CAA-48C9-9B95-57BAD5A3D82E}" type="slidenum">
              <a:rPr lang="en-US">
                <a:solidFill>
                  <a:srgbClr val="343434"/>
                </a:solidFill>
              </a:rPr>
              <a:pPr>
                <a:defRPr/>
              </a:pPr>
              <a:t>‹#›</a:t>
            </a:fld>
            <a:endParaRPr lang="en-US">
              <a:solidFill>
                <a:srgbClr val="343434"/>
              </a:solidFill>
            </a:endParaRPr>
          </a:p>
        </p:txBody>
      </p:sp>
    </p:spTree>
    <p:extLst>
      <p:ext uri="{BB962C8B-B14F-4D97-AF65-F5344CB8AC3E}">
        <p14:creationId xmlns:p14="http://schemas.microsoft.com/office/powerpoint/2010/main" val="535621504"/>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Thank_you_1">
    <p:spTree>
      <p:nvGrpSpPr>
        <p:cNvPr id="1" name=""/>
        <p:cNvGrpSpPr/>
        <p:nvPr/>
      </p:nvGrpSpPr>
      <p:grpSpPr>
        <a:xfrm>
          <a:off x="0" y="0"/>
          <a:ext cx="0" cy="0"/>
          <a:chOff x="0" y="0"/>
          <a:chExt cx="0" cy="0"/>
        </a:xfrm>
      </p:grpSpPr>
      <p:pic>
        <p:nvPicPr>
          <p:cNvPr id="5" name="Image 18" descr="FD_1_L254.png"/>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gray">
          <a:xfrm>
            <a:off x="0" y="0"/>
            <a:ext cx="9144000" cy="51577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6" name="Rectangle 5"/>
          <p:cNvSpPr/>
          <p:nvPr userDrawn="1"/>
        </p:nvSpPr>
        <p:spPr bwMode="gray">
          <a:xfrm>
            <a:off x="3635375" y="5265738"/>
            <a:ext cx="5508625" cy="15922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prstClr val="white"/>
              </a:solidFill>
            </a:endParaRPr>
          </a:p>
        </p:txBody>
      </p:sp>
      <p:pic>
        <p:nvPicPr>
          <p:cNvPr id="7" name="Image 19" descr="Bas_couv.png"/>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gray">
          <a:xfrm>
            <a:off x="0" y="5172075"/>
            <a:ext cx="3635375" cy="16859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8" name="Rectangle 7"/>
          <p:cNvSpPr/>
          <p:nvPr userDrawn="1"/>
        </p:nvSpPr>
        <p:spPr bwMode="gray">
          <a:xfrm>
            <a:off x="3635375" y="6354763"/>
            <a:ext cx="5113338" cy="2873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p>
            <a:pPr algn="r">
              <a:defRPr/>
            </a:pPr>
            <a:r>
              <a:rPr lang="en-US" sz="1000" dirty="0" err="1">
                <a:solidFill>
                  <a:srgbClr val="95D600"/>
                </a:solidFill>
              </a:rPr>
              <a:t>www.gavi.org</a:t>
            </a:r>
            <a:endParaRPr lang="en-US" sz="1000" dirty="0">
              <a:solidFill>
                <a:srgbClr val="95D600"/>
              </a:solidFill>
            </a:endParaRPr>
          </a:p>
        </p:txBody>
      </p:sp>
      <p:cxnSp>
        <p:nvCxnSpPr>
          <p:cNvPr id="10" name="Connecteur droit 13"/>
          <p:cNvCxnSpPr/>
          <p:nvPr userDrawn="1"/>
        </p:nvCxnSpPr>
        <p:spPr bwMode="gray">
          <a:xfrm flipH="1">
            <a:off x="468313" y="3400425"/>
            <a:ext cx="2447925" cy="0"/>
          </a:xfrm>
          <a:prstGeom prst="line">
            <a:avLst/>
          </a:prstGeom>
          <a:ln w="24130">
            <a:solidFill>
              <a:schemeClr val="accent1"/>
            </a:solidFill>
          </a:ln>
        </p:spPr>
        <p:style>
          <a:lnRef idx="1">
            <a:schemeClr val="accent1"/>
          </a:lnRef>
          <a:fillRef idx="0">
            <a:schemeClr val="accent1"/>
          </a:fillRef>
          <a:effectRef idx="0">
            <a:schemeClr val="accent1"/>
          </a:effectRef>
          <a:fontRef idx="minor">
            <a:schemeClr val="tx1"/>
          </a:fontRef>
        </p:style>
      </p:cxnSp>
      <p:sp>
        <p:nvSpPr>
          <p:cNvPr id="9" name="Espace réservé du texte 8"/>
          <p:cNvSpPr>
            <a:spLocks noGrp="1"/>
          </p:cNvSpPr>
          <p:nvPr>
            <p:ph type="body" sz="quarter" idx="13"/>
          </p:nvPr>
        </p:nvSpPr>
        <p:spPr bwMode="gray">
          <a:xfrm>
            <a:off x="468314" y="1036638"/>
            <a:ext cx="4824412" cy="2242966"/>
          </a:xfrm>
        </p:spPr>
        <p:txBody>
          <a:bodyPr anchor="b"/>
          <a:lstStyle>
            <a:lvl1pPr marL="0" indent="0" algn="l">
              <a:lnSpc>
                <a:spcPct val="90000"/>
              </a:lnSpc>
              <a:buNone/>
              <a:defRPr sz="2800" b="1" cap="none" baseline="0">
                <a:solidFill>
                  <a:schemeClr val="bg1"/>
                </a:solidFill>
              </a:defRPr>
            </a:lvl1pPr>
            <a:lvl2pPr marL="0" algn="ctr">
              <a:lnSpc>
                <a:spcPct val="100000"/>
              </a:lnSpc>
              <a:spcBef>
                <a:spcPts val="6900"/>
              </a:spcBef>
              <a:defRPr sz="2000" b="1">
                <a:solidFill>
                  <a:schemeClr val="bg1"/>
                </a:solidFill>
              </a:defRPr>
            </a:lvl2pPr>
          </a:lstStyle>
          <a:p>
            <a:pPr lvl="0"/>
            <a:r>
              <a:rPr lang="en-US" noProof="0" smtClean="0"/>
              <a:t>Click to edit Master text styles</a:t>
            </a:r>
          </a:p>
        </p:txBody>
      </p:sp>
      <p:sp>
        <p:nvSpPr>
          <p:cNvPr id="15" name="Espace réservé du texte 14"/>
          <p:cNvSpPr>
            <a:spLocks noGrp="1"/>
          </p:cNvSpPr>
          <p:nvPr>
            <p:ph type="body" sz="quarter" idx="19"/>
          </p:nvPr>
        </p:nvSpPr>
        <p:spPr bwMode="gray">
          <a:xfrm>
            <a:off x="3635376" y="6021388"/>
            <a:ext cx="5113338" cy="324000"/>
          </a:xfrm>
        </p:spPr>
        <p:txBody>
          <a:bodyPr anchor="b"/>
          <a:lstStyle>
            <a:lvl1pPr algn="r">
              <a:lnSpc>
                <a:spcPct val="100000"/>
              </a:lnSpc>
              <a:defRPr sz="1000" b="1">
                <a:solidFill>
                  <a:schemeClr val="accent3"/>
                </a:solidFill>
              </a:defRPr>
            </a:lvl1pPr>
          </a:lstStyle>
          <a:p>
            <a:pPr lvl="0"/>
            <a:r>
              <a:rPr lang="en-US" noProof="0" smtClean="0"/>
              <a:t>Click to edit Master text styles</a:t>
            </a:r>
          </a:p>
        </p:txBody>
      </p:sp>
      <p:sp>
        <p:nvSpPr>
          <p:cNvPr id="13" name="Espace réservé pour une image  17"/>
          <p:cNvSpPr>
            <a:spLocks noGrp="1"/>
          </p:cNvSpPr>
          <p:nvPr>
            <p:ph type="pic" sz="quarter" idx="18"/>
          </p:nvPr>
        </p:nvSpPr>
        <p:spPr bwMode="gray">
          <a:xfrm>
            <a:off x="4192588" y="0"/>
            <a:ext cx="4951412" cy="5162400"/>
          </a:xfrm>
          <a:custGeom>
            <a:avLst/>
            <a:gdLst>
              <a:gd name="connsiteX0" fmla="*/ 0 w 3851275"/>
              <a:gd name="connsiteY0" fmla="*/ 0 h 5157788"/>
              <a:gd name="connsiteX1" fmla="*/ 3851275 w 3851275"/>
              <a:gd name="connsiteY1" fmla="*/ 0 h 5157788"/>
              <a:gd name="connsiteX2" fmla="*/ 3851275 w 3851275"/>
              <a:gd name="connsiteY2" fmla="*/ 5157788 h 5157788"/>
              <a:gd name="connsiteX3" fmla="*/ 0 w 3851275"/>
              <a:gd name="connsiteY3" fmla="*/ 5157788 h 5157788"/>
              <a:gd name="connsiteX4" fmla="*/ 0 w 3851275"/>
              <a:gd name="connsiteY4"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0 w 3851275"/>
              <a:gd name="connsiteY3" fmla="*/ 5157788 h 5157788"/>
              <a:gd name="connsiteX4" fmla="*/ 1692275 w 3851275"/>
              <a:gd name="connsiteY4" fmla="*/ 0 h 5157788"/>
              <a:gd name="connsiteX0" fmla="*/ 0 w 2159000"/>
              <a:gd name="connsiteY0" fmla="*/ 0 h 5157788"/>
              <a:gd name="connsiteX1" fmla="*/ 2159000 w 2159000"/>
              <a:gd name="connsiteY1" fmla="*/ 0 h 5157788"/>
              <a:gd name="connsiteX2" fmla="*/ 2159000 w 2159000"/>
              <a:gd name="connsiteY2" fmla="*/ 5157788 h 5157788"/>
              <a:gd name="connsiteX3" fmla="*/ 0 w 2159000"/>
              <a:gd name="connsiteY3" fmla="*/ 5157788 h 5157788"/>
              <a:gd name="connsiteX4" fmla="*/ 0 w 2159000"/>
              <a:gd name="connsiteY4" fmla="*/ 0 h 5157788"/>
              <a:gd name="connsiteX0" fmla="*/ 2625271 w 4784271"/>
              <a:gd name="connsiteY0" fmla="*/ 0 h 5157788"/>
              <a:gd name="connsiteX1" fmla="*/ 4784271 w 4784271"/>
              <a:gd name="connsiteY1" fmla="*/ 0 h 5157788"/>
              <a:gd name="connsiteX2" fmla="*/ 4784271 w 4784271"/>
              <a:gd name="connsiteY2" fmla="*/ 5157788 h 5157788"/>
              <a:gd name="connsiteX3" fmla="*/ 2625271 w 4784271"/>
              <a:gd name="connsiteY3" fmla="*/ 5157788 h 5157788"/>
              <a:gd name="connsiteX4" fmla="*/ 2625271 w 4784271"/>
              <a:gd name="connsiteY4" fmla="*/ 0 h 5157788"/>
              <a:gd name="connsiteX0" fmla="*/ 2625271 w 4784271"/>
              <a:gd name="connsiteY0" fmla="*/ 0 h 5157788"/>
              <a:gd name="connsiteX1" fmla="*/ 4784271 w 4784271"/>
              <a:gd name="connsiteY1" fmla="*/ 0 h 5157788"/>
              <a:gd name="connsiteX2" fmla="*/ 4784271 w 4784271"/>
              <a:gd name="connsiteY2" fmla="*/ 5157788 h 5157788"/>
              <a:gd name="connsiteX3" fmla="*/ 2625271 w 4784271"/>
              <a:gd name="connsiteY3" fmla="*/ 5157788 h 5157788"/>
              <a:gd name="connsiteX4" fmla="*/ 2625271 w 4784271"/>
              <a:gd name="connsiteY4" fmla="*/ 0 h 5157788"/>
              <a:gd name="connsiteX0" fmla="*/ 3568576 w 5727576"/>
              <a:gd name="connsiteY0" fmla="*/ 0 h 5157788"/>
              <a:gd name="connsiteX1" fmla="*/ 5727576 w 5727576"/>
              <a:gd name="connsiteY1" fmla="*/ 0 h 5157788"/>
              <a:gd name="connsiteX2" fmla="*/ 5727576 w 5727576"/>
              <a:gd name="connsiteY2" fmla="*/ 5157788 h 5157788"/>
              <a:gd name="connsiteX3" fmla="*/ 3568576 w 5727576"/>
              <a:gd name="connsiteY3" fmla="*/ 5157788 h 5157788"/>
              <a:gd name="connsiteX4" fmla="*/ 3568576 w 5727576"/>
              <a:gd name="connsiteY4" fmla="*/ 0 h 5157788"/>
              <a:gd name="connsiteX0" fmla="*/ 3306355 w 5465355"/>
              <a:gd name="connsiteY0" fmla="*/ 0 h 5157788"/>
              <a:gd name="connsiteX1" fmla="*/ 5465355 w 5465355"/>
              <a:gd name="connsiteY1" fmla="*/ 0 h 5157788"/>
              <a:gd name="connsiteX2" fmla="*/ 5465355 w 5465355"/>
              <a:gd name="connsiteY2" fmla="*/ 5157788 h 5157788"/>
              <a:gd name="connsiteX3" fmla="*/ 3306355 w 5465355"/>
              <a:gd name="connsiteY3" fmla="*/ 5157788 h 5157788"/>
              <a:gd name="connsiteX4" fmla="*/ 3306355 w 5465355"/>
              <a:gd name="connsiteY4" fmla="*/ 0 h 5157788"/>
              <a:gd name="connsiteX0" fmla="*/ 1416957 w 3575957"/>
              <a:gd name="connsiteY0" fmla="*/ 0 h 5157788"/>
              <a:gd name="connsiteX1" fmla="*/ 3575957 w 3575957"/>
              <a:gd name="connsiteY1" fmla="*/ 0 h 5157788"/>
              <a:gd name="connsiteX2" fmla="*/ 3575957 w 3575957"/>
              <a:gd name="connsiteY2" fmla="*/ 5157788 h 5157788"/>
              <a:gd name="connsiteX3" fmla="*/ 1416957 w 3575957"/>
              <a:gd name="connsiteY3" fmla="*/ 5157788 h 5157788"/>
              <a:gd name="connsiteX4" fmla="*/ 0 w 3575957"/>
              <a:gd name="connsiteY4" fmla="*/ 3339193 h 5157788"/>
              <a:gd name="connsiteX5" fmla="*/ 1416957 w 3575957"/>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6017419"/>
              <a:gd name="connsiteX1" fmla="*/ 3851275 w 3851275"/>
              <a:gd name="connsiteY1" fmla="*/ 0 h 6017419"/>
              <a:gd name="connsiteX2" fmla="*/ 3851275 w 3851275"/>
              <a:gd name="connsiteY2" fmla="*/ 5157788 h 6017419"/>
              <a:gd name="connsiteX3" fmla="*/ 1692275 w 3851275"/>
              <a:gd name="connsiteY3" fmla="*/ 5157788 h 6017419"/>
              <a:gd name="connsiteX4" fmla="*/ 0 w 3851275"/>
              <a:gd name="connsiteY4" fmla="*/ 3284984 h 6017419"/>
              <a:gd name="connsiteX5" fmla="*/ 1692275 w 3851275"/>
              <a:gd name="connsiteY5" fmla="*/ 0 h 6017419"/>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429000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429000 h 5157788"/>
              <a:gd name="connsiteX5" fmla="*/ 1710871 w 3869871"/>
              <a:gd name="connsiteY5" fmla="*/ 0 h 5157788"/>
              <a:gd name="connsiteX0" fmla="*/ 1704975 w 3863975"/>
              <a:gd name="connsiteY0" fmla="*/ 0 h 5157788"/>
              <a:gd name="connsiteX1" fmla="*/ 3863975 w 3863975"/>
              <a:gd name="connsiteY1" fmla="*/ 0 h 5157788"/>
              <a:gd name="connsiteX2" fmla="*/ 3863975 w 3863975"/>
              <a:gd name="connsiteY2" fmla="*/ 5157788 h 5157788"/>
              <a:gd name="connsiteX3" fmla="*/ 1704975 w 3863975"/>
              <a:gd name="connsiteY3" fmla="*/ 5157788 h 5157788"/>
              <a:gd name="connsiteX4" fmla="*/ 12700 w 3863975"/>
              <a:gd name="connsiteY4" fmla="*/ 3429000 h 5157788"/>
              <a:gd name="connsiteX5" fmla="*/ 1704975 w 3863975"/>
              <a:gd name="connsiteY5" fmla="*/ 0 h 5157788"/>
              <a:gd name="connsiteX0" fmla="*/ 1707243 w 3866243"/>
              <a:gd name="connsiteY0" fmla="*/ 0 h 5157788"/>
              <a:gd name="connsiteX1" fmla="*/ 3866243 w 3866243"/>
              <a:gd name="connsiteY1" fmla="*/ 0 h 5157788"/>
              <a:gd name="connsiteX2" fmla="*/ 3866243 w 3866243"/>
              <a:gd name="connsiteY2" fmla="*/ 5157788 h 5157788"/>
              <a:gd name="connsiteX3" fmla="*/ 1707243 w 3866243"/>
              <a:gd name="connsiteY3" fmla="*/ 5157788 h 5157788"/>
              <a:gd name="connsiteX4" fmla="*/ 14968 w 3866243"/>
              <a:gd name="connsiteY4" fmla="*/ 3429000 h 5157788"/>
              <a:gd name="connsiteX5" fmla="*/ 1707243 w 3866243"/>
              <a:gd name="connsiteY5" fmla="*/ 0 h 5157788"/>
              <a:gd name="connsiteX0" fmla="*/ 1130447 w 3866243"/>
              <a:gd name="connsiteY0" fmla="*/ 0 h 5157788"/>
              <a:gd name="connsiteX1" fmla="*/ 3866243 w 3866243"/>
              <a:gd name="connsiteY1" fmla="*/ 0 h 5157788"/>
              <a:gd name="connsiteX2" fmla="*/ 3866243 w 3866243"/>
              <a:gd name="connsiteY2" fmla="*/ 5157788 h 5157788"/>
              <a:gd name="connsiteX3" fmla="*/ 1707243 w 3866243"/>
              <a:gd name="connsiteY3" fmla="*/ 5157788 h 5157788"/>
              <a:gd name="connsiteX4" fmla="*/ 14968 w 3866243"/>
              <a:gd name="connsiteY4" fmla="*/ 3429000 h 5157788"/>
              <a:gd name="connsiteX5" fmla="*/ 1130447 w 3866243"/>
              <a:gd name="connsiteY5" fmla="*/ 0 h 5157788"/>
              <a:gd name="connsiteX0" fmla="*/ 2746143 w 5481939"/>
              <a:gd name="connsiteY0" fmla="*/ 0 h 5157788"/>
              <a:gd name="connsiteX1" fmla="*/ 5481939 w 5481939"/>
              <a:gd name="connsiteY1" fmla="*/ 0 h 5157788"/>
              <a:gd name="connsiteX2" fmla="*/ 5481939 w 5481939"/>
              <a:gd name="connsiteY2" fmla="*/ 5157788 h 5157788"/>
              <a:gd name="connsiteX3" fmla="*/ 585903 w 5481939"/>
              <a:gd name="connsiteY3" fmla="*/ 5153180 h 5157788"/>
              <a:gd name="connsiteX4" fmla="*/ 1630664 w 5481939"/>
              <a:gd name="connsiteY4" fmla="*/ 3429000 h 5157788"/>
              <a:gd name="connsiteX5" fmla="*/ 2746143 w 5481939"/>
              <a:gd name="connsiteY5" fmla="*/ 0 h 5157788"/>
              <a:gd name="connsiteX0" fmla="*/ 2746143 w 5481939"/>
              <a:gd name="connsiteY0" fmla="*/ 0 h 5157788"/>
              <a:gd name="connsiteX1" fmla="*/ 5481939 w 5481939"/>
              <a:gd name="connsiteY1" fmla="*/ 0 h 5157788"/>
              <a:gd name="connsiteX2" fmla="*/ 5481939 w 5481939"/>
              <a:gd name="connsiteY2" fmla="*/ 5157788 h 5157788"/>
              <a:gd name="connsiteX3" fmla="*/ 585903 w 5481939"/>
              <a:gd name="connsiteY3" fmla="*/ 5153180 h 5157788"/>
              <a:gd name="connsiteX4" fmla="*/ 1630664 w 5481939"/>
              <a:gd name="connsiteY4" fmla="*/ 3429000 h 5157788"/>
              <a:gd name="connsiteX5" fmla="*/ 2746143 w 548193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3574235 w 6310031"/>
              <a:gd name="connsiteY0" fmla="*/ 0 h 5157788"/>
              <a:gd name="connsiteX1" fmla="*/ 6310031 w 6310031"/>
              <a:gd name="connsiteY1" fmla="*/ 0 h 5157788"/>
              <a:gd name="connsiteX2" fmla="*/ 6310031 w 6310031"/>
              <a:gd name="connsiteY2" fmla="*/ 5157788 h 5157788"/>
              <a:gd name="connsiteX3" fmla="*/ 585903 w 6310031"/>
              <a:gd name="connsiteY3" fmla="*/ 5153180 h 5157788"/>
              <a:gd name="connsiteX4" fmla="*/ 1738031 w 6310031"/>
              <a:gd name="connsiteY4" fmla="*/ 3389965 h 5157788"/>
              <a:gd name="connsiteX5" fmla="*/ 3574235 w 6310031"/>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296143 w 5724128"/>
              <a:gd name="connsiteY4" fmla="*/ 3461908 h 5157788"/>
              <a:gd name="connsiteX5" fmla="*/ 2988332 w 5724128"/>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1188132 w 5760132"/>
              <a:gd name="connsiteY4" fmla="*/ 3425937 h 5157788"/>
              <a:gd name="connsiteX5" fmla="*/ 3024336 w 5760132"/>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2736304 w 5760132"/>
              <a:gd name="connsiteY4" fmla="*/ 3461908 h 5157788"/>
              <a:gd name="connsiteX5" fmla="*/ 3024336 w 5760132"/>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2736304 w 5760132"/>
              <a:gd name="connsiteY4" fmla="*/ 3461908 h 5157788"/>
              <a:gd name="connsiteX5" fmla="*/ 3024336 w 5760132"/>
              <a:gd name="connsiteY5" fmla="*/ 0 h 5157788"/>
              <a:gd name="connsiteX0" fmla="*/ 2160240 w 4896036"/>
              <a:gd name="connsiteY0" fmla="*/ 0 h 5157788"/>
              <a:gd name="connsiteX1" fmla="*/ 4896036 w 4896036"/>
              <a:gd name="connsiteY1" fmla="*/ 0 h 5157788"/>
              <a:gd name="connsiteX2" fmla="*/ 4896036 w 4896036"/>
              <a:gd name="connsiteY2" fmla="*/ 5157788 h 5157788"/>
              <a:gd name="connsiteX3" fmla="*/ 0 w 4896036"/>
              <a:gd name="connsiteY3" fmla="*/ 5153180 h 5157788"/>
              <a:gd name="connsiteX4" fmla="*/ 1872208 w 4896036"/>
              <a:gd name="connsiteY4" fmla="*/ 3461908 h 5157788"/>
              <a:gd name="connsiteX5" fmla="*/ 2160240 w 4896036"/>
              <a:gd name="connsiteY5" fmla="*/ 0 h 5157788"/>
              <a:gd name="connsiteX0" fmla="*/ 2232248 w 4968044"/>
              <a:gd name="connsiteY0" fmla="*/ 0 h 5157788"/>
              <a:gd name="connsiteX1" fmla="*/ 4968044 w 4968044"/>
              <a:gd name="connsiteY1" fmla="*/ 0 h 5157788"/>
              <a:gd name="connsiteX2" fmla="*/ 4968044 w 4968044"/>
              <a:gd name="connsiteY2" fmla="*/ 5157788 h 5157788"/>
              <a:gd name="connsiteX3" fmla="*/ 0 w 4968044"/>
              <a:gd name="connsiteY3" fmla="*/ 5153180 h 5157788"/>
              <a:gd name="connsiteX4" fmla="*/ 1944216 w 4968044"/>
              <a:gd name="connsiteY4" fmla="*/ 3461908 h 5157788"/>
              <a:gd name="connsiteX5" fmla="*/ 2232248 w 4968044"/>
              <a:gd name="connsiteY5" fmla="*/ 0 h 5157788"/>
              <a:gd name="connsiteX0" fmla="*/ 2207679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207679 w 4943475"/>
              <a:gd name="connsiteY5" fmla="*/ 0 h 5157788"/>
              <a:gd name="connsiteX0" fmla="*/ 2963763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963763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092200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71575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343583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675731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675731 w 4943475"/>
              <a:gd name="connsiteY5" fmla="*/ 0 h 5157788"/>
              <a:gd name="connsiteX0" fmla="*/ 2675731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675731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9672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19672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51412" h="5157788">
                <a:moveTo>
                  <a:pt x="2706687" y="0"/>
                </a:moveTo>
                <a:lnTo>
                  <a:pt x="4951412" y="0"/>
                </a:lnTo>
                <a:lnTo>
                  <a:pt x="4951412" y="5157788"/>
                </a:lnTo>
                <a:lnTo>
                  <a:pt x="0" y="5153180"/>
                </a:lnTo>
                <a:cubicBezTo>
                  <a:pt x="84411" y="4542509"/>
                  <a:pt x="183041" y="4024723"/>
                  <a:pt x="1243508" y="2562613"/>
                </a:cubicBezTo>
                <a:cubicBezTo>
                  <a:pt x="1867447" y="1704780"/>
                  <a:pt x="2665955" y="709265"/>
                  <a:pt x="2706687" y="0"/>
                </a:cubicBezTo>
                <a:close/>
              </a:path>
            </a:pathLst>
          </a:custGeom>
          <a:solidFill>
            <a:schemeClr val="bg2"/>
          </a:solidFill>
          <a:ln w="3175">
            <a:noFill/>
          </a:ln>
        </p:spPr>
        <p:txBody>
          <a:bodyPr tIns="720000" rtlCol="0" anchor="ctr">
            <a:noAutofit/>
          </a:bodyPr>
          <a:lstStyle>
            <a:lvl1pPr algn="ctr">
              <a:defRPr sz="1500">
                <a:solidFill>
                  <a:schemeClr val="bg1"/>
                </a:solidFill>
              </a:defRPr>
            </a:lvl1pPr>
          </a:lstStyle>
          <a:p>
            <a:pPr lvl="0"/>
            <a:r>
              <a:rPr lang="en-US" noProof="0" smtClean="0"/>
              <a:t>Click icon to add picture</a:t>
            </a:r>
            <a:endParaRPr lang="en-US" noProof="0" dirty="0"/>
          </a:p>
        </p:txBody>
      </p:sp>
      <p:sp>
        <p:nvSpPr>
          <p:cNvPr id="11" name="Espace réservé de la date 9"/>
          <p:cNvSpPr>
            <a:spLocks noGrp="1"/>
          </p:cNvSpPr>
          <p:nvPr>
            <p:ph type="dt" sz="half" idx="20"/>
          </p:nvPr>
        </p:nvSpPr>
        <p:spPr/>
        <p:txBody>
          <a:bodyPr/>
          <a:lstStyle>
            <a:lvl1pPr>
              <a:defRPr/>
            </a:lvl1pPr>
          </a:lstStyle>
          <a:p>
            <a:pPr>
              <a:defRPr/>
            </a:pPr>
            <a:r>
              <a:rPr lang="en-US">
                <a:solidFill>
                  <a:prstClr val="white">
                    <a:alpha val="0"/>
                  </a:prstClr>
                </a:solidFill>
              </a:rPr>
              <a:t>Date</a:t>
            </a:r>
          </a:p>
        </p:txBody>
      </p:sp>
      <p:sp>
        <p:nvSpPr>
          <p:cNvPr id="12" name="Espace réservé du numéro de diapositive 10"/>
          <p:cNvSpPr>
            <a:spLocks noGrp="1"/>
          </p:cNvSpPr>
          <p:nvPr>
            <p:ph type="sldNum" sz="quarter" idx="21"/>
          </p:nvPr>
        </p:nvSpPr>
        <p:spPr/>
        <p:txBody>
          <a:bodyPr/>
          <a:lstStyle>
            <a:lvl1pPr>
              <a:defRPr sz="100">
                <a:solidFill>
                  <a:schemeClr val="bg1">
                    <a:alpha val="0"/>
                  </a:schemeClr>
                </a:solidFill>
              </a:defRPr>
            </a:lvl1pPr>
          </a:lstStyle>
          <a:p>
            <a:pPr>
              <a:defRPr/>
            </a:pPr>
            <a:r>
              <a:rPr lang="en-US">
                <a:solidFill>
                  <a:prstClr val="white">
                    <a:alpha val="0"/>
                  </a:prstClr>
                </a:solidFill>
              </a:rPr>
              <a:t>Page: </a:t>
            </a:r>
            <a:fld id="{4AF4F797-1FBC-44F9-B7CF-6A5F893B852E}" type="slidenum">
              <a:rPr lang="en-US">
                <a:solidFill>
                  <a:prstClr val="white">
                    <a:alpha val="0"/>
                  </a:prstClr>
                </a:solidFill>
              </a:rPr>
              <a:pPr>
                <a:defRPr/>
              </a:pPr>
              <a:t>‹#›</a:t>
            </a:fld>
            <a:endParaRPr lang="en-US">
              <a:solidFill>
                <a:prstClr val="white">
                  <a:alpha val="0"/>
                </a:prstClr>
              </a:solidFill>
            </a:endParaRPr>
          </a:p>
        </p:txBody>
      </p:sp>
      <p:sp>
        <p:nvSpPr>
          <p:cNvPr id="14" name="Espace réservé du pied de page 11"/>
          <p:cNvSpPr>
            <a:spLocks noGrp="1"/>
          </p:cNvSpPr>
          <p:nvPr>
            <p:ph type="ftr" sz="quarter" idx="22"/>
          </p:nvPr>
        </p:nvSpPr>
        <p:spPr>
          <a:xfrm>
            <a:off x="468313" y="523875"/>
            <a:ext cx="4824412" cy="360363"/>
          </a:xfrm>
        </p:spPr>
        <p:txBody>
          <a:bodyPr/>
          <a:lstStyle>
            <a:lvl1pPr algn="l">
              <a:defRPr sz="1800" b="0">
                <a:solidFill>
                  <a:schemeClr val="bg1"/>
                </a:solidFill>
              </a:defRPr>
            </a:lvl1pPr>
          </a:lstStyle>
          <a:p>
            <a:pPr>
              <a:defRPr/>
            </a:pPr>
            <a:r>
              <a:rPr lang="en-US">
                <a:solidFill>
                  <a:prstClr val="white"/>
                </a:solidFill>
              </a:rPr>
              <a:t>#</a:t>
            </a:r>
            <a:r>
              <a:rPr lang="en-US" err="1">
                <a:solidFill>
                  <a:prstClr val="white"/>
                </a:solidFill>
              </a:rPr>
              <a:t>vaccineswork</a:t>
            </a:r>
            <a:endParaRPr lang="en-US">
              <a:solidFill>
                <a:prstClr val="white"/>
              </a:solidFill>
            </a:endParaRPr>
          </a:p>
        </p:txBody>
      </p:sp>
    </p:spTree>
    <p:extLst>
      <p:ext uri="{BB962C8B-B14F-4D97-AF65-F5344CB8AC3E}">
        <p14:creationId xmlns:p14="http://schemas.microsoft.com/office/powerpoint/2010/main" val="4105550735"/>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Thank_you_2">
    <p:spTree>
      <p:nvGrpSpPr>
        <p:cNvPr id="1" name=""/>
        <p:cNvGrpSpPr/>
        <p:nvPr/>
      </p:nvGrpSpPr>
      <p:grpSpPr>
        <a:xfrm>
          <a:off x="0" y="0"/>
          <a:ext cx="0" cy="0"/>
          <a:chOff x="0" y="0"/>
          <a:chExt cx="0" cy="0"/>
        </a:xfrm>
      </p:grpSpPr>
      <p:sp>
        <p:nvSpPr>
          <p:cNvPr id="5" name="Rectangle 4"/>
          <p:cNvSpPr/>
          <p:nvPr userDrawn="1"/>
        </p:nvSpPr>
        <p:spPr bwMode="gray">
          <a:xfrm>
            <a:off x="3635375" y="5265738"/>
            <a:ext cx="5508625" cy="15922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prstClr val="white"/>
              </a:solidFill>
            </a:endParaRPr>
          </a:p>
        </p:txBody>
      </p:sp>
      <p:pic>
        <p:nvPicPr>
          <p:cNvPr id="6" name="Image 20" descr="FD_1_L254.png"/>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gray">
          <a:xfrm>
            <a:off x="0" y="0"/>
            <a:ext cx="9144000" cy="51577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7" name="Image 19" descr="Bas_couv.png"/>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gray">
          <a:xfrm>
            <a:off x="0" y="5172075"/>
            <a:ext cx="3635375" cy="16859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8" name="Rectangle 7"/>
          <p:cNvSpPr/>
          <p:nvPr userDrawn="1"/>
        </p:nvSpPr>
        <p:spPr bwMode="gray">
          <a:xfrm>
            <a:off x="3635375" y="6354763"/>
            <a:ext cx="5113338" cy="2873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p>
            <a:pPr algn="r">
              <a:defRPr/>
            </a:pPr>
            <a:r>
              <a:rPr lang="en-US" sz="1000" dirty="0" err="1">
                <a:solidFill>
                  <a:srgbClr val="95D600"/>
                </a:solidFill>
              </a:rPr>
              <a:t>www.gavi.org</a:t>
            </a:r>
            <a:endParaRPr lang="en-US" sz="1000" dirty="0">
              <a:solidFill>
                <a:srgbClr val="95D600"/>
              </a:solidFill>
            </a:endParaRPr>
          </a:p>
        </p:txBody>
      </p:sp>
      <p:cxnSp>
        <p:nvCxnSpPr>
          <p:cNvPr id="10" name="Connecteur droit 13"/>
          <p:cNvCxnSpPr/>
          <p:nvPr userDrawn="1"/>
        </p:nvCxnSpPr>
        <p:spPr bwMode="gray">
          <a:xfrm flipH="1">
            <a:off x="468313" y="3402013"/>
            <a:ext cx="2447925" cy="0"/>
          </a:xfrm>
          <a:prstGeom prst="line">
            <a:avLst/>
          </a:prstGeom>
          <a:ln w="24130">
            <a:solidFill>
              <a:schemeClr val="accent1"/>
            </a:solidFill>
          </a:ln>
        </p:spPr>
        <p:style>
          <a:lnRef idx="1">
            <a:schemeClr val="accent1"/>
          </a:lnRef>
          <a:fillRef idx="0">
            <a:schemeClr val="accent1"/>
          </a:fillRef>
          <a:effectRef idx="0">
            <a:schemeClr val="accent1"/>
          </a:effectRef>
          <a:fontRef idx="minor">
            <a:schemeClr val="tx1"/>
          </a:fontRef>
        </p:style>
      </p:cxnSp>
      <p:sp>
        <p:nvSpPr>
          <p:cNvPr id="9" name="Espace réservé du texte 8"/>
          <p:cNvSpPr>
            <a:spLocks noGrp="1"/>
          </p:cNvSpPr>
          <p:nvPr>
            <p:ph type="body" sz="quarter" idx="13"/>
          </p:nvPr>
        </p:nvSpPr>
        <p:spPr bwMode="gray">
          <a:xfrm>
            <a:off x="468314" y="1036800"/>
            <a:ext cx="4824000" cy="2242800"/>
          </a:xfrm>
        </p:spPr>
        <p:txBody>
          <a:bodyPr anchor="b"/>
          <a:lstStyle>
            <a:lvl1pPr marL="0" indent="0" algn="l">
              <a:lnSpc>
                <a:spcPct val="90000"/>
              </a:lnSpc>
              <a:buNone/>
              <a:defRPr sz="2800" b="1" cap="none" baseline="0">
                <a:solidFill>
                  <a:schemeClr val="bg1"/>
                </a:solidFill>
              </a:defRPr>
            </a:lvl1pPr>
            <a:lvl2pPr marL="0" algn="ctr">
              <a:lnSpc>
                <a:spcPct val="100000"/>
              </a:lnSpc>
              <a:spcBef>
                <a:spcPts val="6900"/>
              </a:spcBef>
              <a:defRPr sz="2000" b="1">
                <a:solidFill>
                  <a:schemeClr val="bg1"/>
                </a:solidFill>
              </a:defRPr>
            </a:lvl2pPr>
          </a:lstStyle>
          <a:p>
            <a:pPr lvl="0"/>
            <a:r>
              <a:rPr lang="en-US" noProof="0" smtClean="0"/>
              <a:t>Click to edit Master text styles</a:t>
            </a:r>
          </a:p>
        </p:txBody>
      </p:sp>
      <p:sp>
        <p:nvSpPr>
          <p:cNvPr id="15" name="Espace réservé du texte 14"/>
          <p:cNvSpPr>
            <a:spLocks noGrp="1"/>
          </p:cNvSpPr>
          <p:nvPr>
            <p:ph type="body" sz="quarter" idx="19"/>
          </p:nvPr>
        </p:nvSpPr>
        <p:spPr bwMode="gray">
          <a:xfrm>
            <a:off x="3635376" y="6021388"/>
            <a:ext cx="5113338" cy="324000"/>
          </a:xfrm>
        </p:spPr>
        <p:txBody>
          <a:bodyPr anchor="b"/>
          <a:lstStyle>
            <a:lvl1pPr algn="r">
              <a:lnSpc>
                <a:spcPct val="100000"/>
              </a:lnSpc>
              <a:defRPr sz="1000" b="1">
                <a:solidFill>
                  <a:schemeClr val="accent3"/>
                </a:solidFill>
              </a:defRPr>
            </a:lvl1pPr>
          </a:lstStyle>
          <a:p>
            <a:pPr lvl="0"/>
            <a:r>
              <a:rPr lang="en-US" noProof="0" smtClean="0"/>
              <a:t>Click to edit Master text styles</a:t>
            </a:r>
          </a:p>
        </p:txBody>
      </p:sp>
      <p:sp>
        <p:nvSpPr>
          <p:cNvPr id="13" name="Espace réservé pour une image  17"/>
          <p:cNvSpPr>
            <a:spLocks noGrp="1"/>
          </p:cNvSpPr>
          <p:nvPr>
            <p:ph type="pic" sz="quarter" idx="18"/>
          </p:nvPr>
        </p:nvSpPr>
        <p:spPr bwMode="gray">
          <a:xfrm>
            <a:off x="4192588" y="0"/>
            <a:ext cx="4951412" cy="5162400"/>
          </a:xfrm>
          <a:custGeom>
            <a:avLst/>
            <a:gdLst>
              <a:gd name="connsiteX0" fmla="*/ 0 w 3851275"/>
              <a:gd name="connsiteY0" fmla="*/ 0 h 5157788"/>
              <a:gd name="connsiteX1" fmla="*/ 3851275 w 3851275"/>
              <a:gd name="connsiteY1" fmla="*/ 0 h 5157788"/>
              <a:gd name="connsiteX2" fmla="*/ 3851275 w 3851275"/>
              <a:gd name="connsiteY2" fmla="*/ 5157788 h 5157788"/>
              <a:gd name="connsiteX3" fmla="*/ 0 w 3851275"/>
              <a:gd name="connsiteY3" fmla="*/ 5157788 h 5157788"/>
              <a:gd name="connsiteX4" fmla="*/ 0 w 3851275"/>
              <a:gd name="connsiteY4"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0 w 3851275"/>
              <a:gd name="connsiteY3" fmla="*/ 5157788 h 5157788"/>
              <a:gd name="connsiteX4" fmla="*/ 1692275 w 3851275"/>
              <a:gd name="connsiteY4" fmla="*/ 0 h 5157788"/>
              <a:gd name="connsiteX0" fmla="*/ 0 w 2159000"/>
              <a:gd name="connsiteY0" fmla="*/ 0 h 5157788"/>
              <a:gd name="connsiteX1" fmla="*/ 2159000 w 2159000"/>
              <a:gd name="connsiteY1" fmla="*/ 0 h 5157788"/>
              <a:gd name="connsiteX2" fmla="*/ 2159000 w 2159000"/>
              <a:gd name="connsiteY2" fmla="*/ 5157788 h 5157788"/>
              <a:gd name="connsiteX3" fmla="*/ 0 w 2159000"/>
              <a:gd name="connsiteY3" fmla="*/ 5157788 h 5157788"/>
              <a:gd name="connsiteX4" fmla="*/ 0 w 2159000"/>
              <a:gd name="connsiteY4" fmla="*/ 0 h 5157788"/>
              <a:gd name="connsiteX0" fmla="*/ 2625271 w 4784271"/>
              <a:gd name="connsiteY0" fmla="*/ 0 h 5157788"/>
              <a:gd name="connsiteX1" fmla="*/ 4784271 w 4784271"/>
              <a:gd name="connsiteY1" fmla="*/ 0 h 5157788"/>
              <a:gd name="connsiteX2" fmla="*/ 4784271 w 4784271"/>
              <a:gd name="connsiteY2" fmla="*/ 5157788 h 5157788"/>
              <a:gd name="connsiteX3" fmla="*/ 2625271 w 4784271"/>
              <a:gd name="connsiteY3" fmla="*/ 5157788 h 5157788"/>
              <a:gd name="connsiteX4" fmla="*/ 2625271 w 4784271"/>
              <a:gd name="connsiteY4" fmla="*/ 0 h 5157788"/>
              <a:gd name="connsiteX0" fmla="*/ 2625271 w 4784271"/>
              <a:gd name="connsiteY0" fmla="*/ 0 h 5157788"/>
              <a:gd name="connsiteX1" fmla="*/ 4784271 w 4784271"/>
              <a:gd name="connsiteY1" fmla="*/ 0 h 5157788"/>
              <a:gd name="connsiteX2" fmla="*/ 4784271 w 4784271"/>
              <a:gd name="connsiteY2" fmla="*/ 5157788 h 5157788"/>
              <a:gd name="connsiteX3" fmla="*/ 2625271 w 4784271"/>
              <a:gd name="connsiteY3" fmla="*/ 5157788 h 5157788"/>
              <a:gd name="connsiteX4" fmla="*/ 2625271 w 4784271"/>
              <a:gd name="connsiteY4" fmla="*/ 0 h 5157788"/>
              <a:gd name="connsiteX0" fmla="*/ 3568576 w 5727576"/>
              <a:gd name="connsiteY0" fmla="*/ 0 h 5157788"/>
              <a:gd name="connsiteX1" fmla="*/ 5727576 w 5727576"/>
              <a:gd name="connsiteY1" fmla="*/ 0 h 5157788"/>
              <a:gd name="connsiteX2" fmla="*/ 5727576 w 5727576"/>
              <a:gd name="connsiteY2" fmla="*/ 5157788 h 5157788"/>
              <a:gd name="connsiteX3" fmla="*/ 3568576 w 5727576"/>
              <a:gd name="connsiteY3" fmla="*/ 5157788 h 5157788"/>
              <a:gd name="connsiteX4" fmla="*/ 3568576 w 5727576"/>
              <a:gd name="connsiteY4" fmla="*/ 0 h 5157788"/>
              <a:gd name="connsiteX0" fmla="*/ 3306355 w 5465355"/>
              <a:gd name="connsiteY0" fmla="*/ 0 h 5157788"/>
              <a:gd name="connsiteX1" fmla="*/ 5465355 w 5465355"/>
              <a:gd name="connsiteY1" fmla="*/ 0 h 5157788"/>
              <a:gd name="connsiteX2" fmla="*/ 5465355 w 5465355"/>
              <a:gd name="connsiteY2" fmla="*/ 5157788 h 5157788"/>
              <a:gd name="connsiteX3" fmla="*/ 3306355 w 5465355"/>
              <a:gd name="connsiteY3" fmla="*/ 5157788 h 5157788"/>
              <a:gd name="connsiteX4" fmla="*/ 3306355 w 5465355"/>
              <a:gd name="connsiteY4" fmla="*/ 0 h 5157788"/>
              <a:gd name="connsiteX0" fmla="*/ 1416957 w 3575957"/>
              <a:gd name="connsiteY0" fmla="*/ 0 h 5157788"/>
              <a:gd name="connsiteX1" fmla="*/ 3575957 w 3575957"/>
              <a:gd name="connsiteY1" fmla="*/ 0 h 5157788"/>
              <a:gd name="connsiteX2" fmla="*/ 3575957 w 3575957"/>
              <a:gd name="connsiteY2" fmla="*/ 5157788 h 5157788"/>
              <a:gd name="connsiteX3" fmla="*/ 1416957 w 3575957"/>
              <a:gd name="connsiteY3" fmla="*/ 5157788 h 5157788"/>
              <a:gd name="connsiteX4" fmla="*/ 0 w 3575957"/>
              <a:gd name="connsiteY4" fmla="*/ 3339193 h 5157788"/>
              <a:gd name="connsiteX5" fmla="*/ 1416957 w 3575957"/>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6017419"/>
              <a:gd name="connsiteX1" fmla="*/ 3851275 w 3851275"/>
              <a:gd name="connsiteY1" fmla="*/ 0 h 6017419"/>
              <a:gd name="connsiteX2" fmla="*/ 3851275 w 3851275"/>
              <a:gd name="connsiteY2" fmla="*/ 5157788 h 6017419"/>
              <a:gd name="connsiteX3" fmla="*/ 1692275 w 3851275"/>
              <a:gd name="connsiteY3" fmla="*/ 5157788 h 6017419"/>
              <a:gd name="connsiteX4" fmla="*/ 0 w 3851275"/>
              <a:gd name="connsiteY4" fmla="*/ 3284984 h 6017419"/>
              <a:gd name="connsiteX5" fmla="*/ 1692275 w 3851275"/>
              <a:gd name="connsiteY5" fmla="*/ 0 h 6017419"/>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429000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429000 h 5157788"/>
              <a:gd name="connsiteX5" fmla="*/ 1710871 w 3869871"/>
              <a:gd name="connsiteY5" fmla="*/ 0 h 5157788"/>
              <a:gd name="connsiteX0" fmla="*/ 1704975 w 3863975"/>
              <a:gd name="connsiteY0" fmla="*/ 0 h 5157788"/>
              <a:gd name="connsiteX1" fmla="*/ 3863975 w 3863975"/>
              <a:gd name="connsiteY1" fmla="*/ 0 h 5157788"/>
              <a:gd name="connsiteX2" fmla="*/ 3863975 w 3863975"/>
              <a:gd name="connsiteY2" fmla="*/ 5157788 h 5157788"/>
              <a:gd name="connsiteX3" fmla="*/ 1704975 w 3863975"/>
              <a:gd name="connsiteY3" fmla="*/ 5157788 h 5157788"/>
              <a:gd name="connsiteX4" fmla="*/ 12700 w 3863975"/>
              <a:gd name="connsiteY4" fmla="*/ 3429000 h 5157788"/>
              <a:gd name="connsiteX5" fmla="*/ 1704975 w 3863975"/>
              <a:gd name="connsiteY5" fmla="*/ 0 h 5157788"/>
              <a:gd name="connsiteX0" fmla="*/ 1707243 w 3866243"/>
              <a:gd name="connsiteY0" fmla="*/ 0 h 5157788"/>
              <a:gd name="connsiteX1" fmla="*/ 3866243 w 3866243"/>
              <a:gd name="connsiteY1" fmla="*/ 0 h 5157788"/>
              <a:gd name="connsiteX2" fmla="*/ 3866243 w 3866243"/>
              <a:gd name="connsiteY2" fmla="*/ 5157788 h 5157788"/>
              <a:gd name="connsiteX3" fmla="*/ 1707243 w 3866243"/>
              <a:gd name="connsiteY3" fmla="*/ 5157788 h 5157788"/>
              <a:gd name="connsiteX4" fmla="*/ 14968 w 3866243"/>
              <a:gd name="connsiteY4" fmla="*/ 3429000 h 5157788"/>
              <a:gd name="connsiteX5" fmla="*/ 1707243 w 3866243"/>
              <a:gd name="connsiteY5" fmla="*/ 0 h 5157788"/>
              <a:gd name="connsiteX0" fmla="*/ 1130447 w 3866243"/>
              <a:gd name="connsiteY0" fmla="*/ 0 h 5157788"/>
              <a:gd name="connsiteX1" fmla="*/ 3866243 w 3866243"/>
              <a:gd name="connsiteY1" fmla="*/ 0 h 5157788"/>
              <a:gd name="connsiteX2" fmla="*/ 3866243 w 3866243"/>
              <a:gd name="connsiteY2" fmla="*/ 5157788 h 5157788"/>
              <a:gd name="connsiteX3" fmla="*/ 1707243 w 3866243"/>
              <a:gd name="connsiteY3" fmla="*/ 5157788 h 5157788"/>
              <a:gd name="connsiteX4" fmla="*/ 14968 w 3866243"/>
              <a:gd name="connsiteY4" fmla="*/ 3429000 h 5157788"/>
              <a:gd name="connsiteX5" fmla="*/ 1130447 w 3866243"/>
              <a:gd name="connsiteY5" fmla="*/ 0 h 5157788"/>
              <a:gd name="connsiteX0" fmla="*/ 2746143 w 5481939"/>
              <a:gd name="connsiteY0" fmla="*/ 0 h 5157788"/>
              <a:gd name="connsiteX1" fmla="*/ 5481939 w 5481939"/>
              <a:gd name="connsiteY1" fmla="*/ 0 h 5157788"/>
              <a:gd name="connsiteX2" fmla="*/ 5481939 w 5481939"/>
              <a:gd name="connsiteY2" fmla="*/ 5157788 h 5157788"/>
              <a:gd name="connsiteX3" fmla="*/ 585903 w 5481939"/>
              <a:gd name="connsiteY3" fmla="*/ 5153180 h 5157788"/>
              <a:gd name="connsiteX4" fmla="*/ 1630664 w 5481939"/>
              <a:gd name="connsiteY4" fmla="*/ 3429000 h 5157788"/>
              <a:gd name="connsiteX5" fmla="*/ 2746143 w 5481939"/>
              <a:gd name="connsiteY5" fmla="*/ 0 h 5157788"/>
              <a:gd name="connsiteX0" fmla="*/ 2746143 w 5481939"/>
              <a:gd name="connsiteY0" fmla="*/ 0 h 5157788"/>
              <a:gd name="connsiteX1" fmla="*/ 5481939 w 5481939"/>
              <a:gd name="connsiteY1" fmla="*/ 0 h 5157788"/>
              <a:gd name="connsiteX2" fmla="*/ 5481939 w 5481939"/>
              <a:gd name="connsiteY2" fmla="*/ 5157788 h 5157788"/>
              <a:gd name="connsiteX3" fmla="*/ 585903 w 5481939"/>
              <a:gd name="connsiteY3" fmla="*/ 5153180 h 5157788"/>
              <a:gd name="connsiteX4" fmla="*/ 1630664 w 5481939"/>
              <a:gd name="connsiteY4" fmla="*/ 3429000 h 5157788"/>
              <a:gd name="connsiteX5" fmla="*/ 2746143 w 548193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3574235 w 6310031"/>
              <a:gd name="connsiteY0" fmla="*/ 0 h 5157788"/>
              <a:gd name="connsiteX1" fmla="*/ 6310031 w 6310031"/>
              <a:gd name="connsiteY1" fmla="*/ 0 h 5157788"/>
              <a:gd name="connsiteX2" fmla="*/ 6310031 w 6310031"/>
              <a:gd name="connsiteY2" fmla="*/ 5157788 h 5157788"/>
              <a:gd name="connsiteX3" fmla="*/ 585903 w 6310031"/>
              <a:gd name="connsiteY3" fmla="*/ 5153180 h 5157788"/>
              <a:gd name="connsiteX4" fmla="*/ 1738031 w 6310031"/>
              <a:gd name="connsiteY4" fmla="*/ 3389965 h 5157788"/>
              <a:gd name="connsiteX5" fmla="*/ 3574235 w 6310031"/>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296143 w 5724128"/>
              <a:gd name="connsiteY4" fmla="*/ 3461908 h 5157788"/>
              <a:gd name="connsiteX5" fmla="*/ 2988332 w 5724128"/>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1188132 w 5760132"/>
              <a:gd name="connsiteY4" fmla="*/ 3425937 h 5157788"/>
              <a:gd name="connsiteX5" fmla="*/ 3024336 w 5760132"/>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2736304 w 5760132"/>
              <a:gd name="connsiteY4" fmla="*/ 3461908 h 5157788"/>
              <a:gd name="connsiteX5" fmla="*/ 3024336 w 5760132"/>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2736304 w 5760132"/>
              <a:gd name="connsiteY4" fmla="*/ 3461908 h 5157788"/>
              <a:gd name="connsiteX5" fmla="*/ 3024336 w 5760132"/>
              <a:gd name="connsiteY5" fmla="*/ 0 h 5157788"/>
              <a:gd name="connsiteX0" fmla="*/ 2160240 w 4896036"/>
              <a:gd name="connsiteY0" fmla="*/ 0 h 5157788"/>
              <a:gd name="connsiteX1" fmla="*/ 4896036 w 4896036"/>
              <a:gd name="connsiteY1" fmla="*/ 0 h 5157788"/>
              <a:gd name="connsiteX2" fmla="*/ 4896036 w 4896036"/>
              <a:gd name="connsiteY2" fmla="*/ 5157788 h 5157788"/>
              <a:gd name="connsiteX3" fmla="*/ 0 w 4896036"/>
              <a:gd name="connsiteY3" fmla="*/ 5153180 h 5157788"/>
              <a:gd name="connsiteX4" fmla="*/ 1872208 w 4896036"/>
              <a:gd name="connsiteY4" fmla="*/ 3461908 h 5157788"/>
              <a:gd name="connsiteX5" fmla="*/ 2160240 w 4896036"/>
              <a:gd name="connsiteY5" fmla="*/ 0 h 5157788"/>
              <a:gd name="connsiteX0" fmla="*/ 2232248 w 4968044"/>
              <a:gd name="connsiteY0" fmla="*/ 0 h 5157788"/>
              <a:gd name="connsiteX1" fmla="*/ 4968044 w 4968044"/>
              <a:gd name="connsiteY1" fmla="*/ 0 h 5157788"/>
              <a:gd name="connsiteX2" fmla="*/ 4968044 w 4968044"/>
              <a:gd name="connsiteY2" fmla="*/ 5157788 h 5157788"/>
              <a:gd name="connsiteX3" fmla="*/ 0 w 4968044"/>
              <a:gd name="connsiteY3" fmla="*/ 5153180 h 5157788"/>
              <a:gd name="connsiteX4" fmla="*/ 1944216 w 4968044"/>
              <a:gd name="connsiteY4" fmla="*/ 3461908 h 5157788"/>
              <a:gd name="connsiteX5" fmla="*/ 2232248 w 4968044"/>
              <a:gd name="connsiteY5" fmla="*/ 0 h 5157788"/>
              <a:gd name="connsiteX0" fmla="*/ 2207679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207679 w 4943475"/>
              <a:gd name="connsiteY5" fmla="*/ 0 h 5157788"/>
              <a:gd name="connsiteX0" fmla="*/ 2963763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963763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092200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71575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343583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675731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675731 w 4943475"/>
              <a:gd name="connsiteY5" fmla="*/ 0 h 5157788"/>
              <a:gd name="connsiteX0" fmla="*/ 2675731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675731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9672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19672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51412" h="5157788">
                <a:moveTo>
                  <a:pt x="2706687" y="0"/>
                </a:moveTo>
                <a:lnTo>
                  <a:pt x="4951412" y="0"/>
                </a:lnTo>
                <a:lnTo>
                  <a:pt x="4951412" y="5157788"/>
                </a:lnTo>
                <a:lnTo>
                  <a:pt x="0" y="5153180"/>
                </a:lnTo>
                <a:cubicBezTo>
                  <a:pt x="84411" y="4542509"/>
                  <a:pt x="183041" y="4024723"/>
                  <a:pt x="1243508" y="2562613"/>
                </a:cubicBezTo>
                <a:cubicBezTo>
                  <a:pt x="1867447" y="1704780"/>
                  <a:pt x="2665955" y="709265"/>
                  <a:pt x="2706687" y="0"/>
                </a:cubicBezTo>
                <a:close/>
              </a:path>
            </a:pathLst>
          </a:custGeom>
          <a:solidFill>
            <a:schemeClr val="bg2"/>
          </a:solidFill>
          <a:ln w="3175">
            <a:noFill/>
          </a:ln>
        </p:spPr>
        <p:txBody>
          <a:bodyPr tIns="720000" rtlCol="0" anchor="ctr">
            <a:noAutofit/>
          </a:bodyPr>
          <a:lstStyle>
            <a:lvl1pPr algn="ctr">
              <a:defRPr sz="1500">
                <a:solidFill>
                  <a:schemeClr val="bg1"/>
                </a:solidFill>
              </a:defRPr>
            </a:lvl1pPr>
          </a:lstStyle>
          <a:p>
            <a:pPr lvl="0"/>
            <a:r>
              <a:rPr lang="en-US" noProof="0" smtClean="0"/>
              <a:t>Click icon to add picture</a:t>
            </a:r>
            <a:endParaRPr lang="en-US" noProof="0" dirty="0"/>
          </a:p>
        </p:txBody>
      </p:sp>
      <p:sp>
        <p:nvSpPr>
          <p:cNvPr id="11" name="Espace réservé de la date 9"/>
          <p:cNvSpPr>
            <a:spLocks noGrp="1"/>
          </p:cNvSpPr>
          <p:nvPr>
            <p:ph type="dt" sz="half" idx="20"/>
          </p:nvPr>
        </p:nvSpPr>
        <p:spPr/>
        <p:txBody>
          <a:bodyPr/>
          <a:lstStyle>
            <a:lvl1pPr>
              <a:defRPr/>
            </a:lvl1pPr>
          </a:lstStyle>
          <a:p>
            <a:pPr>
              <a:defRPr/>
            </a:pPr>
            <a:r>
              <a:rPr lang="en-US">
                <a:solidFill>
                  <a:prstClr val="white">
                    <a:alpha val="0"/>
                  </a:prstClr>
                </a:solidFill>
              </a:rPr>
              <a:t>Date</a:t>
            </a:r>
          </a:p>
        </p:txBody>
      </p:sp>
      <p:sp>
        <p:nvSpPr>
          <p:cNvPr id="12" name="Espace réservé du numéro de diapositive 10"/>
          <p:cNvSpPr>
            <a:spLocks noGrp="1"/>
          </p:cNvSpPr>
          <p:nvPr>
            <p:ph type="sldNum" sz="quarter" idx="21"/>
          </p:nvPr>
        </p:nvSpPr>
        <p:spPr/>
        <p:txBody>
          <a:bodyPr/>
          <a:lstStyle>
            <a:lvl1pPr>
              <a:defRPr sz="100">
                <a:solidFill>
                  <a:schemeClr val="bg1">
                    <a:alpha val="0"/>
                  </a:schemeClr>
                </a:solidFill>
              </a:defRPr>
            </a:lvl1pPr>
          </a:lstStyle>
          <a:p>
            <a:pPr>
              <a:defRPr/>
            </a:pPr>
            <a:r>
              <a:rPr lang="en-US">
                <a:solidFill>
                  <a:prstClr val="white">
                    <a:alpha val="0"/>
                  </a:prstClr>
                </a:solidFill>
              </a:rPr>
              <a:t>Page: </a:t>
            </a:r>
            <a:fld id="{168EB3F5-198F-4211-80D0-E690EB6CEA77}" type="slidenum">
              <a:rPr lang="en-US">
                <a:solidFill>
                  <a:prstClr val="white">
                    <a:alpha val="0"/>
                  </a:prstClr>
                </a:solidFill>
              </a:rPr>
              <a:pPr>
                <a:defRPr/>
              </a:pPr>
              <a:t>‹#›</a:t>
            </a:fld>
            <a:endParaRPr lang="en-US">
              <a:solidFill>
                <a:prstClr val="white">
                  <a:alpha val="0"/>
                </a:prstClr>
              </a:solidFill>
            </a:endParaRPr>
          </a:p>
        </p:txBody>
      </p:sp>
      <p:sp>
        <p:nvSpPr>
          <p:cNvPr id="14" name="Espace réservé du pied de page 11"/>
          <p:cNvSpPr>
            <a:spLocks noGrp="1"/>
          </p:cNvSpPr>
          <p:nvPr>
            <p:ph type="ftr" sz="quarter" idx="22"/>
          </p:nvPr>
        </p:nvSpPr>
        <p:spPr>
          <a:xfrm>
            <a:off x="468313" y="523875"/>
            <a:ext cx="4824412" cy="360363"/>
          </a:xfrm>
        </p:spPr>
        <p:txBody>
          <a:bodyPr/>
          <a:lstStyle>
            <a:lvl1pPr algn="l">
              <a:defRPr sz="1800" b="0">
                <a:solidFill>
                  <a:schemeClr val="bg1"/>
                </a:solidFill>
              </a:defRPr>
            </a:lvl1pPr>
          </a:lstStyle>
          <a:p>
            <a:pPr>
              <a:defRPr/>
            </a:pPr>
            <a:r>
              <a:rPr lang="en-US">
                <a:solidFill>
                  <a:prstClr val="white"/>
                </a:solidFill>
              </a:rPr>
              <a:t>#</a:t>
            </a:r>
            <a:r>
              <a:rPr lang="en-US" err="1">
                <a:solidFill>
                  <a:prstClr val="white"/>
                </a:solidFill>
              </a:rPr>
              <a:t>vaccineswork</a:t>
            </a:r>
            <a:endParaRPr lang="en-US">
              <a:solidFill>
                <a:prstClr val="white"/>
              </a:solidFill>
            </a:endParaRPr>
          </a:p>
        </p:txBody>
      </p:sp>
    </p:spTree>
    <p:extLst>
      <p:ext uri="{BB962C8B-B14F-4D97-AF65-F5344CB8AC3E}">
        <p14:creationId xmlns:p14="http://schemas.microsoft.com/office/powerpoint/2010/main" val="1682525177"/>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userDrawn="1">
  <p:cSld name="Text and Visual">
    <p:spTree>
      <p:nvGrpSpPr>
        <p:cNvPr id="1" name=""/>
        <p:cNvGrpSpPr/>
        <p:nvPr/>
      </p:nvGrpSpPr>
      <p:grpSpPr>
        <a:xfrm>
          <a:off x="0" y="0"/>
          <a:ext cx="0" cy="0"/>
          <a:chOff x="0" y="0"/>
          <a:chExt cx="0" cy="0"/>
        </a:xfrm>
      </p:grpSpPr>
      <p:sp>
        <p:nvSpPr>
          <p:cNvPr id="2" name="Title 1"/>
          <p:cNvSpPr>
            <a:spLocks noGrp="1"/>
          </p:cNvSpPr>
          <p:nvPr>
            <p:ph type="title"/>
          </p:nvPr>
        </p:nvSpPr>
        <p:spPr>
          <a:xfrm>
            <a:off x="973138" y="225211"/>
            <a:ext cx="7207249" cy="697999"/>
          </a:xfrm>
        </p:spPr>
        <p:txBody>
          <a:bodyPr/>
          <a:lstStyle/>
          <a:p>
            <a:r>
              <a:rPr lang="en-US" smtClean="0"/>
              <a:t>Click to edit Master title style</a:t>
            </a:r>
            <a:endParaRPr lang="en-US"/>
          </a:p>
        </p:txBody>
      </p:sp>
      <p:sp>
        <p:nvSpPr>
          <p:cNvPr id="4" name="Content Placeholder 3"/>
          <p:cNvSpPr>
            <a:spLocks noGrp="1"/>
          </p:cNvSpPr>
          <p:nvPr>
            <p:ph sz="half" idx="2"/>
          </p:nvPr>
        </p:nvSpPr>
        <p:spPr>
          <a:xfrm>
            <a:off x="3425825" y="2302159"/>
            <a:ext cx="4754564" cy="2541673"/>
          </a:xfrm>
        </p:spPr>
        <p:txBody>
          <a:bodyPr/>
          <a:lstStyle>
            <a:lvl1pPr>
              <a:defRPr sz="1600"/>
            </a:lvl1pPr>
            <a:lvl2pPr marL="457200" indent="0">
              <a:buNone/>
              <a:defRPr sz="1600"/>
            </a:lvl2pPr>
            <a:lvl3pPr marL="914400" indent="0">
              <a:buNone/>
              <a:defRPr sz="1600"/>
            </a:lvl3pPr>
            <a:lvl4pPr marL="1371600" indent="0">
              <a:buNone/>
              <a:defRPr sz="1600"/>
            </a:lvl4pPr>
            <a:lvl5pPr marL="1828800" indent="0">
              <a:buNone/>
              <a:defRPr sz="16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Picture Placeholder 8"/>
          <p:cNvSpPr>
            <a:spLocks noGrp="1"/>
          </p:cNvSpPr>
          <p:nvPr>
            <p:ph type="pic" sz="quarter" idx="13"/>
          </p:nvPr>
        </p:nvSpPr>
        <p:spPr>
          <a:xfrm>
            <a:off x="973138" y="1247776"/>
            <a:ext cx="2300287" cy="3450384"/>
          </a:xfrm>
        </p:spPr>
        <p:txBody>
          <a:bodyPr rtlCol="0">
            <a:noAutofit/>
          </a:bodyPr>
          <a:lstStyle/>
          <a:p>
            <a:pPr lvl="0"/>
            <a:endParaRPr lang="en-US" noProof="0"/>
          </a:p>
        </p:txBody>
      </p:sp>
      <p:sp>
        <p:nvSpPr>
          <p:cNvPr id="10" name="Content Placeholder 3"/>
          <p:cNvSpPr>
            <a:spLocks noGrp="1"/>
          </p:cNvSpPr>
          <p:nvPr>
            <p:ph sz="half" idx="14"/>
          </p:nvPr>
        </p:nvSpPr>
        <p:spPr>
          <a:xfrm>
            <a:off x="3425825" y="1241426"/>
            <a:ext cx="4754564" cy="879316"/>
          </a:xfrm>
        </p:spPr>
        <p:txBody>
          <a:bodyPr/>
          <a:lstStyle>
            <a:lvl1pPr marL="0" indent="0">
              <a:buNone/>
              <a:defRPr sz="1600">
                <a:solidFill>
                  <a:srgbClr val="005CB9"/>
                </a:solidFill>
              </a:defRPr>
            </a:lvl1pPr>
            <a:lvl2pPr marL="457200" indent="0">
              <a:buNone/>
              <a:defRPr sz="1400">
                <a:solidFill>
                  <a:srgbClr val="005CB9"/>
                </a:solidFill>
              </a:defRPr>
            </a:lvl2pPr>
            <a:lvl3pPr marL="914400" indent="0">
              <a:buNone/>
              <a:defRPr sz="1400">
                <a:solidFill>
                  <a:srgbClr val="005CB9"/>
                </a:solidFill>
              </a:defRPr>
            </a:lvl3pPr>
            <a:lvl4pPr marL="1371600" indent="0">
              <a:buNone/>
              <a:defRPr sz="1400">
                <a:solidFill>
                  <a:srgbClr val="005CB9"/>
                </a:solidFill>
              </a:defRPr>
            </a:lvl4pPr>
            <a:lvl5pPr marL="1828800" indent="0">
              <a:buNone/>
              <a:defRPr sz="1400">
                <a:solidFill>
                  <a:srgbClr val="005CB9"/>
                </a:solidFill>
              </a:defRPr>
            </a:lvl5pPr>
            <a:lvl6pPr>
              <a:defRPr sz="1800"/>
            </a:lvl6pPr>
            <a:lvl7pPr>
              <a:defRPr sz="1800"/>
            </a:lvl7pPr>
            <a:lvl8pPr>
              <a:defRPr sz="1800"/>
            </a:lvl8pPr>
            <a:lvl9pPr>
              <a:defRPr sz="1800"/>
            </a:lvl9pPr>
          </a:lstStyle>
          <a:p>
            <a:pPr lvl="0"/>
            <a:r>
              <a:rPr lang="en-US" dirty="0" smtClean="0"/>
              <a:t>Click to edit Master text styles</a:t>
            </a:r>
          </a:p>
        </p:txBody>
      </p:sp>
      <p:sp>
        <p:nvSpPr>
          <p:cNvPr id="6" name="Footer Placeholder 5"/>
          <p:cNvSpPr>
            <a:spLocks noGrp="1"/>
          </p:cNvSpPr>
          <p:nvPr>
            <p:ph type="ftr" sz="quarter" idx="15"/>
          </p:nvPr>
        </p:nvSpPr>
        <p:spPr/>
        <p:txBody>
          <a:bodyPr/>
          <a:lstStyle>
            <a:lvl1pPr>
              <a:defRPr/>
            </a:lvl1pPr>
          </a:lstStyle>
          <a:p>
            <a:pPr>
              <a:defRPr/>
            </a:pPr>
            <a:r>
              <a:rPr lang="en-US">
                <a:solidFill>
                  <a:srgbClr val="005CB9"/>
                </a:solidFill>
              </a:rPr>
              <a:t>Basic facts about </a:t>
            </a:r>
            <a:r>
              <a:rPr lang="en-US" err="1">
                <a:solidFill>
                  <a:srgbClr val="005CB9"/>
                </a:solidFill>
              </a:rPr>
              <a:t>Gavi</a:t>
            </a:r>
            <a:r>
              <a:rPr lang="en-US">
                <a:solidFill>
                  <a:srgbClr val="005CB9"/>
                </a:solidFill>
              </a:rPr>
              <a:t> the Vaccine Alliance</a:t>
            </a:r>
          </a:p>
        </p:txBody>
      </p:sp>
      <p:sp>
        <p:nvSpPr>
          <p:cNvPr id="7" name="Slide Number Placeholder 6"/>
          <p:cNvSpPr>
            <a:spLocks noGrp="1"/>
          </p:cNvSpPr>
          <p:nvPr>
            <p:ph type="sldNum" sz="quarter" idx="16"/>
          </p:nvPr>
        </p:nvSpPr>
        <p:spPr/>
        <p:txBody>
          <a:bodyPr/>
          <a:lstStyle>
            <a:lvl1pPr algn="ctr">
              <a:defRPr/>
            </a:lvl1pPr>
          </a:lstStyle>
          <a:p>
            <a:pPr>
              <a:defRPr/>
            </a:pPr>
            <a:fld id="{FFE8DD00-E6C1-42A5-A44D-4115350A5429}" type="slidenum">
              <a:rPr lang="en-US">
                <a:solidFill>
                  <a:srgbClr val="343434"/>
                </a:solidFill>
              </a:rPr>
              <a:pPr>
                <a:defRPr/>
              </a:pPr>
              <a:t>‹#›</a:t>
            </a:fld>
            <a:endParaRPr lang="en-US">
              <a:solidFill>
                <a:srgbClr val="343434"/>
              </a:solidFill>
            </a:endParaRPr>
          </a:p>
        </p:txBody>
      </p:sp>
    </p:spTree>
    <p:extLst>
      <p:ext uri="{BB962C8B-B14F-4D97-AF65-F5344CB8AC3E}">
        <p14:creationId xmlns:p14="http://schemas.microsoft.com/office/powerpoint/2010/main" val="142631028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ver_Picture_1">
    <p:spTree>
      <p:nvGrpSpPr>
        <p:cNvPr id="1" name=""/>
        <p:cNvGrpSpPr/>
        <p:nvPr/>
      </p:nvGrpSpPr>
      <p:grpSpPr>
        <a:xfrm>
          <a:off x="0" y="0"/>
          <a:ext cx="0" cy="0"/>
          <a:chOff x="0" y="0"/>
          <a:chExt cx="0" cy="0"/>
        </a:xfrm>
      </p:grpSpPr>
      <p:pic>
        <p:nvPicPr>
          <p:cNvPr id="21" name="Image 20" descr="FD_1_L254.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gray">
          <a:xfrm>
            <a:off x="0" y="0"/>
            <a:ext cx="9144000" cy="5157788"/>
          </a:xfrm>
          <a:prstGeom prst="rect">
            <a:avLst/>
          </a:prstGeom>
        </p:spPr>
      </p:pic>
      <p:sp>
        <p:nvSpPr>
          <p:cNvPr id="22" name="Rectangle 21"/>
          <p:cNvSpPr/>
          <p:nvPr userDrawn="1"/>
        </p:nvSpPr>
        <p:spPr bwMode="gray">
          <a:xfrm>
            <a:off x="3635375" y="5265204"/>
            <a:ext cx="5508625" cy="15927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pic>
        <p:nvPicPr>
          <p:cNvPr id="20" name="Image 19" descr="Bas_couv.png"/>
          <p:cNvPicPr>
            <a:picLocks noChangeAspect="1"/>
          </p:cNvPicPr>
          <p:nvPr userDrawn="1"/>
        </p:nvPicPr>
        <p:blipFill>
          <a:blip r:embed="rId3" cstate="screen">
            <a:extLst>
              <a:ext uri="{28A0092B-C50C-407E-A947-70E740481C1C}">
                <a14:useLocalDpi xmlns:a14="http://schemas.microsoft.com/office/drawing/2010/main"/>
              </a:ext>
            </a:extLst>
          </a:blip>
          <a:srcRect/>
          <a:stretch>
            <a:fillRect/>
          </a:stretch>
        </p:blipFill>
        <p:spPr bwMode="gray">
          <a:xfrm>
            <a:off x="0" y="5172520"/>
            <a:ext cx="3635375" cy="1685480"/>
          </a:xfrm>
          <a:prstGeom prst="rect">
            <a:avLst/>
          </a:prstGeom>
        </p:spPr>
      </p:pic>
      <p:sp>
        <p:nvSpPr>
          <p:cNvPr id="9" name="Espace réservé du texte 8"/>
          <p:cNvSpPr>
            <a:spLocks noGrp="1"/>
          </p:cNvSpPr>
          <p:nvPr>
            <p:ph type="body" sz="quarter" idx="13" hasCustomPrompt="1"/>
          </p:nvPr>
        </p:nvSpPr>
        <p:spPr bwMode="gray">
          <a:xfrm>
            <a:off x="468314" y="1036638"/>
            <a:ext cx="4824412" cy="2231392"/>
          </a:xfrm>
        </p:spPr>
        <p:txBody>
          <a:bodyPr anchor="b" anchorCtr="0"/>
          <a:lstStyle>
            <a:lvl1pPr marL="0" indent="0" algn="l">
              <a:lnSpc>
                <a:spcPct val="90000"/>
              </a:lnSpc>
              <a:buNone/>
              <a:defRPr sz="2800" b="1" cap="none" baseline="0">
                <a:solidFill>
                  <a:schemeClr val="bg1"/>
                </a:solidFill>
              </a:defRPr>
            </a:lvl1pPr>
            <a:lvl2pPr marL="0" algn="ctr">
              <a:lnSpc>
                <a:spcPct val="100000"/>
              </a:lnSpc>
              <a:spcBef>
                <a:spcPts val="6900"/>
              </a:spcBef>
              <a:defRPr sz="2000" b="1">
                <a:solidFill>
                  <a:schemeClr val="bg1"/>
                </a:solidFill>
              </a:defRPr>
            </a:lvl2pPr>
          </a:lstStyle>
          <a:p>
            <a:pPr lvl="0"/>
            <a:r>
              <a:rPr lang="en-US" noProof="0"/>
              <a:t>TITLE</a:t>
            </a:r>
          </a:p>
        </p:txBody>
      </p:sp>
      <p:sp>
        <p:nvSpPr>
          <p:cNvPr id="8" name="Espace réservé du texte 8"/>
          <p:cNvSpPr>
            <a:spLocks noGrp="1"/>
          </p:cNvSpPr>
          <p:nvPr>
            <p:ph type="body" sz="quarter" idx="14" hasCustomPrompt="1"/>
          </p:nvPr>
        </p:nvSpPr>
        <p:spPr bwMode="gray">
          <a:xfrm>
            <a:off x="468314" y="3584637"/>
            <a:ext cx="3592800" cy="1477788"/>
          </a:xfrm>
        </p:spPr>
        <p:txBody>
          <a:bodyPr anchor="t" anchorCtr="0"/>
          <a:lstStyle>
            <a:lvl1pPr marL="0" indent="0" algn="l">
              <a:lnSpc>
                <a:spcPct val="90000"/>
              </a:lnSpc>
              <a:buNone/>
              <a:defRPr sz="2000" b="0" baseline="0">
                <a:solidFill>
                  <a:schemeClr val="bg1"/>
                </a:solidFill>
              </a:defRPr>
            </a:lvl1pPr>
            <a:lvl2pPr marL="0" algn="ctr">
              <a:lnSpc>
                <a:spcPct val="100000"/>
              </a:lnSpc>
              <a:spcBef>
                <a:spcPts val="6900"/>
              </a:spcBef>
              <a:defRPr sz="2000" b="1">
                <a:solidFill>
                  <a:schemeClr val="bg1"/>
                </a:solidFill>
              </a:defRPr>
            </a:lvl2pPr>
          </a:lstStyle>
          <a:p>
            <a:pPr lvl="0"/>
            <a:r>
              <a:rPr lang="en-US" noProof="0"/>
              <a:t>SUBTITLE</a:t>
            </a:r>
          </a:p>
        </p:txBody>
      </p:sp>
      <p:sp>
        <p:nvSpPr>
          <p:cNvPr id="10" name="Espace réservé de la date 9"/>
          <p:cNvSpPr>
            <a:spLocks noGrp="1"/>
          </p:cNvSpPr>
          <p:nvPr>
            <p:ph type="dt" sz="half" idx="15"/>
          </p:nvPr>
        </p:nvSpPr>
        <p:spPr bwMode="gray"/>
        <p:txBody>
          <a:bodyPr/>
          <a:lstStyle/>
          <a:p>
            <a:r>
              <a:rPr lang="en-US">
                <a:solidFill>
                  <a:prstClr val="white">
                    <a:alpha val="0"/>
                  </a:prstClr>
                </a:solidFill>
              </a:rPr>
              <a:t>Date</a:t>
            </a:r>
          </a:p>
        </p:txBody>
      </p:sp>
      <p:sp>
        <p:nvSpPr>
          <p:cNvPr id="11" name="Espace réservé du numéro de diapositive 10"/>
          <p:cNvSpPr>
            <a:spLocks noGrp="1"/>
          </p:cNvSpPr>
          <p:nvPr>
            <p:ph type="sldNum" sz="quarter" idx="16"/>
          </p:nvPr>
        </p:nvSpPr>
        <p:spPr bwMode="gray"/>
        <p:txBody>
          <a:bodyPr/>
          <a:lstStyle>
            <a:lvl1pPr>
              <a:defRPr sz="100">
                <a:solidFill>
                  <a:schemeClr val="bg1">
                    <a:alpha val="0"/>
                  </a:schemeClr>
                </a:solidFill>
              </a:defRPr>
            </a:lvl1pPr>
          </a:lstStyle>
          <a:p>
            <a:pPr algn="l"/>
            <a:r>
              <a:rPr lang="en-US">
                <a:solidFill>
                  <a:prstClr val="white">
                    <a:alpha val="0"/>
                  </a:prstClr>
                </a:solidFill>
              </a:rPr>
              <a:t>Page: </a:t>
            </a:r>
            <a:fld id="{733122C9-A0B9-462F-8757-0847AD287B63}" type="slidenum">
              <a:rPr lang="en-US" smtClean="0">
                <a:solidFill>
                  <a:prstClr val="white">
                    <a:alpha val="0"/>
                  </a:prstClr>
                </a:solidFill>
              </a:rPr>
              <a:pPr algn="l"/>
              <a:t>‹#›</a:t>
            </a:fld>
            <a:endParaRPr lang="en-US">
              <a:solidFill>
                <a:prstClr val="white">
                  <a:alpha val="0"/>
                </a:prstClr>
              </a:solidFill>
            </a:endParaRPr>
          </a:p>
        </p:txBody>
      </p:sp>
      <p:sp>
        <p:nvSpPr>
          <p:cNvPr id="12" name="Espace réservé du pied de page 11"/>
          <p:cNvSpPr>
            <a:spLocks noGrp="1"/>
          </p:cNvSpPr>
          <p:nvPr>
            <p:ph type="ftr" sz="quarter" idx="17"/>
          </p:nvPr>
        </p:nvSpPr>
        <p:spPr bwMode="gray">
          <a:xfrm>
            <a:off x="468312" y="524188"/>
            <a:ext cx="4824413" cy="360000"/>
          </a:xfrm>
        </p:spPr>
        <p:txBody>
          <a:bodyPr/>
          <a:lstStyle>
            <a:lvl1pPr algn="l">
              <a:defRPr sz="1800" b="0">
                <a:solidFill>
                  <a:schemeClr val="bg1"/>
                </a:solidFill>
              </a:defRPr>
            </a:lvl1pPr>
          </a:lstStyle>
          <a:p>
            <a:r>
              <a:rPr lang="en-US">
                <a:solidFill>
                  <a:prstClr val="white"/>
                </a:solidFill>
              </a:rPr>
              <a:t>#</a:t>
            </a:r>
            <a:r>
              <a:rPr lang="en-US" err="1">
                <a:solidFill>
                  <a:prstClr val="white"/>
                </a:solidFill>
              </a:rPr>
              <a:t>vaccineswork</a:t>
            </a:r>
            <a:endParaRPr lang="en-US">
              <a:solidFill>
                <a:prstClr val="white"/>
              </a:solidFill>
            </a:endParaRPr>
          </a:p>
          <a:p>
            <a:endParaRPr lang="en-US">
              <a:solidFill>
                <a:prstClr val="white"/>
              </a:solidFill>
            </a:endParaRPr>
          </a:p>
        </p:txBody>
      </p:sp>
      <p:sp>
        <p:nvSpPr>
          <p:cNvPr id="15" name="Espace réservé du texte 14"/>
          <p:cNvSpPr>
            <a:spLocks noGrp="1"/>
          </p:cNvSpPr>
          <p:nvPr>
            <p:ph type="body" sz="quarter" idx="19" hasCustomPrompt="1"/>
          </p:nvPr>
        </p:nvSpPr>
        <p:spPr bwMode="gray">
          <a:xfrm>
            <a:off x="3635376" y="6021388"/>
            <a:ext cx="5113338" cy="324000"/>
          </a:xfrm>
        </p:spPr>
        <p:txBody>
          <a:bodyPr anchor="b" anchorCtr="0"/>
          <a:lstStyle>
            <a:lvl1pPr algn="r">
              <a:lnSpc>
                <a:spcPct val="100000"/>
              </a:lnSpc>
              <a:defRPr sz="1000" b="1">
                <a:solidFill>
                  <a:schemeClr val="accent3"/>
                </a:solidFill>
              </a:defRPr>
            </a:lvl1pPr>
          </a:lstStyle>
          <a:p>
            <a:pPr lvl="0"/>
            <a:r>
              <a:rPr lang="en-US" noProof="0"/>
              <a:t>Write your claim here</a:t>
            </a:r>
          </a:p>
        </p:txBody>
      </p:sp>
      <p:sp>
        <p:nvSpPr>
          <p:cNvPr id="16" name="Rectangle 15"/>
          <p:cNvSpPr/>
          <p:nvPr userDrawn="1"/>
        </p:nvSpPr>
        <p:spPr bwMode="gray">
          <a:xfrm>
            <a:off x="3635375" y="6354202"/>
            <a:ext cx="5113338" cy="2872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r"/>
            <a:r>
              <a:rPr lang="en-US" sz="1000" err="1">
                <a:solidFill>
                  <a:srgbClr val="95D600"/>
                </a:solidFill>
              </a:rPr>
              <a:t>www.gavi.org</a:t>
            </a:r>
            <a:endParaRPr lang="en-US" sz="1000">
              <a:solidFill>
                <a:srgbClr val="95D600"/>
              </a:solidFill>
            </a:endParaRPr>
          </a:p>
        </p:txBody>
      </p:sp>
      <p:cxnSp>
        <p:nvCxnSpPr>
          <p:cNvPr id="23" name="Connecteur droit 22"/>
          <p:cNvCxnSpPr/>
          <p:nvPr userDrawn="1"/>
        </p:nvCxnSpPr>
        <p:spPr bwMode="gray">
          <a:xfrm flipH="1">
            <a:off x="468313" y="3402521"/>
            <a:ext cx="2448000" cy="0"/>
          </a:xfrm>
          <a:prstGeom prst="line">
            <a:avLst/>
          </a:prstGeom>
          <a:ln w="24130">
            <a:solidFill>
              <a:schemeClr val="accent1"/>
            </a:solidFill>
          </a:ln>
        </p:spPr>
        <p:style>
          <a:lnRef idx="1">
            <a:schemeClr val="accent1"/>
          </a:lnRef>
          <a:fillRef idx="0">
            <a:schemeClr val="accent1"/>
          </a:fillRef>
          <a:effectRef idx="0">
            <a:schemeClr val="accent1"/>
          </a:effectRef>
          <a:fontRef idx="minor">
            <a:schemeClr val="tx1"/>
          </a:fontRef>
        </p:style>
      </p:cxnSp>
      <p:sp>
        <p:nvSpPr>
          <p:cNvPr id="17" name="Espace réservé du texte 16"/>
          <p:cNvSpPr>
            <a:spLocks noGrp="1"/>
          </p:cNvSpPr>
          <p:nvPr>
            <p:ph type="body" sz="quarter" idx="20" hasCustomPrompt="1"/>
          </p:nvPr>
        </p:nvSpPr>
        <p:spPr bwMode="gray">
          <a:xfrm>
            <a:off x="0" y="5157788"/>
            <a:ext cx="9144000" cy="287337"/>
          </a:xfrm>
          <a:solidFill>
            <a:schemeClr val="bg1"/>
          </a:solidFill>
        </p:spPr>
        <p:txBody>
          <a:bodyPr/>
          <a:lstStyle>
            <a:lvl1pPr>
              <a:defRPr sz="100" b="0">
                <a:solidFill>
                  <a:schemeClr val="bg1">
                    <a:alpha val="0"/>
                  </a:schemeClr>
                </a:solidFill>
              </a:defRPr>
            </a:lvl1pPr>
          </a:lstStyle>
          <a:p>
            <a:pPr lvl="0"/>
            <a:r>
              <a:rPr lang="en-US" noProof="0"/>
              <a:t> </a:t>
            </a:r>
          </a:p>
        </p:txBody>
      </p:sp>
      <p:sp>
        <p:nvSpPr>
          <p:cNvPr id="24" name="Espace réservé pour une image  17"/>
          <p:cNvSpPr>
            <a:spLocks noGrp="1"/>
          </p:cNvSpPr>
          <p:nvPr>
            <p:ph type="pic" sz="quarter" idx="18" hasCustomPrompt="1"/>
          </p:nvPr>
        </p:nvSpPr>
        <p:spPr bwMode="gray">
          <a:xfrm>
            <a:off x="4192588" y="0"/>
            <a:ext cx="4951412" cy="5162400"/>
          </a:xfrm>
          <a:custGeom>
            <a:avLst/>
            <a:gdLst>
              <a:gd name="connsiteX0" fmla="*/ 0 w 3851275"/>
              <a:gd name="connsiteY0" fmla="*/ 0 h 5157788"/>
              <a:gd name="connsiteX1" fmla="*/ 3851275 w 3851275"/>
              <a:gd name="connsiteY1" fmla="*/ 0 h 5157788"/>
              <a:gd name="connsiteX2" fmla="*/ 3851275 w 3851275"/>
              <a:gd name="connsiteY2" fmla="*/ 5157788 h 5157788"/>
              <a:gd name="connsiteX3" fmla="*/ 0 w 3851275"/>
              <a:gd name="connsiteY3" fmla="*/ 5157788 h 5157788"/>
              <a:gd name="connsiteX4" fmla="*/ 0 w 3851275"/>
              <a:gd name="connsiteY4"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0 w 3851275"/>
              <a:gd name="connsiteY3" fmla="*/ 5157788 h 5157788"/>
              <a:gd name="connsiteX4" fmla="*/ 1692275 w 3851275"/>
              <a:gd name="connsiteY4" fmla="*/ 0 h 5157788"/>
              <a:gd name="connsiteX0" fmla="*/ 0 w 2159000"/>
              <a:gd name="connsiteY0" fmla="*/ 0 h 5157788"/>
              <a:gd name="connsiteX1" fmla="*/ 2159000 w 2159000"/>
              <a:gd name="connsiteY1" fmla="*/ 0 h 5157788"/>
              <a:gd name="connsiteX2" fmla="*/ 2159000 w 2159000"/>
              <a:gd name="connsiteY2" fmla="*/ 5157788 h 5157788"/>
              <a:gd name="connsiteX3" fmla="*/ 0 w 2159000"/>
              <a:gd name="connsiteY3" fmla="*/ 5157788 h 5157788"/>
              <a:gd name="connsiteX4" fmla="*/ 0 w 2159000"/>
              <a:gd name="connsiteY4" fmla="*/ 0 h 5157788"/>
              <a:gd name="connsiteX0" fmla="*/ 2625271 w 4784271"/>
              <a:gd name="connsiteY0" fmla="*/ 0 h 5157788"/>
              <a:gd name="connsiteX1" fmla="*/ 4784271 w 4784271"/>
              <a:gd name="connsiteY1" fmla="*/ 0 h 5157788"/>
              <a:gd name="connsiteX2" fmla="*/ 4784271 w 4784271"/>
              <a:gd name="connsiteY2" fmla="*/ 5157788 h 5157788"/>
              <a:gd name="connsiteX3" fmla="*/ 2625271 w 4784271"/>
              <a:gd name="connsiteY3" fmla="*/ 5157788 h 5157788"/>
              <a:gd name="connsiteX4" fmla="*/ 2625271 w 4784271"/>
              <a:gd name="connsiteY4" fmla="*/ 0 h 5157788"/>
              <a:gd name="connsiteX0" fmla="*/ 2625271 w 4784271"/>
              <a:gd name="connsiteY0" fmla="*/ 0 h 5157788"/>
              <a:gd name="connsiteX1" fmla="*/ 4784271 w 4784271"/>
              <a:gd name="connsiteY1" fmla="*/ 0 h 5157788"/>
              <a:gd name="connsiteX2" fmla="*/ 4784271 w 4784271"/>
              <a:gd name="connsiteY2" fmla="*/ 5157788 h 5157788"/>
              <a:gd name="connsiteX3" fmla="*/ 2625271 w 4784271"/>
              <a:gd name="connsiteY3" fmla="*/ 5157788 h 5157788"/>
              <a:gd name="connsiteX4" fmla="*/ 2625271 w 4784271"/>
              <a:gd name="connsiteY4" fmla="*/ 0 h 5157788"/>
              <a:gd name="connsiteX0" fmla="*/ 3568576 w 5727576"/>
              <a:gd name="connsiteY0" fmla="*/ 0 h 5157788"/>
              <a:gd name="connsiteX1" fmla="*/ 5727576 w 5727576"/>
              <a:gd name="connsiteY1" fmla="*/ 0 h 5157788"/>
              <a:gd name="connsiteX2" fmla="*/ 5727576 w 5727576"/>
              <a:gd name="connsiteY2" fmla="*/ 5157788 h 5157788"/>
              <a:gd name="connsiteX3" fmla="*/ 3568576 w 5727576"/>
              <a:gd name="connsiteY3" fmla="*/ 5157788 h 5157788"/>
              <a:gd name="connsiteX4" fmla="*/ 3568576 w 5727576"/>
              <a:gd name="connsiteY4" fmla="*/ 0 h 5157788"/>
              <a:gd name="connsiteX0" fmla="*/ 3306355 w 5465355"/>
              <a:gd name="connsiteY0" fmla="*/ 0 h 5157788"/>
              <a:gd name="connsiteX1" fmla="*/ 5465355 w 5465355"/>
              <a:gd name="connsiteY1" fmla="*/ 0 h 5157788"/>
              <a:gd name="connsiteX2" fmla="*/ 5465355 w 5465355"/>
              <a:gd name="connsiteY2" fmla="*/ 5157788 h 5157788"/>
              <a:gd name="connsiteX3" fmla="*/ 3306355 w 5465355"/>
              <a:gd name="connsiteY3" fmla="*/ 5157788 h 5157788"/>
              <a:gd name="connsiteX4" fmla="*/ 3306355 w 5465355"/>
              <a:gd name="connsiteY4" fmla="*/ 0 h 5157788"/>
              <a:gd name="connsiteX0" fmla="*/ 1416957 w 3575957"/>
              <a:gd name="connsiteY0" fmla="*/ 0 h 5157788"/>
              <a:gd name="connsiteX1" fmla="*/ 3575957 w 3575957"/>
              <a:gd name="connsiteY1" fmla="*/ 0 h 5157788"/>
              <a:gd name="connsiteX2" fmla="*/ 3575957 w 3575957"/>
              <a:gd name="connsiteY2" fmla="*/ 5157788 h 5157788"/>
              <a:gd name="connsiteX3" fmla="*/ 1416957 w 3575957"/>
              <a:gd name="connsiteY3" fmla="*/ 5157788 h 5157788"/>
              <a:gd name="connsiteX4" fmla="*/ 0 w 3575957"/>
              <a:gd name="connsiteY4" fmla="*/ 3339193 h 5157788"/>
              <a:gd name="connsiteX5" fmla="*/ 1416957 w 3575957"/>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6017419"/>
              <a:gd name="connsiteX1" fmla="*/ 3851275 w 3851275"/>
              <a:gd name="connsiteY1" fmla="*/ 0 h 6017419"/>
              <a:gd name="connsiteX2" fmla="*/ 3851275 w 3851275"/>
              <a:gd name="connsiteY2" fmla="*/ 5157788 h 6017419"/>
              <a:gd name="connsiteX3" fmla="*/ 1692275 w 3851275"/>
              <a:gd name="connsiteY3" fmla="*/ 5157788 h 6017419"/>
              <a:gd name="connsiteX4" fmla="*/ 0 w 3851275"/>
              <a:gd name="connsiteY4" fmla="*/ 3284984 h 6017419"/>
              <a:gd name="connsiteX5" fmla="*/ 1692275 w 3851275"/>
              <a:gd name="connsiteY5" fmla="*/ 0 h 6017419"/>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429000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429000 h 5157788"/>
              <a:gd name="connsiteX5" fmla="*/ 1710871 w 3869871"/>
              <a:gd name="connsiteY5" fmla="*/ 0 h 5157788"/>
              <a:gd name="connsiteX0" fmla="*/ 1704975 w 3863975"/>
              <a:gd name="connsiteY0" fmla="*/ 0 h 5157788"/>
              <a:gd name="connsiteX1" fmla="*/ 3863975 w 3863975"/>
              <a:gd name="connsiteY1" fmla="*/ 0 h 5157788"/>
              <a:gd name="connsiteX2" fmla="*/ 3863975 w 3863975"/>
              <a:gd name="connsiteY2" fmla="*/ 5157788 h 5157788"/>
              <a:gd name="connsiteX3" fmla="*/ 1704975 w 3863975"/>
              <a:gd name="connsiteY3" fmla="*/ 5157788 h 5157788"/>
              <a:gd name="connsiteX4" fmla="*/ 12700 w 3863975"/>
              <a:gd name="connsiteY4" fmla="*/ 3429000 h 5157788"/>
              <a:gd name="connsiteX5" fmla="*/ 1704975 w 3863975"/>
              <a:gd name="connsiteY5" fmla="*/ 0 h 5157788"/>
              <a:gd name="connsiteX0" fmla="*/ 1707243 w 3866243"/>
              <a:gd name="connsiteY0" fmla="*/ 0 h 5157788"/>
              <a:gd name="connsiteX1" fmla="*/ 3866243 w 3866243"/>
              <a:gd name="connsiteY1" fmla="*/ 0 h 5157788"/>
              <a:gd name="connsiteX2" fmla="*/ 3866243 w 3866243"/>
              <a:gd name="connsiteY2" fmla="*/ 5157788 h 5157788"/>
              <a:gd name="connsiteX3" fmla="*/ 1707243 w 3866243"/>
              <a:gd name="connsiteY3" fmla="*/ 5157788 h 5157788"/>
              <a:gd name="connsiteX4" fmla="*/ 14968 w 3866243"/>
              <a:gd name="connsiteY4" fmla="*/ 3429000 h 5157788"/>
              <a:gd name="connsiteX5" fmla="*/ 1707243 w 3866243"/>
              <a:gd name="connsiteY5" fmla="*/ 0 h 5157788"/>
              <a:gd name="connsiteX0" fmla="*/ 1130447 w 3866243"/>
              <a:gd name="connsiteY0" fmla="*/ 0 h 5157788"/>
              <a:gd name="connsiteX1" fmla="*/ 3866243 w 3866243"/>
              <a:gd name="connsiteY1" fmla="*/ 0 h 5157788"/>
              <a:gd name="connsiteX2" fmla="*/ 3866243 w 3866243"/>
              <a:gd name="connsiteY2" fmla="*/ 5157788 h 5157788"/>
              <a:gd name="connsiteX3" fmla="*/ 1707243 w 3866243"/>
              <a:gd name="connsiteY3" fmla="*/ 5157788 h 5157788"/>
              <a:gd name="connsiteX4" fmla="*/ 14968 w 3866243"/>
              <a:gd name="connsiteY4" fmla="*/ 3429000 h 5157788"/>
              <a:gd name="connsiteX5" fmla="*/ 1130447 w 3866243"/>
              <a:gd name="connsiteY5" fmla="*/ 0 h 5157788"/>
              <a:gd name="connsiteX0" fmla="*/ 2746143 w 5481939"/>
              <a:gd name="connsiteY0" fmla="*/ 0 h 5157788"/>
              <a:gd name="connsiteX1" fmla="*/ 5481939 w 5481939"/>
              <a:gd name="connsiteY1" fmla="*/ 0 h 5157788"/>
              <a:gd name="connsiteX2" fmla="*/ 5481939 w 5481939"/>
              <a:gd name="connsiteY2" fmla="*/ 5157788 h 5157788"/>
              <a:gd name="connsiteX3" fmla="*/ 585903 w 5481939"/>
              <a:gd name="connsiteY3" fmla="*/ 5153180 h 5157788"/>
              <a:gd name="connsiteX4" fmla="*/ 1630664 w 5481939"/>
              <a:gd name="connsiteY4" fmla="*/ 3429000 h 5157788"/>
              <a:gd name="connsiteX5" fmla="*/ 2746143 w 5481939"/>
              <a:gd name="connsiteY5" fmla="*/ 0 h 5157788"/>
              <a:gd name="connsiteX0" fmla="*/ 2746143 w 5481939"/>
              <a:gd name="connsiteY0" fmla="*/ 0 h 5157788"/>
              <a:gd name="connsiteX1" fmla="*/ 5481939 w 5481939"/>
              <a:gd name="connsiteY1" fmla="*/ 0 h 5157788"/>
              <a:gd name="connsiteX2" fmla="*/ 5481939 w 5481939"/>
              <a:gd name="connsiteY2" fmla="*/ 5157788 h 5157788"/>
              <a:gd name="connsiteX3" fmla="*/ 585903 w 5481939"/>
              <a:gd name="connsiteY3" fmla="*/ 5153180 h 5157788"/>
              <a:gd name="connsiteX4" fmla="*/ 1630664 w 5481939"/>
              <a:gd name="connsiteY4" fmla="*/ 3429000 h 5157788"/>
              <a:gd name="connsiteX5" fmla="*/ 2746143 w 548193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3574235 w 6310031"/>
              <a:gd name="connsiteY0" fmla="*/ 0 h 5157788"/>
              <a:gd name="connsiteX1" fmla="*/ 6310031 w 6310031"/>
              <a:gd name="connsiteY1" fmla="*/ 0 h 5157788"/>
              <a:gd name="connsiteX2" fmla="*/ 6310031 w 6310031"/>
              <a:gd name="connsiteY2" fmla="*/ 5157788 h 5157788"/>
              <a:gd name="connsiteX3" fmla="*/ 585903 w 6310031"/>
              <a:gd name="connsiteY3" fmla="*/ 5153180 h 5157788"/>
              <a:gd name="connsiteX4" fmla="*/ 1738031 w 6310031"/>
              <a:gd name="connsiteY4" fmla="*/ 3389965 h 5157788"/>
              <a:gd name="connsiteX5" fmla="*/ 3574235 w 6310031"/>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296143 w 5724128"/>
              <a:gd name="connsiteY4" fmla="*/ 3461908 h 5157788"/>
              <a:gd name="connsiteX5" fmla="*/ 2988332 w 5724128"/>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1188132 w 5760132"/>
              <a:gd name="connsiteY4" fmla="*/ 3425937 h 5157788"/>
              <a:gd name="connsiteX5" fmla="*/ 3024336 w 5760132"/>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2736304 w 5760132"/>
              <a:gd name="connsiteY4" fmla="*/ 3461908 h 5157788"/>
              <a:gd name="connsiteX5" fmla="*/ 3024336 w 5760132"/>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2736304 w 5760132"/>
              <a:gd name="connsiteY4" fmla="*/ 3461908 h 5157788"/>
              <a:gd name="connsiteX5" fmla="*/ 3024336 w 5760132"/>
              <a:gd name="connsiteY5" fmla="*/ 0 h 5157788"/>
              <a:gd name="connsiteX0" fmla="*/ 2160240 w 4896036"/>
              <a:gd name="connsiteY0" fmla="*/ 0 h 5157788"/>
              <a:gd name="connsiteX1" fmla="*/ 4896036 w 4896036"/>
              <a:gd name="connsiteY1" fmla="*/ 0 h 5157788"/>
              <a:gd name="connsiteX2" fmla="*/ 4896036 w 4896036"/>
              <a:gd name="connsiteY2" fmla="*/ 5157788 h 5157788"/>
              <a:gd name="connsiteX3" fmla="*/ 0 w 4896036"/>
              <a:gd name="connsiteY3" fmla="*/ 5153180 h 5157788"/>
              <a:gd name="connsiteX4" fmla="*/ 1872208 w 4896036"/>
              <a:gd name="connsiteY4" fmla="*/ 3461908 h 5157788"/>
              <a:gd name="connsiteX5" fmla="*/ 2160240 w 4896036"/>
              <a:gd name="connsiteY5" fmla="*/ 0 h 5157788"/>
              <a:gd name="connsiteX0" fmla="*/ 2232248 w 4968044"/>
              <a:gd name="connsiteY0" fmla="*/ 0 h 5157788"/>
              <a:gd name="connsiteX1" fmla="*/ 4968044 w 4968044"/>
              <a:gd name="connsiteY1" fmla="*/ 0 h 5157788"/>
              <a:gd name="connsiteX2" fmla="*/ 4968044 w 4968044"/>
              <a:gd name="connsiteY2" fmla="*/ 5157788 h 5157788"/>
              <a:gd name="connsiteX3" fmla="*/ 0 w 4968044"/>
              <a:gd name="connsiteY3" fmla="*/ 5153180 h 5157788"/>
              <a:gd name="connsiteX4" fmla="*/ 1944216 w 4968044"/>
              <a:gd name="connsiteY4" fmla="*/ 3461908 h 5157788"/>
              <a:gd name="connsiteX5" fmla="*/ 2232248 w 4968044"/>
              <a:gd name="connsiteY5" fmla="*/ 0 h 5157788"/>
              <a:gd name="connsiteX0" fmla="*/ 2207679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207679 w 4943475"/>
              <a:gd name="connsiteY5" fmla="*/ 0 h 5157788"/>
              <a:gd name="connsiteX0" fmla="*/ 2963763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963763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092200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71575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343583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675731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675731 w 4943475"/>
              <a:gd name="connsiteY5" fmla="*/ 0 h 5157788"/>
              <a:gd name="connsiteX0" fmla="*/ 2675731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675731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9672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19672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51412" h="5157788">
                <a:moveTo>
                  <a:pt x="2706687" y="0"/>
                </a:moveTo>
                <a:lnTo>
                  <a:pt x="4951412" y="0"/>
                </a:lnTo>
                <a:lnTo>
                  <a:pt x="4951412" y="5157788"/>
                </a:lnTo>
                <a:lnTo>
                  <a:pt x="0" y="5153180"/>
                </a:lnTo>
                <a:cubicBezTo>
                  <a:pt x="84411" y="4542509"/>
                  <a:pt x="183041" y="4024723"/>
                  <a:pt x="1243508" y="2562613"/>
                </a:cubicBezTo>
                <a:cubicBezTo>
                  <a:pt x="1867447" y="1704780"/>
                  <a:pt x="2665955" y="709265"/>
                  <a:pt x="2706687" y="0"/>
                </a:cubicBezTo>
                <a:close/>
              </a:path>
            </a:pathLst>
          </a:custGeom>
          <a:solidFill>
            <a:schemeClr val="bg2"/>
          </a:solidFill>
          <a:ln w="3175">
            <a:noFill/>
          </a:ln>
        </p:spPr>
        <p:txBody>
          <a:bodyPr tIns="720000" anchor="ctr" anchorCtr="0"/>
          <a:lstStyle>
            <a:lvl1pPr algn="ctr">
              <a:defRPr sz="1500">
                <a:solidFill>
                  <a:schemeClr val="bg1"/>
                </a:solidFill>
              </a:defRPr>
            </a:lvl1pPr>
          </a:lstStyle>
          <a:p>
            <a:r>
              <a:rPr lang="en-US" noProof="0"/>
              <a:t>Select your own photo</a:t>
            </a:r>
          </a:p>
        </p:txBody>
      </p:sp>
    </p:spTree>
    <p:extLst>
      <p:ext uri="{BB962C8B-B14F-4D97-AF65-F5344CB8AC3E}">
        <p14:creationId xmlns:p14="http://schemas.microsoft.com/office/powerpoint/2010/main" val="1195963361"/>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userDrawn="1">
  <p:cSld name="Text&amp;4_Blocks_Layout">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p:txBody>
          <a:bodyPr/>
          <a:lstStyle/>
          <a:p>
            <a:r>
              <a:rPr lang="en-GB" noProof="0" dirty="0" smtClean="0"/>
              <a:t>TITLE</a:t>
            </a:r>
            <a:endParaRPr lang="en-GB" noProof="0" dirty="0"/>
          </a:p>
        </p:txBody>
      </p:sp>
      <p:sp>
        <p:nvSpPr>
          <p:cNvPr id="10" name="Espace réservé du texte 9"/>
          <p:cNvSpPr>
            <a:spLocks noGrp="1"/>
          </p:cNvSpPr>
          <p:nvPr>
            <p:ph type="body" sz="quarter" idx="13" hasCustomPrompt="1"/>
          </p:nvPr>
        </p:nvSpPr>
        <p:spPr bwMode="gray">
          <a:xfrm>
            <a:off x="935038" y="1304924"/>
            <a:ext cx="7345362" cy="936626"/>
          </a:xfrm>
        </p:spPr>
        <p:txBody>
          <a:bodyPr/>
          <a:lstStyle/>
          <a:p>
            <a:pPr lvl="0"/>
            <a:r>
              <a:rPr lang="en-GB" noProof="0" dirty="0" smtClean="0"/>
              <a:t>Text level 1</a:t>
            </a:r>
          </a:p>
          <a:p>
            <a:pPr lvl="1"/>
            <a:r>
              <a:rPr lang="en-GB" noProof="0" dirty="0" smtClean="0"/>
              <a:t>Text level 2</a:t>
            </a:r>
          </a:p>
          <a:p>
            <a:pPr lvl="2"/>
            <a:r>
              <a:rPr lang="en-GB" noProof="0" dirty="0" smtClean="0"/>
              <a:t>Text level 3</a:t>
            </a:r>
          </a:p>
          <a:p>
            <a:pPr lvl="3"/>
            <a:r>
              <a:rPr lang="en-GB" noProof="0" dirty="0" smtClean="0"/>
              <a:t>Text level 4</a:t>
            </a:r>
          </a:p>
          <a:p>
            <a:pPr lvl="4"/>
            <a:r>
              <a:rPr lang="en-GB" noProof="0" dirty="0" smtClean="0"/>
              <a:t>Text level 5</a:t>
            </a:r>
            <a:endParaRPr lang="en-GB" noProof="0" dirty="0"/>
          </a:p>
        </p:txBody>
      </p:sp>
      <p:sp>
        <p:nvSpPr>
          <p:cNvPr id="8" name="Espace réservé de la date 7"/>
          <p:cNvSpPr>
            <a:spLocks noGrp="1"/>
          </p:cNvSpPr>
          <p:nvPr>
            <p:ph type="dt" sz="half" idx="14"/>
          </p:nvPr>
        </p:nvSpPr>
        <p:spPr bwMode="gray"/>
        <p:txBody>
          <a:bodyPr/>
          <a:lstStyle/>
          <a:p>
            <a:r>
              <a:rPr lang="en-US" smtClean="0">
                <a:solidFill>
                  <a:prstClr val="white">
                    <a:alpha val="0"/>
                  </a:prstClr>
                </a:solidFill>
              </a:rPr>
              <a:t>Date</a:t>
            </a:r>
            <a:endParaRPr lang="en-GB" dirty="0">
              <a:solidFill>
                <a:prstClr val="white">
                  <a:alpha val="0"/>
                </a:prstClr>
              </a:solidFill>
            </a:endParaRPr>
          </a:p>
        </p:txBody>
      </p:sp>
      <p:sp>
        <p:nvSpPr>
          <p:cNvPr id="9" name="Espace réservé du numéro de diapositive 8"/>
          <p:cNvSpPr>
            <a:spLocks noGrp="1"/>
          </p:cNvSpPr>
          <p:nvPr>
            <p:ph type="sldNum" sz="quarter" idx="15"/>
          </p:nvPr>
        </p:nvSpPr>
        <p:spPr bwMode="gray"/>
        <p:txBody>
          <a:bodyPr/>
          <a:lstStyle/>
          <a:p>
            <a:fld id="{733122C9-A0B9-462F-8757-0847AD287B63}" type="slidenum">
              <a:rPr lang="en-GB" smtClean="0">
                <a:solidFill>
                  <a:srgbClr val="343434"/>
                </a:solidFill>
              </a:rPr>
              <a:pPr/>
              <a:t>‹#›</a:t>
            </a:fld>
            <a:endParaRPr lang="en-GB" dirty="0">
              <a:solidFill>
                <a:srgbClr val="343434"/>
              </a:solidFill>
            </a:endParaRPr>
          </a:p>
        </p:txBody>
      </p:sp>
      <p:sp>
        <p:nvSpPr>
          <p:cNvPr id="11" name="Espace réservé du pied de page 10"/>
          <p:cNvSpPr>
            <a:spLocks noGrp="1"/>
          </p:cNvSpPr>
          <p:nvPr>
            <p:ph type="ftr" sz="quarter" idx="16"/>
          </p:nvPr>
        </p:nvSpPr>
        <p:spPr bwMode="gray"/>
        <p:txBody>
          <a:bodyPr/>
          <a:lstStyle/>
          <a:p>
            <a:r>
              <a:rPr lang="en-GB" smtClean="0">
                <a:solidFill>
                  <a:srgbClr val="005CB9"/>
                </a:solidFill>
              </a:rPr>
              <a:t>#vaccineswork</a:t>
            </a:r>
            <a:endParaRPr lang="en-GB" dirty="0">
              <a:solidFill>
                <a:srgbClr val="005CB9"/>
              </a:solidFill>
            </a:endParaRPr>
          </a:p>
        </p:txBody>
      </p:sp>
      <p:sp>
        <p:nvSpPr>
          <p:cNvPr id="21" name="Espace réservé du texte 9"/>
          <p:cNvSpPr>
            <a:spLocks noGrp="1"/>
          </p:cNvSpPr>
          <p:nvPr>
            <p:ph type="body" sz="quarter" idx="19" hasCustomPrompt="1"/>
          </p:nvPr>
        </p:nvSpPr>
        <p:spPr bwMode="gray">
          <a:xfrm>
            <a:off x="935038" y="2241550"/>
            <a:ext cx="3564000" cy="324000"/>
          </a:xfrm>
          <a:solidFill>
            <a:schemeClr val="accent1"/>
          </a:solidFill>
          <a:ln w="9525">
            <a:solidFill>
              <a:schemeClr val="accent1"/>
            </a:solidFill>
          </a:ln>
        </p:spPr>
        <p:txBody>
          <a:bodyPr anchor="ctr" anchorCtr="0"/>
          <a:lstStyle>
            <a:lvl1pPr algn="ctr">
              <a:lnSpc>
                <a:spcPct val="100000"/>
              </a:lnSpc>
              <a:defRPr>
                <a:solidFill>
                  <a:schemeClr val="bg1"/>
                </a:solidFill>
              </a:defRPr>
            </a:lvl1pPr>
          </a:lstStyle>
          <a:p>
            <a:pPr lvl="0"/>
            <a:r>
              <a:rPr lang="en-GB" noProof="0" dirty="0" smtClean="0"/>
              <a:t>Text level 1</a:t>
            </a:r>
          </a:p>
        </p:txBody>
      </p:sp>
      <p:sp>
        <p:nvSpPr>
          <p:cNvPr id="22" name="Espace réservé du texte 9"/>
          <p:cNvSpPr>
            <a:spLocks noGrp="1"/>
          </p:cNvSpPr>
          <p:nvPr>
            <p:ph type="body" sz="quarter" idx="20" hasCustomPrompt="1"/>
          </p:nvPr>
        </p:nvSpPr>
        <p:spPr bwMode="gray">
          <a:xfrm>
            <a:off x="935038" y="2565550"/>
            <a:ext cx="3564000" cy="1350000"/>
          </a:xfrm>
          <a:ln w="9525">
            <a:solidFill>
              <a:schemeClr val="accent1"/>
            </a:solidFill>
          </a:ln>
        </p:spPr>
        <p:txBody>
          <a:bodyPr tIns="72000"/>
          <a:lstStyle>
            <a:lvl1pPr marL="324000" indent="-180000">
              <a:lnSpc>
                <a:spcPct val="100000"/>
              </a:lnSpc>
              <a:spcBef>
                <a:spcPts val="300"/>
              </a:spcBef>
              <a:buClr>
                <a:schemeClr val="accent3"/>
              </a:buClr>
              <a:buFont typeface="Arial" pitchFamily="34" charset="0"/>
              <a:buChar char="•"/>
              <a:defRPr sz="1800">
                <a:solidFill>
                  <a:schemeClr val="tx1"/>
                </a:solidFill>
              </a:defRPr>
            </a:lvl1pPr>
            <a:lvl2pPr marL="504000">
              <a:buClr>
                <a:schemeClr val="tx1"/>
              </a:buClr>
              <a:defRPr sz="1600" b="0"/>
            </a:lvl2pPr>
            <a:lvl3pPr indent="0">
              <a:buNone/>
              <a:defRPr/>
            </a:lvl3pPr>
            <a:lvl4pPr marL="684000" indent="-180000">
              <a:buClr>
                <a:schemeClr val="tx1"/>
              </a:buClr>
              <a:buFont typeface="Arial" pitchFamily="34" charset="0"/>
              <a:buChar char="•"/>
              <a:defRPr sz="1400"/>
            </a:lvl4pPr>
          </a:lstStyle>
          <a:p>
            <a:pPr lvl="0"/>
            <a:r>
              <a:rPr lang="en-GB" noProof="0" dirty="0" smtClean="0"/>
              <a:t>Text level 2</a:t>
            </a:r>
          </a:p>
          <a:p>
            <a:pPr lvl="1"/>
            <a:r>
              <a:rPr lang="en-GB" noProof="0" dirty="0" smtClean="0"/>
              <a:t>Text level 3</a:t>
            </a:r>
          </a:p>
          <a:p>
            <a:pPr lvl="2"/>
            <a:r>
              <a:rPr lang="en-GB" noProof="0" dirty="0" smtClean="0"/>
              <a:t>Text level 4</a:t>
            </a:r>
          </a:p>
          <a:p>
            <a:pPr lvl="3"/>
            <a:r>
              <a:rPr lang="en-GB" noProof="0" dirty="0" smtClean="0"/>
              <a:t>Text level 5</a:t>
            </a:r>
          </a:p>
        </p:txBody>
      </p:sp>
      <p:sp>
        <p:nvSpPr>
          <p:cNvPr id="23" name="Espace réservé du texte 9"/>
          <p:cNvSpPr>
            <a:spLocks noGrp="1"/>
          </p:cNvSpPr>
          <p:nvPr>
            <p:ph type="body" sz="quarter" idx="21" hasCustomPrompt="1"/>
          </p:nvPr>
        </p:nvSpPr>
        <p:spPr bwMode="gray">
          <a:xfrm>
            <a:off x="4716400" y="2241550"/>
            <a:ext cx="3564000" cy="324000"/>
          </a:xfrm>
          <a:solidFill>
            <a:schemeClr val="accent2"/>
          </a:solidFill>
          <a:ln w="9525">
            <a:solidFill>
              <a:schemeClr val="accent2"/>
            </a:solidFill>
          </a:ln>
        </p:spPr>
        <p:txBody>
          <a:bodyPr anchor="ctr" anchorCtr="0"/>
          <a:lstStyle>
            <a:lvl1pPr algn="ctr">
              <a:lnSpc>
                <a:spcPct val="100000"/>
              </a:lnSpc>
              <a:defRPr>
                <a:solidFill>
                  <a:schemeClr val="bg1"/>
                </a:solidFill>
              </a:defRPr>
            </a:lvl1pPr>
          </a:lstStyle>
          <a:p>
            <a:pPr lvl="0"/>
            <a:r>
              <a:rPr lang="en-GB" noProof="0" dirty="0" smtClean="0"/>
              <a:t>Text level 1</a:t>
            </a:r>
          </a:p>
        </p:txBody>
      </p:sp>
      <p:sp>
        <p:nvSpPr>
          <p:cNvPr id="24" name="Espace réservé du texte 9"/>
          <p:cNvSpPr>
            <a:spLocks noGrp="1"/>
          </p:cNvSpPr>
          <p:nvPr>
            <p:ph type="body" sz="quarter" idx="22" hasCustomPrompt="1"/>
          </p:nvPr>
        </p:nvSpPr>
        <p:spPr bwMode="gray">
          <a:xfrm>
            <a:off x="4716400" y="2565550"/>
            <a:ext cx="3564000" cy="1350000"/>
          </a:xfrm>
          <a:ln w="9525">
            <a:solidFill>
              <a:schemeClr val="accent2"/>
            </a:solidFill>
          </a:ln>
        </p:spPr>
        <p:txBody>
          <a:bodyPr tIns="72000"/>
          <a:lstStyle>
            <a:lvl1pPr marL="324000" indent="-180000">
              <a:lnSpc>
                <a:spcPct val="100000"/>
              </a:lnSpc>
              <a:spcBef>
                <a:spcPts val="300"/>
              </a:spcBef>
              <a:buClr>
                <a:schemeClr val="accent3"/>
              </a:buClr>
              <a:buFont typeface="Arial" pitchFamily="34" charset="0"/>
              <a:buChar char="•"/>
              <a:defRPr sz="1800">
                <a:solidFill>
                  <a:schemeClr val="tx1"/>
                </a:solidFill>
              </a:defRPr>
            </a:lvl1pPr>
            <a:lvl2pPr marL="504000">
              <a:buClr>
                <a:schemeClr val="tx1"/>
              </a:buClr>
              <a:defRPr sz="1600" b="0"/>
            </a:lvl2pPr>
            <a:lvl3pPr indent="0">
              <a:buNone/>
              <a:defRPr/>
            </a:lvl3pPr>
            <a:lvl4pPr marL="684000" indent="-180000">
              <a:buClr>
                <a:schemeClr val="tx1"/>
              </a:buClr>
              <a:buFont typeface="Arial" pitchFamily="34" charset="0"/>
              <a:buChar char="•"/>
              <a:defRPr sz="1400"/>
            </a:lvl4pPr>
          </a:lstStyle>
          <a:p>
            <a:pPr lvl="0"/>
            <a:r>
              <a:rPr lang="en-GB" noProof="0" dirty="0" smtClean="0"/>
              <a:t>Text level 2</a:t>
            </a:r>
          </a:p>
          <a:p>
            <a:pPr lvl="1"/>
            <a:r>
              <a:rPr lang="en-GB" noProof="0" dirty="0" smtClean="0"/>
              <a:t>Text level 3</a:t>
            </a:r>
          </a:p>
          <a:p>
            <a:pPr lvl="2"/>
            <a:r>
              <a:rPr lang="en-GB" noProof="0" dirty="0" smtClean="0"/>
              <a:t>Text level 4</a:t>
            </a:r>
          </a:p>
          <a:p>
            <a:pPr lvl="3"/>
            <a:r>
              <a:rPr lang="en-GB" noProof="0" dirty="0" smtClean="0"/>
              <a:t>Text level 5</a:t>
            </a:r>
          </a:p>
        </p:txBody>
      </p:sp>
      <p:sp>
        <p:nvSpPr>
          <p:cNvPr id="25" name="Espace réservé du texte 9"/>
          <p:cNvSpPr>
            <a:spLocks noGrp="1"/>
          </p:cNvSpPr>
          <p:nvPr>
            <p:ph type="body" sz="quarter" idx="23" hasCustomPrompt="1"/>
          </p:nvPr>
        </p:nvSpPr>
        <p:spPr bwMode="gray">
          <a:xfrm>
            <a:off x="935038" y="4131488"/>
            <a:ext cx="3564000" cy="324000"/>
          </a:xfrm>
          <a:solidFill>
            <a:schemeClr val="accent3"/>
          </a:solidFill>
          <a:ln w="9525">
            <a:solidFill>
              <a:schemeClr val="accent3"/>
            </a:solidFill>
          </a:ln>
        </p:spPr>
        <p:txBody>
          <a:bodyPr anchor="ctr" anchorCtr="0"/>
          <a:lstStyle>
            <a:lvl1pPr algn="ctr">
              <a:lnSpc>
                <a:spcPct val="100000"/>
              </a:lnSpc>
              <a:defRPr>
                <a:solidFill>
                  <a:schemeClr val="bg1"/>
                </a:solidFill>
              </a:defRPr>
            </a:lvl1pPr>
          </a:lstStyle>
          <a:p>
            <a:pPr lvl="0"/>
            <a:r>
              <a:rPr lang="en-GB" noProof="0" dirty="0" smtClean="0"/>
              <a:t>Text level 1</a:t>
            </a:r>
          </a:p>
        </p:txBody>
      </p:sp>
      <p:sp>
        <p:nvSpPr>
          <p:cNvPr id="26" name="Espace réservé du texte 9"/>
          <p:cNvSpPr>
            <a:spLocks noGrp="1"/>
          </p:cNvSpPr>
          <p:nvPr>
            <p:ph type="body" sz="quarter" idx="24" hasCustomPrompt="1"/>
          </p:nvPr>
        </p:nvSpPr>
        <p:spPr bwMode="gray">
          <a:xfrm>
            <a:off x="935038" y="4455488"/>
            <a:ext cx="3564000" cy="1350000"/>
          </a:xfrm>
          <a:ln w="9525">
            <a:solidFill>
              <a:schemeClr val="accent3"/>
            </a:solidFill>
          </a:ln>
        </p:spPr>
        <p:txBody>
          <a:bodyPr tIns="72000"/>
          <a:lstStyle>
            <a:lvl1pPr marL="324000" indent="-180000">
              <a:lnSpc>
                <a:spcPct val="100000"/>
              </a:lnSpc>
              <a:spcBef>
                <a:spcPts val="300"/>
              </a:spcBef>
              <a:buClr>
                <a:schemeClr val="accent3"/>
              </a:buClr>
              <a:buFont typeface="Arial" pitchFamily="34" charset="0"/>
              <a:buChar char="•"/>
              <a:defRPr sz="1800">
                <a:solidFill>
                  <a:schemeClr val="tx1"/>
                </a:solidFill>
              </a:defRPr>
            </a:lvl1pPr>
            <a:lvl2pPr marL="504000">
              <a:buClr>
                <a:schemeClr val="tx1"/>
              </a:buClr>
              <a:defRPr sz="1600" b="0"/>
            </a:lvl2pPr>
            <a:lvl3pPr indent="0">
              <a:buNone/>
              <a:defRPr/>
            </a:lvl3pPr>
            <a:lvl4pPr marL="684000" indent="-180000">
              <a:buClr>
                <a:schemeClr val="tx1"/>
              </a:buClr>
              <a:buFont typeface="Arial" pitchFamily="34" charset="0"/>
              <a:buChar char="•"/>
              <a:defRPr sz="1400"/>
            </a:lvl4pPr>
          </a:lstStyle>
          <a:p>
            <a:pPr lvl="0"/>
            <a:r>
              <a:rPr lang="en-GB" noProof="0" dirty="0" smtClean="0"/>
              <a:t>Text level 2</a:t>
            </a:r>
          </a:p>
          <a:p>
            <a:pPr lvl="1"/>
            <a:r>
              <a:rPr lang="en-GB" noProof="0" dirty="0" smtClean="0"/>
              <a:t>Text level 3</a:t>
            </a:r>
          </a:p>
          <a:p>
            <a:pPr lvl="2"/>
            <a:r>
              <a:rPr lang="en-GB" noProof="0" dirty="0" smtClean="0"/>
              <a:t>Text level 4</a:t>
            </a:r>
          </a:p>
          <a:p>
            <a:pPr lvl="3"/>
            <a:r>
              <a:rPr lang="en-GB" noProof="0" dirty="0" smtClean="0"/>
              <a:t>Text level 5</a:t>
            </a:r>
          </a:p>
        </p:txBody>
      </p:sp>
      <p:sp>
        <p:nvSpPr>
          <p:cNvPr id="27" name="Espace réservé du texte 9"/>
          <p:cNvSpPr>
            <a:spLocks noGrp="1"/>
          </p:cNvSpPr>
          <p:nvPr>
            <p:ph type="body" sz="quarter" idx="25" hasCustomPrompt="1"/>
          </p:nvPr>
        </p:nvSpPr>
        <p:spPr bwMode="gray">
          <a:xfrm>
            <a:off x="4716400" y="4131488"/>
            <a:ext cx="3564000" cy="324000"/>
          </a:xfrm>
          <a:solidFill>
            <a:schemeClr val="bg2"/>
          </a:solidFill>
          <a:ln w="9525">
            <a:solidFill>
              <a:schemeClr val="bg2"/>
            </a:solidFill>
          </a:ln>
        </p:spPr>
        <p:txBody>
          <a:bodyPr anchor="ctr" anchorCtr="0"/>
          <a:lstStyle>
            <a:lvl1pPr algn="ctr">
              <a:lnSpc>
                <a:spcPct val="100000"/>
              </a:lnSpc>
              <a:defRPr>
                <a:solidFill>
                  <a:schemeClr val="bg1"/>
                </a:solidFill>
              </a:defRPr>
            </a:lvl1pPr>
          </a:lstStyle>
          <a:p>
            <a:pPr lvl="0"/>
            <a:r>
              <a:rPr lang="en-GB" noProof="0" dirty="0" smtClean="0"/>
              <a:t>Text level 1</a:t>
            </a:r>
          </a:p>
        </p:txBody>
      </p:sp>
      <p:sp>
        <p:nvSpPr>
          <p:cNvPr id="28" name="Espace réservé du texte 9"/>
          <p:cNvSpPr>
            <a:spLocks noGrp="1"/>
          </p:cNvSpPr>
          <p:nvPr>
            <p:ph type="body" sz="quarter" idx="26" hasCustomPrompt="1"/>
          </p:nvPr>
        </p:nvSpPr>
        <p:spPr bwMode="gray">
          <a:xfrm>
            <a:off x="4716400" y="4455488"/>
            <a:ext cx="3564000" cy="1350000"/>
          </a:xfrm>
          <a:ln w="9525">
            <a:solidFill>
              <a:schemeClr val="bg2"/>
            </a:solidFill>
          </a:ln>
        </p:spPr>
        <p:txBody>
          <a:bodyPr tIns="72000"/>
          <a:lstStyle>
            <a:lvl1pPr marL="324000" indent="-180000">
              <a:lnSpc>
                <a:spcPct val="100000"/>
              </a:lnSpc>
              <a:spcBef>
                <a:spcPts val="300"/>
              </a:spcBef>
              <a:buClr>
                <a:schemeClr val="accent3"/>
              </a:buClr>
              <a:buFont typeface="Arial" pitchFamily="34" charset="0"/>
              <a:buChar char="•"/>
              <a:defRPr sz="1800">
                <a:solidFill>
                  <a:schemeClr val="tx1"/>
                </a:solidFill>
              </a:defRPr>
            </a:lvl1pPr>
            <a:lvl2pPr marL="504000">
              <a:buClr>
                <a:schemeClr val="tx1"/>
              </a:buClr>
              <a:defRPr sz="1600" b="0"/>
            </a:lvl2pPr>
            <a:lvl3pPr indent="0">
              <a:buNone/>
              <a:defRPr/>
            </a:lvl3pPr>
            <a:lvl4pPr marL="684000" indent="-180000">
              <a:buClr>
                <a:schemeClr val="tx1"/>
              </a:buClr>
              <a:buFont typeface="Arial" pitchFamily="34" charset="0"/>
              <a:buChar char="•"/>
              <a:defRPr sz="1400"/>
            </a:lvl4pPr>
          </a:lstStyle>
          <a:p>
            <a:pPr lvl="0"/>
            <a:r>
              <a:rPr lang="en-GB" noProof="0" dirty="0" smtClean="0"/>
              <a:t>Text level 2</a:t>
            </a:r>
          </a:p>
          <a:p>
            <a:pPr lvl="1"/>
            <a:r>
              <a:rPr lang="en-GB" noProof="0" dirty="0" smtClean="0"/>
              <a:t>Text level 3</a:t>
            </a:r>
          </a:p>
          <a:p>
            <a:pPr lvl="2"/>
            <a:r>
              <a:rPr lang="en-GB" noProof="0" dirty="0" smtClean="0"/>
              <a:t>Text level 4</a:t>
            </a:r>
          </a:p>
          <a:p>
            <a:pPr lvl="3"/>
            <a:r>
              <a:rPr lang="en-GB" noProof="0" dirty="0" smtClean="0"/>
              <a:t>Text level 5</a:t>
            </a:r>
          </a:p>
        </p:txBody>
      </p:sp>
    </p:spTree>
    <p:extLst>
      <p:ext uri="{BB962C8B-B14F-4D97-AF65-F5344CB8AC3E}">
        <p14:creationId xmlns:p14="http://schemas.microsoft.com/office/powerpoint/2010/main" val="820593594"/>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pic>
        <p:nvPicPr>
          <p:cNvPr id="6" name="Image 18" descr="FD_02.pn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gray">
          <a:xfrm>
            <a:off x="0" y="0"/>
            <a:ext cx="9144000" cy="51577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7" name="Rectangle 6"/>
          <p:cNvSpPr/>
          <p:nvPr userDrawn="1"/>
        </p:nvSpPr>
        <p:spPr bwMode="gray">
          <a:xfrm>
            <a:off x="3635375" y="5265738"/>
            <a:ext cx="5508625" cy="15922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prstClr val="white"/>
              </a:solidFill>
            </a:endParaRPr>
          </a:p>
        </p:txBody>
      </p:sp>
      <p:pic>
        <p:nvPicPr>
          <p:cNvPr id="10" name="Image 19" descr="Bas_couv.png"/>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gray">
          <a:xfrm>
            <a:off x="0" y="5172075"/>
            <a:ext cx="3635375" cy="16859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1" name="Rectangle 10"/>
          <p:cNvSpPr/>
          <p:nvPr userDrawn="1"/>
        </p:nvSpPr>
        <p:spPr bwMode="gray">
          <a:xfrm>
            <a:off x="3635375" y="6354763"/>
            <a:ext cx="5113338" cy="2873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p>
            <a:pPr algn="r">
              <a:defRPr/>
            </a:pPr>
            <a:r>
              <a:rPr lang="en-US" sz="1000" dirty="0" err="1">
                <a:solidFill>
                  <a:srgbClr val="95D600"/>
                </a:solidFill>
              </a:rPr>
              <a:t>www.gavi.org</a:t>
            </a:r>
            <a:endParaRPr lang="en-US" sz="1000" dirty="0">
              <a:solidFill>
                <a:srgbClr val="95D600"/>
              </a:solidFill>
            </a:endParaRPr>
          </a:p>
        </p:txBody>
      </p:sp>
      <p:cxnSp>
        <p:nvCxnSpPr>
          <p:cNvPr id="12" name="Connecteur droit 22"/>
          <p:cNvCxnSpPr/>
          <p:nvPr userDrawn="1"/>
        </p:nvCxnSpPr>
        <p:spPr bwMode="gray">
          <a:xfrm flipH="1">
            <a:off x="468313" y="3402013"/>
            <a:ext cx="2447925" cy="0"/>
          </a:xfrm>
          <a:prstGeom prst="line">
            <a:avLst/>
          </a:prstGeom>
          <a:ln w="24130">
            <a:solidFill>
              <a:schemeClr val="accent1"/>
            </a:solidFill>
          </a:ln>
        </p:spPr>
        <p:style>
          <a:lnRef idx="1">
            <a:schemeClr val="accent1"/>
          </a:lnRef>
          <a:fillRef idx="0">
            <a:schemeClr val="accent1"/>
          </a:fillRef>
          <a:effectRef idx="0">
            <a:schemeClr val="accent1"/>
          </a:effectRef>
          <a:fontRef idx="minor">
            <a:schemeClr val="tx1"/>
          </a:fontRef>
        </p:style>
      </p:cxnSp>
      <p:sp>
        <p:nvSpPr>
          <p:cNvPr id="9" name="Espace réservé du texte 8"/>
          <p:cNvSpPr>
            <a:spLocks noGrp="1"/>
          </p:cNvSpPr>
          <p:nvPr>
            <p:ph type="body" sz="quarter" idx="13"/>
          </p:nvPr>
        </p:nvSpPr>
        <p:spPr bwMode="gray">
          <a:xfrm>
            <a:off x="468314" y="1036800"/>
            <a:ext cx="4824412" cy="2232000"/>
          </a:xfrm>
        </p:spPr>
        <p:txBody>
          <a:bodyPr anchor="b"/>
          <a:lstStyle>
            <a:lvl1pPr marL="0" indent="0" algn="l">
              <a:lnSpc>
                <a:spcPct val="90000"/>
              </a:lnSpc>
              <a:buNone/>
              <a:defRPr sz="2800" b="1" cap="none" baseline="0">
                <a:solidFill>
                  <a:schemeClr val="bg1"/>
                </a:solidFill>
              </a:defRPr>
            </a:lvl1pPr>
            <a:lvl2pPr marL="0" algn="ctr">
              <a:lnSpc>
                <a:spcPct val="100000"/>
              </a:lnSpc>
              <a:spcBef>
                <a:spcPts val="6900"/>
              </a:spcBef>
              <a:defRPr sz="2000" b="1">
                <a:solidFill>
                  <a:schemeClr val="bg1"/>
                </a:solidFill>
              </a:defRPr>
            </a:lvl2pPr>
          </a:lstStyle>
          <a:p>
            <a:pPr lvl="0"/>
            <a:r>
              <a:rPr lang="en-US" noProof="0" smtClean="0"/>
              <a:t>Click to edit Master text styles</a:t>
            </a:r>
          </a:p>
        </p:txBody>
      </p:sp>
      <p:sp>
        <p:nvSpPr>
          <p:cNvPr id="8" name="Espace réservé du texte 8"/>
          <p:cNvSpPr>
            <a:spLocks noGrp="1"/>
          </p:cNvSpPr>
          <p:nvPr>
            <p:ph type="body" sz="quarter" idx="14"/>
          </p:nvPr>
        </p:nvSpPr>
        <p:spPr bwMode="gray">
          <a:xfrm>
            <a:off x="468314" y="3585600"/>
            <a:ext cx="4824411" cy="1479600"/>
          </a:xfrm>
        </p:spPr>
        <p:txBody>
          <a:bodyPr/>
          <a:lstStyle>
            <a:lvl1pPr marL="0" indent="0" algn="l">
              <a:lnSpc>
                <a:spcPct val="90000"/>
              </a:lnSpc>
              <a:buNone/>
              <a:defRPr sz="2000" b="0" baseline="0">
                <a:solidFill>
                  <a:schemeClr val="bg1"/>
                </a:solidFill>
              </a:defRPr>
            </a:lvl1pPr>
            <a:lvl2pPr marL="0" algn="ctr">
              <a:lnSpc>
                <a:spcPct val="100000"/>
              </a:lnSpc>
              <a:spcBef>
                <a:spcPts val="6900"/>
              </a:spcBef>
              <a:defRPr sz="2000" b="1">
                <a:solidFill>
                  <a:schemeClr val="bg1"/>
                </a:solidFill>
              </a:defRPr>
            </a:lvl2pPr>
          </a:lstStyle>
          <a:p>
            <a:pPr lvl="0"/>
            <a:r>
              <a:rPr lang="en-US" noProof="0" smtClean="0"/>
              <a:t>Click to edit Master text styles</a:t>
            </a:r>
          </a:p>
        </p:txBody>
      </p:sp>
      <p:sp>
        <p:nvSpPr>
          <p:cNvPr id="15" name="Espace réservé du texte 14"/>
          <p:cNvSpPr>
            <a:spLocks noGrp="1"/>
          </p:cNvSpPr>
          <p:nvPr>
            <p:ph type="body" sz="quarter" idx="19"/>
          </p:nvPr>
        </p:nvSpPr>
        <p:spPr bwMode="gray">
          <a:xfrm>
            <a:off x="3635376" y="6021388"/>
            <a:ext cx="5113338" cy="324000"/>
          </a:xfrm>
        </p:spPr>
        <p:txBody>
          <a:bodyPr anchor="b"/>
          <a:lstStyle>
            <a:lvl1pPr algn="r">
              <a:lnSpc>
                <a:spcPct val="100000"/>
              </a:lnSpc>
              <a:defRPr sz="1000" b="1">
                <a:solidFill>
                  <a:schemeClr val="accent3"/>
                </a:solidFill>
              </a:defRPr>
            </a:lvl1pPr>
          </a:lstStyle>
          <a:p>
            <a:pPr lvl="0"/>
            <a:r>
              <a:rPr lang="en-US" noProof="0" smtClean="0"/>
              <a:t>Click to edit Master text styles</a:t>
            </a:r>
          </a:p>
        </p:txBody>
      </p:sp>
      <p:sp>
        <p:nvSpPr>
          <p:cNvPr id="17" name="Espace réservé du texte 16"/>
          <p:cNvSpPr>
            <a:spLocks noGrp="1"/>
          </p:cNvSpPr>
          <p:nvPr>
            <p:ph type="body" sz="quarter" idx="20"/>
          </p:nvPr>
        </p:nvSpPr>
        <p:spPr bwMode="gray">
          <a:xfrm>
            <a:off x="0" y="5157788"/>
            <a:ext cx="9144000" cy="287337"/>
          </a:xfrm>
          <a:solidFill>
            <a:schemeClr val="bg1"/>
          </a:solidFill>
        </p:spPr>
        <p:txBody>
          <a:bodyPr/>
          <a:lstStyle>
            <a:lvl1pPr>
              <a:defRPr sz="100" b="0">
                <a:solidFill>
                  <a:schemeClr val="bg1">
                    <a:alpha val="0"/>
                  </a:schemeClr>
                </a:solidFill>
              </a:defRPr>
            </a:lvl1pPr>
          </a:lstStyle>
          <a:p>
            <a:pPr lvl="0"/>
            <a:r>
              <a:rPr lang="en-US" noProof="0" smtClean="0"/>
              <a:t>Click to edit Master text styles</a:t>
            </a:r>
          </a:p>
        </p:txBody>
      </p:sp>
      <p:sp>
        <p:nvSpPr>
          <p:cNvPr id="13" name="Espace réservé de la date 9"/>
          <p:cNvSpPr>
            <a:spLocks noGrp="1"/>
          </p:cNvSpPr>
          <p:nvPr>
            <p:ph type="dt" sz="half" idx="21"/>
          </p:nvPr>
        </p:nvSpPr>
        <p:spPr/>
        <p:txBody>
          <a:bodyPr/>
          <a:lstStyle>
            <a:lvl1pPr>
              <a:defRPr/>
            </a:lvl1pPr>
          </a:lstStyle>
          <a:p>
            <a:pPr>
              <a:defRPr/>
            </a:pPr>
            <a:r>
              <a:rPr lang="en-US">
                <a:solidFill>
                  <a:prstClr val="white">
                    <a:alpha val="0"/>
                  </a:prstClr>
                </a:solidFill>
              </a:rPr>
              <a:t>Date</a:t>
            </a:r>
          </a:p>
        </p:txBody>
      </p:sp>
      <p:sp>
        <p:nvSpPr>
          <p:cNvPr id="14" name="Espace réservé du numéro de diapositive 10"/>
          <p:cNvSpPr>
            <a:spLocks noGrp="1"/>
          </p:cNvSpPr>
          <p:nvPr>
            <p:ph type="sldNum" sz="quarter" idx="22"/>
          </p:nvPr>
        </p:nvSpPr>
        <p:spPr/>
        <p:txBody>
          <a:bodyPr/>
          <a:lstStyle>
            <a:lvl1pPr>
              <a:defRPr sz="100">
                <a:solidFill>
                  <a:schemeClr val="bg1">
                    <a:alpha val="0"/>
                  </a:schemeClr>
                </a:solidFill>
              </a:defRPr>
            </a:lvl1pPr>
          </a:lstStyle>
          <a:p>
            <a:pPr>
              <a:defRPr/>
            </a:pPr>
            <a:r>
              <a:rPr lang="en-US">
                <a:solidFill>
                  <a:prstClr val="white">
                    <a:alpha val="0"/>
                  </a:prstClr>
                </a:solidFill>
              </a:rPr>
              <a:t>Page: </a:t>
            </a:r>
            <a:fld id="{541ADD26-9626-44B7-849C-716E619042DF}" type="slidenum">
              <a:rPr lang="en-US">
                <a:solidFill>
                  <a:prstClr val="white">
                    <a:alpha val="0"/>
                  </a:prstClr>
                </a:solidFill>
              </a:rPr>
              <a:pPr>
                <a:defRPr/>
              </a:pPr>
              <a:t>‹#›</a:t>
            </a:fld>
            <a:endParaRPr lang="en-US">
              <a:solidFill>
                <a:prstClr val="white">
                  <a:alpha val="0"/>
                </a:prstClr>
              </a:solidFill>
            </a:endParaRPr>
          </a:p>
        </p:txBody>
      </p:sp>
      <p:sp>
        <p:nvSpPr>
          <p:cNvPr id="16" name="Espace réservé du pied de page 11"/>
          <p:cNvSpPr>
            <a:spLocks noGrp="1"/>
          </p:cNvSpPr>
          <p:nvPr>
            <p:ph type="ftr" sz="quarter" idx="23"/>
          </p:nvPr>
        </p:nvSpPr>
        <p:spPr>
          <a:xfrm>
            <a:off x="468313" y="523875"/>
            <a:ext cx="4824412" cy="360363"/>
          </a:xfrm>
        </p:spPr>
        <p:txBody>
          <a:bodyPr/>
          <a:lstStyle>
            <a:lvl1pPr algn="l">
              <a:defRPr sz="1800" b="0">
                <a:solidFill>
                  <a:schemeClr val="bg1"/>
                </a:solidFill>
              </a:defRPr>
            </a:lvl1pPr>
          </a:lstStyle>
          <a:p>
            <a:pPr>
              <a:defRPr/>
            </a:pPr>
            <a:r>
              <a:rPr lang="en-US">
                <a:solidFill>
                  <a:prstClr val="white"/>
                </a:solidFill>
              </a:rPr>
              <a:t>#vaccelerate</a:t>
            </a:r>
          </a:p>
        </p:txBody>
      </p:sp>
    </p:spTree>
    <p:extLst>
      <p:ext uri="{BB962C8B-B14F-4D97-AF65-F5344CB8AC3E}">
        <p14:creationId xmlns:p14="http://schemas.microsoft.com/office/powerpoint/2010/main" val="125832767"/>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Cover_Picture_1">
    <p:spTree>
      <p:nvGrpSpPr>
        <p:cNvPr id="1" name=""/>
        <p:cNvGrpSpPr/>
        <p:nvPr/>
      </p:nvGrpSpPr>
      <p:grpSpPr>
        <a:xfrm>
          <a:off x="0" y="0"/>
          <a:ext cx="0" cy="0"/>
          <a:chOff x="0" y="0"/>
          <a:chExt cx="0" cy="0"/>
        </a:xfrm>
      </p:grpSpPr>
      <p:pic>
        <p:nvPicPr>
          <p:cNvPr id="7" name="Image 20" descr="FD_1_L254.png"/>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gray">
          <a:xfrm>
            <a:off x="0" y="0"/>
            <a:ext cx="9144000" cy="51577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0" name="Rectangle 9"/>
          <p:cNvSpPr/>
          <p:nvPr userDrawn="1"/>
        </p:nvSpPr>
        <p:spPr bwMode="gray">
          <a:xfrm>
            <a:off x="3635375" y="5265738"/>
            <a:ext cx="5508625" cy="15922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prstClr val="white"/>
              </a:solidFill>
            </a:endParaRPr>
          </a:p>
        </p:txBody>
      </p:sp>
      <p:pic>
        <p:nvPicPr>
          <p:cNvPr id="11" name="Image 19" descr="Bas_couv.png"/>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gray">
          <a:xfrm>
            <a:off x="0" y="5172075"/>
            <a:ext cx="3635375" cy="16859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2" name="Rectangle 11"/>
          <p:cNvSpPr/>
          <p:nvPr userDrawn="1"/>
        </p:nvSpPr>
        <p:spPr bwMode="gray">
          <a:xfrm>
            <a:off x="3635375" y="6354763"/>
            <a:ext cx="5113338" cy="2873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p>
            <a:pPr algn="r">
              <a:defRPr/>
            </a:pPr>
            <a:r>
              <a:rPr lang="en-US" sz="1000" dirty="0" err="1">
                <a:solidFill>
                  <a:srgbClr val="95D600"/>
                </a:solidFill>
              </a:rPr>
              <a:t>www.gavi.org</a:t>
            </a:r>
            <a:endParaRPr lang="en-US" sz="1000" dirty="0">
              <a:solidFill>
                <a:srgbClr val="95D600"/>
              </a:solidFill>
            </a:endParaRPr>
          </a:p>
        </p:txBody>
      </p:sp>
      <p:cxnSp>
        <p:nvCxnSpPr>
          <p:cNvPr id="13" name="Connecteur droit 22"/>
          <p:cNvCxnSpPr/>
          <p:nvPr userDrawn="1"/>
        </p:nvCxnSpPr>
        <p:spPr bwMode="gray">
          <a:xfrm flipH="1">
            <a:off x="468313" y="3402013"/>
            <a:ext cx="2447925" cy="0"/>
          </a:xfrm>
          <a:prstGeom prst="line">
            <a:avLst/>
          </a:prstGeom>
          <a:ln w="24130">
            <a:solidFill>
              <a:schemeClr val="accent1"/>
            </a:solidFill>
          </a:ln>
        </p:spPr>
        <p:style>
          <a:lnRef idx="1">
            <a:schemeClr val="accent1"/>
          </a:lnRef>
          <a:fillRef idx="0">
            <a:schemeClr val="accent1"/>
          </a:fillRef>
          <a:effectRef idx="0">
            <a:schemeClr val="accent1"/>
          </a:effectRef>
          <a:fontRef idx="minor">
            <a:schemeClr val="tx1"/>
          </a:fontRef>
        </p:style>
      </p:cxnSp>
      <p:sp>
        <p:nvSpPr>
          <p:cNvPr id="9" name="Espace réservé du texte 8"/>
          <p:cNvSpPr>
            <a:spLocks noGrp="1"/>
          </p:cNvSpPr>
          <p:nvPr>
            <p:ph type="body" sz="quarter" idx="13"/>
          </p:nvPr>
        </p:nvSpPr>
        <p:spPr bwMode="gray">
          <a:xfrm>
            <a:off x="468314" y="1036638"/>
            <a:ext cx="4824412" cy="2231392"/>
          </a:xfrm>
        </p:spPr>
        <p:txBody>
          <a:bodyPr anchor="b"/>
          <a:lstStyle>
            <a:lvl1pPr marL="0" indent="0" algn="l">
              <a:lnSpc>
                <a:spcPct val="90000"/>
              </a:lnSpc>
              <a:buNone/>
              <a:defRPr sz="2800" b="1" cap="none" baseline="0">
                <a:solidFill>
                  <a:schemeClr val="bg1"/>
                </a:solidFill>
              </a:defRPr>
            </a:lvl1pPr>
            <a:lvl2pPr marL="0" algn="ctr">
              <a:lnSpc>
                <a:spcPct val="100000"/>
              </a:lnSpc>
              <a:spcBef>
                <a:spcPts val="6900"/>
              </a:spcBef>
              <a:defRPr sz="2000" b="1">
                <a:solidFill>
                  <a:schemeClr val="bg1"/>
                </a:solidFill>
              </a:defRPr>
            </a:lvl2pPr>
          </a:lstStyle>
          <a:p>
            <a:pPr lvl="0"/>
            <a:r>
              <a:rPr lang="en-US" noProof="0" smtClean="0"/>
              <a:t>Click to edit Master text styles</a:t>
            </a:r>
          </a:p>
        </p:txBody>
      </p:sp>
      <p:sp>
        <p:nvSpPr>
          <p:cNvPr id="8" name="Espace réservé du texte 8"/>
          <p:cNvSpPr>
            <a:spLocks noGrp="1"/>
          </p:cNvSpPr>
          <p:nvPr>
            <p:ph type="body" sz="quarter" idx="14"/>
          </p:nvPr>
        </p:nvSpPr>
        <p:spPr bwMode="gray">
          <a:xfrm>
            <a:off x="468314" y="3584637"/>
            <a:ext cx="3592800" cy="1477788"/>
          </a:xfrm>
        </p:spPr>
        <p:txBody>
          <a:bodyPr/>
          <a:lstStyle>
            <a:lvl1pPr marL="0" indent="0" algn="l">
              <a:lnSpc>
                <a:spcPct val="90000"/>
              </a:lnSpc>
              <a:buNone/>
              <a:defRPr sz="2000" b="0" baseline="0">
                <a:solidFill>
                  <a:schemeClr val="bg1"/>
                </a:solidFill>
              </a:defRPr>
            </a:lvl1pPr>
            <a:lvl2pPr marL="0" algn="ctr">
              <a:lnSpc>
                <a:spcPct val="100000"/>
              </a:lnSpc>
              <a:spcBef>
                <a:spcPts val="6900"/>
              </a:spcBef>
              <a:defRPr sz="2000" b="1">
                <a:solidFill>
                  <a:schemeClr val="bg1"/>
                </a:solidFill>
              </a:defRPr>
            </a:lvl2pPr>
          </a:lstStyle>
          <a:p>
            <a:pPr lvl="0"/>
            <a:r>
              <a:rPr lang="en-US" noProof="0" smtClean="0"/>
              <a:t>Click to edit Master text styles</a:t>
            </a:r>
          </a:p>
        </p:txBody>
      </p:sp>
      <p:sp>
        <p:nvSpPr>
          <p:cNvPr id="15" name="Espace réservé du texte 14"/>
          <p:cNvSpPr>
            <a:spLocks noGrp="1"/>
          </p:cNvSpPr>
          <p:nvPr>
            <p:ph type="body" sz="quarter" idx="19"/>
          </p:nvPr>
        </p:nvSpPr>
        <p:spPr bwMode="gray">
          <a:xfrm>
            <a:off x="3635376" y="6021388"/>
            <a:ext cx="5113338" cy="324000"/>
          </a:xfrm>
        </p:spPr>
        <p:txBody>
          <a:bodyPr anchor="b"/>
          <a:lstStyle>
            <a:lvl1pPr algn="r">
              <a:lnSpc>
                <a:spcPct val="100000"/>
              </a:lnSpc>
              <a:defRPr sz="1000" b="1">
                <a:solidFill>
                  <a:schemeClr val="accent3"/>
                </a:solidFill>
              </a:defRPr>
            </a:lvl1pPr>
          </a:lstStyle>
          <a:p>
            <a:pPr lvl="0"/>
            <a:r>
              <a:rPr lang="en-US" noProof="0" smtClean="0"/>
              <a:t>Click to edit Master text styles</a:t>
            </a:r>
          </a:p>
        </p:txBody>
      </p:sp>
      <p:sp>
        <p:nvSpPr>
          <p:cNvPr id="17" name="Espace réservé du texte 16"/>
          <p:cNvSpPr>
            <a:spLocks noGrp="1"/>
          </p:cNvSpPr>
          <p:nvPr>
            <p:ph type="body" sz="quarter" idx="20"/>
          </p:nvPr>
        </p:nvSpPr>
        <p:spPr bwMode="gray">
          <a:xfrm>
            <a:off x="0" y="5157788"/>
            <a:ext cx="9144000" cy="287337"/>
          </a:xfrm>
          <a:solidFill>
            <a:schemeClr val="bg1"/>
          </a:solidFill>
        </p:spPr>
        <p:txBody>
          <a:bodyPr/>
          <a:lstStyle>
            <a:lvl1pPr>
              <a:defRPr sz="100" b="0">
                <a:solidFill>
                  <a:schemeClr val="bg1">
                    <a:alpha val="0"/>
                  </a:schemeClr>
                </a:solidFill>
              </a:defRPr>
            </a:lvl1pPr>
          </a:lstStyle>
          <a:p>
            <a:pPr lvl="0"/>
            <a:r>
              <a:rPr lang="en-US" noProof="0" smtClean="0"/>
              <a:t>Click to edit Master text styles</a:t>
            </a:r>
          </a:p>
        </p:txBody>
      </p:sp>
      <p:sp>
        <p:nvSpPr>
          <p:cNvPr id="24" name="Espace réservé pour une image  17"/>
          <p:cNvSpPr>
            <a:spLocks noGrp="1"/>
          </p:cNvSpPr>
          <p:nvPr>
            <p:ph type="pic" sz="quarter" idx="18"/>
          </p:nvPr>
        </p:nvSpPr>
        <p:spPr bwMode="gray">
          <a:xfrm>
            <a:off x="4192588" y="0"/>
            <a:ext cx="4951412" cy="5162400"/>
          </a:xfrm>
          <a:custGeom>
            <a:avLst/>
            <a:gdLst>
              <a:gd name="connsiteX0" fmla="*/ 0 w 3851275"/>
              <a:gd name="connsiteY0" fmla="*/ 0 h 5157788"/>
              <a:gd name="connsiteX1" fmla="*/ 3851275 w 3851275"/>
              <a:gd name="connsiteY1" fmla="*/ 0 h 5157788"/>
              <a:gd name="connsiteX2" fmla="*/ 3851275 w 3851275"/>
              <a:gd name="connsiteY2" fmla="*/ 5157788 h 5157788"/>
              <a:gd name="connsiteX3" fmla="*/ 0 w 3851275"/>
              <a:gd name="connsiteY3" fmla="*/ 5157788 h 5157788"/>
              <a:gd name="connsiteX4" fmla="*/ 0 w 3851275"/>
              <a:gd name="connsiteY4"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0 w 3851275"/>
              <a:gd name="connsiteY3" fmla="*/ 5157788 h 5157788"/>
              <a:gd name="connsiteX4" fmla="*/ 1692275 w 3851275"/>
              <a:gd name="connsiteY4" fmla="*/ 0 h 5157788"/>
              <a:gd name="connsiteX0" fmla="*/ 0 w 2159000"/>
              <a:gd name="connsiteY0" fmla="*/ 0 h 5157788"/>
              <a:gd name="connsiteX1" fmla="*/ 2159000 w 2159000"/>
              <a:gd name="connsiteY1" fmla="*/ 0 h 5157788"/>
              <a:gd name="connsiteX2" fmla="*/ 2159000 w 2159000"/>
              <a:gd name="connsiteY2" fmla="*/ 5157788 h 5157788"/>
              <a:gd name="connsiteX3" fmla="*/ 0 w 2159000"/>
              <a:gd name="connsiteY3" fmla="*/ 5157788 h 5157788"/>
              <a:gd name="connsiteX4" fmla="*/ 0 w 2159000"/>
              <a:gd name="connsiteY4" fmla="*/ 0 h 5157788"/>
              <a:gd name="connsiteX0" fmla="*/ 2625271 w 4784271"/>
              <a:gd name="connsiteY0" fmla="*/ 0 h 5157788"/>
              <a:gd name="connsiteX1" fmla="*/ 4784271 w 4784271"/>
              <a:gd name="connsiteY1" fmla="*/ 0 h 5157788"/>
              <a:gd name="connsiteX2" fmla="*/ 4784271 w 4784271"/>
              <a:gd name="connsiteY2" fmla="*/ 5157788 h 5157788"/>
              <a:gd name="connsiteX3" fmla="*/ 2625271 w 4784271"/>
              <a:gd name="connsiteY3" fmla="*/ 5157788 h 5157788"/>
              <a:gd name="connsiteX4" fmla="*/ 2625271 w 4784271"/>
              <a:gd name="connsiteY4" fmla="*/ 0 h 5157788"/>
              <a:gd name="connsiteX0" fmla="*/ 2625271 w 4784271"/>
              <a:gd name="connsiteY0" fmla="*/ 0 h 5157788"/>
              <a:gd name="connsiteX1" fmla="*/ 4784271 w 4784271"/>
              <a:gd name="connsiteY1" fmla="*/ 0 h 5157788"/>
              <a:gd name="connsiteX2" fmla="*/ 4784271 w 4784271"/>
              <a:gd name="connsiteY2" fmla="*/ 5157788 h 5157788"/>
              <a:gd name="connsiteX3" fmla="*/ 2625271 w 4784271"/>
              <a:gd name="connsiteY3" fmla="*/ 5157788 h 5157788"/>
              <a:gd name="connsiteX4" fmla="*/ 2625271 w 4784271"/>
              <a:gd name="connsiteY4" fmla="*/ 0 h 5157788"/>
              <a:gd name="connsiteX0" fmla="*/ 3568576 w 5727576"/>
              <a:gd name="connsiteY0" fmla="*/ 0 h 5157788"/>
              <a:gd name="connsiteX1" fmla="*/ 5727576 w 5727576"/>
              <a:gd name="connsiteY1" fmla="*/ 0 h 5157788"/>
              <a:gd name="connsiteX2" fmla="*/ 5727576 w 5727576"/>
              <a:gd name="connsiteY2" fmla="*/ 5157788 h 5157788"/>
              <a:gd name="connsiteX3" fmla="*/ 3568576 w 5727576"/>
              <a:gd name="connsiteY3" fmla="*/ 5157788 h 5157788"/>
              <a:gd name="connsiteX4" fmla="*/ 3568576 w 5727576"/>
              <a:gd name="connsiteY4" fmla="*/ 0 h 5157788"/>
              <a:gd name="connsiteX0" fmla="*/ 3306355 w 5465355"/>
              <a:gd name="connsiteY0" fmla="*/ 0 h 5157788"/>
              <a:gd name="connsiteX1" fmla="*/ 5465355 w 5465355"/>
              <a:gd name="connsiteY1" fmla="*/ 0 h 5157788"/>
              <a:gd name="connsiteX2" fmla="*/ 5465355 w 5465355"/>
              <a:gd name="connsiteY2" fmla="*/ 5157788 h 5157788"/>
              <a:gd name="connsiteX3" fmla="*/ 3306355 w 5465355"/>
              <a:gd name="connsiteY3" fmla="*/ 5157788 h 5157788"/>
              <a:gd name="connsiteX4" fmla="*/ 3306355 w 5465355"/>
              <a:gd name="connsiteY4" fmla="*/ 0 h 5157788"/>
              <a:gd name="connsiteX0" fmla="*/ 1416957 w 3575957"/>
              <a:gd name="connsiteY0" fmla="*/ 0 h 5157788"/>
              <a:gd name="connsiteX1" fmla="*/ 3575957 w 3575957"/>
              <a:gd name="connsiteY1" fmla="*/ 0 h 5157788"/>
              <a:gd name="connsiteX2" fmla="*/ 3575957 w 3575957"/>
              <a:gd name="connsiteY2" fmla="*/ 5157788 h 5157788"/>
              <a:gd name="connsiteX3" fmla="*/ 1416957 w 3575957"/>
              <a:gd name="connsiteY3" fmla="*/ 5157788 h 5157788"/>
              <a:gd name="connsiteX4" fmla="*/ 0 w 3575957"/>
              <a:gd name="connsiteY4" fmla="*/ 3339193 h 5157788"/>
              <a:gd name="connsiteX5" fmla="*/ 1416957 w 3575957"/>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6017419"/>
              <a:gd name="connsiteX1" fmla="*/ 3851275 w 3851275"/>
              <a:gd name="connsiteY1" fmla="*/ 0 h 6017419"/>
              <a:gd name="connsiteX2" fmla="*/ 3851275 w 3851275"/>
              <a:gd name="connsiteY2" fmla="*/ 5157788 h 6017419"/>
              <a:gd name="connsiteX3" fmla="*/ 1692275 w 3851275"/>
              <a:gd name="connsiteY3" fmla="*/ 5157788 h 6017419"/>
              <a:gd name="connsiteX4" fmla="*/ 0 w 3851275"/>
              <a:gd name="connsiteY4" fmla="*/ 3284984 h 6017419"/>
              <a:gd name="connsiteX5" fmla="*/ 1692275 w 3851275"/>
              <a:gd name="connsiteY5" fmla="*/ 0 h 6017419"/>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429000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429000 h 5157788"/>
              <a:gd name="connsiteX5" fmla="*/ 1710871 w 3869871"/>
              <a:gd name="connsiteY5" fmla="*/ 0 h 5157788"/>
              <a:gd name="connsiteX0" fmla="*/ 1704975 w 3863975"/>
              <a:gd name="connsiteY0" fmla="*/ 0 h 5157788"/>
              <a:gd name="connsiteX1" fmla="*/ 3863975 w 3863975"/>
              <a:gd name="connsiteY1" fmla="*/ 0 h 5157788"/>
              <a:gd name="connsiteX2" fmla="*/ 3863975 w 3863975"/>
              <a:gd name="connsiteY2" fmla="*/ 5157788 h 5157788"/>
              <a:gd name="connsiteX3" fmla="*/ 1704975 w 3863975"/>
              <a:gd name="connsiteY3" fmla="*/ 5157788 h 5157788"/>
              <a:gd name="connsiteX4" fmla="*/ 12700 w 3863975"/>
              <a:gd name="connsiteY4" fmla="*/ 3429000 h 5157788"/>
              <a:gd name="connsiteX5" fmla="*/ 1704975 w 3863975"/>
              <a:gd name="connsiteY5" fmla="*/ 0 h 5157788"/>
              <a:gd name="connsiteX0" fmla="*/ 1707243 w 3866243"/>
              <a:gd name="connsiteY0" fmla="*/ 0 h 5157788"/>
              <a:gd name="connsiteX1" fmla="*/ 3866243 w 3866243"/>
              <a:gd name="connsiteY1" fmla="*/ 0 h 5157788"/>
              <a:gd name="connsiteX2" fmla="*/ 3866243 w 3866243"/>
              <a:gd name="connsiteY2" fmla="*/ 5157788 h 5157788"/>
              <a:gd name="connsiteX3" fmla="*/ 1707243 w 3866243"/>
              <a:gd name="connsiteY3" fmla="*/ 5157788 h 5157788"/>
              <a:gd name="connsiteX4" fmla="*/ 14968 w 3866243"/>
              <a:gd name="connsiteY4" fmla="*/ 3429000 h 5157788"/>
              <a:gd name="connsiteX5" fmla="*/ 1707243 w 3866243"/>
              <a:gd name="connsiteY5" fmla="*/ 0 h 5157788"/>
              <a:gd name="connsiteX0" fmla="*/ 1130447 w 3866243"/>
              <a:gd name="connsiteY0" fmla="*/ 0 h 5157788"/>
              <a:gd name="connsiteX1" fmla="*/ 3866243 w 3866243"/>
              <a:gd name="connsiteY1" fmla="*/ 0 h 5157788"/>
              <a:gd name="connsiteX2" fmla="*/ 3866243 w 3866243"/>
              <a:gd name="connsiteY2" fmla="*/ 5157788 h 5157788"/>
              <a:gd name="connsiteX3" fmla="*/ 1707243 w 3866243"/>
              <a:gd name="connsiteY3" fmla="*/ 5157788 h 5157788"/>
              <a:gd name="connsiteX4" fmla="*/ 14968 w 3866243"/>
              <a:gd name="connsiteY4" fmla="*/ 3429000 h 5157788"/>
              <a:gd name="connsiteX5" fmla="*/ 1130447 w 3866243"/>
              <a:gd name="connsiteY5" fmla="*/ 0 h 5157788"/>
              <a:gd name="connsiteX0" fmla="*/ 2746143 w 5481939"/>
              <a:gd name="connsiteY0" fmla="*/ 0 h 5157788"/>
              <a:gd name="connsiteX1" fmla="*/ 5481939 w 5481939"/>
              <a:gd name="connsiteY1" fmla="*/ 0 h 5157788"/>
              <a:gd name="connsiteX2" fmla="*/ 5481939 w 5481939"/>
              <a:gd name="connsiteY2" fmla="*/ 5157788 h 5157788"/>
              <a:gd name="connsiteX3" fmla="*/ 585903 w 5481939"/>
              <a:gd name="connsiteY3" fmla="*/ 5153180 h 5157788"/>
              <a:gd name="connsiteX4" fmla="*/ 1630664 w 5481939"/>
              <a:gd name="connsiteY4" fmla="*/ 3429000 h 5157788"/>
              <a:gd name="connsiteX5" fmla="*/ 2746143 w 5481939"/>
              <a:gd name="connsiteY5" fmla="*/ 0 h 5157788"/>
              <a:gd name="connsiteX0" fmla="*/ 2746143 w 5481939"/>
              <a:gd name="connsiteY0" fmla="*/ 0 h 5157788"/>
              <a:gd name="connsiteX1" fmla="*/ 5481939 w 5481939"/>
              <a:gd name="connsiteY1" fmla="*/ 0 h 5157788"/>
              <a:gd name="connsiteX2" fmla="*/ 5481939 w 5481939"/>
              <a:gd name="connsiteY2" fmla="*/ 5157788 h 5157788"/>
              <a:gd name="connsiteX3" fmla="*/ 585903 w 5481939"/>
              <a:gd name="connsiteY3" fmla="*/ 5153180 h 5157788"/>
              <a:gd name="connsiteX4" fmla="*/ 1630664 w 5481939"/>
              <a:gd name="connsiteY4" fmla="*/ 3429000 h 5157788"/>
              <a:gd name="connsiteX5" fmla="*/ 2746143 w 548193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3574235 w 6310031"/>
              <a:gd name="connsiteY0" fmla="*/ 0 h 5157788"/>
              <a:gd name="connsiteX1" fmla="*/ 6310031 w 6310031"/>
              <a:gd name="connsiteY1" fmla="*/ 0 h 5157788"/>
              <a:gd name="connsiteX2" fmla="*/ 6310031 w 6310031"/>
              <a:gd name="connsiteY2" fmla="*/ 5157788 h 5157788"/>
              <a:gd name="connsiteX3" fmla="*/ 585903 w 6310031"/>
              <a:gd name="connsiteY3" fmla="*/ 5153180 h 5157788"/>
              <a:gd name="connsiteX4" fmla="*/ 1738031 w 6310031"/>
              <a:gd name="connsiteY4" fmla="*/ 3389965 h 5157788"/>
              <a:gd name="connsiteX5" fmla="*/ 3574235 w 6310031"/>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296143 w 5724128"/>
              <a:gd name="connsiteY4" fmla="*/ 3461908 h 5157788"/>
              <a:gd name="connsiteX5" fmla="*/ 2988332 w 5724128"/>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1188132 w 5760132"/>
              <a:gd name="connsiteY4" fmla="*/ 3425937 h 5157788"/>
              <a:gd name="connsiteX5" fmla="*/ 3024336 w 5760132"/>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2736304 w 5760132"/>
              <a:gd name="connsiteY4" fmla="*/ 3461908 h 5157788"/>
              <a:gd name="connsiteX5" fmla="*/ 3024336 w 5760132"/>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2736304 w 5760132"/>
              <a:gd name="connsiteY4" fmla="*/ 3461908 h 5157788"/>
              <a:gd name="connsiteX5" fmla="*/ 3024336 w 5760132"/>
              <a:gd name="connsiteY5" fmla="*/ 0 h 5157788"/>
              <a:gd name="connsiteX0" fmla="*/ 2160240 w 4896036"/>
              <a:gd name="connsiteY0" fmla="*/ 0 h 5157788"/>
              <a:gd name="connsiteX1" fmla="*/ 4896036 w 4896036"/>
              <a:gd name="connsiteY1" fmla="*/ 0 h 5157788"/>
              <a:gd name="connsiteX2" fmla="*/ 4896036 w 4896036"/>
              <a:gd name="connsiteY2" fmla="*/ 5157788 h 5157788"/>
              <a:gd name="connsiteX3" fmla="*/ 0 w 4896036"/>
              <a:gd name="connsiteY3" fmla="*/ 5153180 h 5157788"/>
              <a:gd name="connsiteX4" fmla="*/ 1872208 w 4896036"/>
              <a:gd name="connsiteY4" fmla="*/ 3461908 h 5157788"/>
              <a:gd name="connsiteX5" fmla="*/ 2160240 w 4896036"/>
              <a:gd name="connsiteY5" fmla="*/ 0 h 5157788"/>
              <a:gd name="connsiteX0" fmla="*/ 2232248 w 4968044"/>
              <a:gd name="connsiteY0" fmla="*/ 0 h 5157788"/>
              <a:gd name="connsiteX1" fmla="*/ 4968044 w 4968044"/>
              <a:gd name="connsiteY1" fmla="*/ 0 h 5157788"/>
              <a:gd name="connsiteX2" fmla="*/ 4968044 w 4968044"/>
              <a:gd name="connsiteY2" fmla="*/ 5157788 h 5157788"/>
              <a:gd name="connsiteX3" fmla="*/ 0 w 4968044"/>
              <a:gd name="connsiteY3" fmla="*/ 5153180 h 5157788"/>
              <a:gd name="connsiteX4" fmla="*/ 1944216 w 4968044"/>
              <a:gd name="connsiteY4" fmla="*/ 3461908 h 5157788"/>
              <a:gd name="connsiteX5" fmla="*/ 2232248 w 4968044"/>
              <a:gd name="connsiteY5" fmla="*/ 0 h 5157788"/>
              <a:gd name="connsiteX0" fmla="*/ 2207679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207679 w 4943475"/>
              <a:gd name="connsiteY5" fmla="*/ 0 h 5157788"/>
              <a:gd name="connsiteX0" fmla="*/ 2963763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963763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092200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71575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343583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675731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675731 w 4943475"/>
              <a:gd name="connsiteY5" fmla="*/ 0 h 5157788"/>
              <a:gd name="connsiteX0" fmla="*/ 2675731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675731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9672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19672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51412" h="5157788">
                <a:moveTo>
                  <a:pt x="2706687" y="0"/>
                </a:moveTo>
                <a:lnTo>
                  <a:pt x="4951412" y="0"/>
                </a:lnTo>
                <a:lnTo>
                  <a:pt x="4951412" y="5157788"/>
                </a:lnTo>
                <a:lnTo>
                  <a:pt x="0" y="5153180"/>
                </a:lnTo>
                <a:cubicBezTo>
                  <a:pt x="84411" y="4542509"/>
                  <a:pt x="183041" y="4024723"/>
                  <a:pt x="1243508" y="2562613"/>
                </a:cubicBezTo>
                <a:cubicBezTo>
                  <a:pt x="1867447" y="1704780"/>
                  <a:pt x="2665955" y="709265"/>
                  <a:pt x="2706687" y="0"/>
                </a:cubicBezTo>
                <a:close/>
              </a:path>
            </a:pathLst>
          </a:custGeom>
          <a:solidFill>
            <a:schemeClr val="bg2"/>
          </a:solidFill>
          <a:ln w="3175">
            <a:noFill/>
          </a:ln>
        </p:spPr>
        <p:txBody>
          <a:bodyPr tIns="720000" rtlCol="0" anchor="ctr">
            <a:noAutofit/>
          </a:bodyPr>
          <a:lstStyle>
            <a:lvl1pPr algn="ctr">
              <a:defRPr sz="1500">
                <a:solidFill>
                  <a:schemeClr val="bg1"/>
                </a:solidFill>
              </a:defRPr>
            </a:lvl1pPr>
          </a:lstStyle>
          <a:p>
            <a:pPr lvl="0"/>
            <a:r>
              <a:rPr lang="en-US" noProof="0" smtClean="0"/>
              <a:t>Click icon to add picture</a:t>
            </a:r>
            <a:endParaRPr lang="en-US" noProof="0" dirty="0"/>
          </a:p>
        </p:txBody>
      </p:sp>
      <p:sp>
        <p:nvSpPr>
          <p:cNvPr id="14" name="Espace réservé de la date 9"/>
          <p:cNvSpPr>
            <a:spLocks noGrp="1"/>
          </p:cNvSpPr>
          <p:nvPr>
            <p:ph type="dt" sz="half" idx="21"/>
          </p:nvPr>
        </p:nvSpPr>
        <p:spPr/>
        <p:txBody>
          <a:bodyPr/>
          <a:lstStyle>
            <a:lvl1pPr>
              <a:defRPr/>
            </a:lvl1pPr>
          </a:lstStyle>
          <a:p>
            <a:pPr>
              <a:defRPr/>
            </a:pPr>
            <a:r>
              <a:rPr lang="en-US">
                <a:solidFill>
                  <a:prstClr val="white">
                    <a:alpha val="0"/>
                  </a:prstClr>
                </a:solidFill>
              </a:rPr>
              <a:t>Date</a:t>
            </a:r>
          </a:p>
        </p:txBody>
      </p:sp>
      <p:sp>
        <p:nvSpPr>
          <p:cNvPr id="16" name="Espace réservé du numéro de diapositive 10"/>
          <p:cNvSpPr>
            <a:spLocks noGrp="1"/>
          </p:cNvSpPr>
          <p:nvPr>
            <p:ph type="sldNum" sz="quarter" idx="22"/>
          </p:nvPr>
        </p:nvSpPr>
        <p:spPr/>
        <p:txBody>
          <a:bodyPr/>
          <a:lstStyle>
            <a:lvl1pPr>
              <a:defRPr sz="100">
                <a:solidFill>
                  <a:schemeClr val="bg1">
                    <a:alpha val="0"/>
                  </a:schemeClr>
                </a:solidFill>
              </a:defRPr>
            </a:lvl1pPr>
          </a:lstStyle>
          <a:p>
            <a:pPr>
              <a:defRPr/>
            </a:pPr>
            <a:r>
              <a:rPr lang="en-US">
                <a:solidFill>
                  <a:prstClr val="white">
                    <a:alpha val="0"/>
                  </a:prstClr>
                </a:solidFill>
              </a:rPr>
              <a:t>Page: </a:t>
            </a:r>
            <a:fld id="{FBC781E1-DB0D-44EA-942B-52789A2EA6EC}" type="slidenum">
              <a:rPr lang="en-US">
                <a:solidFill>
                  <a:prstClr val="white">
                    <a:alpha val="0"/>
                  </a:prstClr>
                </a:solidFill>
              </a:rPr>
              <a:pPr>
                <a:defRPr/>
              </a:pPr>
              <a:t>‹#›</a:t>
            </a:fld>
            <a:endParaRPr lang="en-US">
              <a:solidFill>
                <a:prstClr val="white">
                  <a:alpha val="0"/>
                </a:prstClr>
              </a:solidFill>
            </a:endParaRPr>
          </a:p>
        </p:txBody>
      </p:sp>
      <p:sp>
        <p:nvSpPr>
          <p:cNvPr id="18" name="Espace réservé du pied de page 11"/>
          <p:cNvSpPr>
            <a:spLocks noGrp="1"/>
          </p:cNvSpPr>
          <p:nvPr>
            <p:ph type="ftr" sz="quarter" idx="23"/>
          </p:nvPr>
        </p:nvSpPr>
        <p:spPr>
          <a:xfrm>
            <a:off x="468313" y="523875"/>
            <a:ext cx="4824412" cy="360363"/>
          </a:xfrm>
        </p:spPr>
        <p:txBody>
          <a:bodyPr/>
          <a:lstStyle>
            <a:lvl1pPr algn="l">
              <a:defRPr sz="1800" b="0">
                <a:solidFill>
                  <a:schemeClr val="bg1"/>
                </a:solidFill>
              </a:defRPr>
            </a:lvl1pPr>
          </a:lstStyle>
          <a:p>
            <a:pPr>
              <a:defRPr/>
            </a:pPr>
            <a:r>
              <a:rPr lang="en-US">
                <a:solidFill>
                  <a:prstClr val="white"/>
                </a:solidFill>
              </a:rPr>
              <a:t>#</a:t>
            </a:r>
            <a:r>
              <a:rPr lang="en-US" err="1">
                <a:solidFill>
                  <a:prstClr val="white"/>
                </a:solidFill>
              </a:rPr>
              <a:t>vaccineswork</a:t>
            </a:r>
            <a:endParaRPr lang="en-US">
              <a:solidFill>
                <a:prstClr val="white"/>
              </a:solidFill>
            </a:endParaRPr>
          </a:p>
          <a:p>
            <a:pPr>
              <a:defRPr/>
            </a:pPr>
            <a:endParaRPr lang="en-US">
              <a:solidFill>
                <a:prstClr val="white"/>
              </a:solidFill>
            </a:endParaRPr>
          </a:p>
        </p:txBody>
      </p:sp>
    </p:spTree>
    <p:extLst>
      <p:ext uri="{BB962C8B-B14F-4D97-AF65-F5344CB8AC3E}">
        <p14:creationId xmlns:p14="http://schemas.microsoft.com/office/powerpoint/2010/main" val="860274700"/>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Cover_Picture_2">
    <p:spTree>
      <p:nvGrpSpPr>
        <p:cNvPr id="1" name=""/>
        <p:cNvGrpSpPr/>
        <p:nvPr/>
      </p:nvGrpSpPr>
      <p:grpSpPr>
        <a:xfrm>
          <a:off x="0" y="0"/>
          <a:ext cx="0" cy="0"/>
          <a:chOff x="0" y="0"/>
          <a:chExt cx="0" cy="0"/>
        </a:xfrm>
      </p:grpSpPr>
      <p:pic>
        <p:nvPicPr>
          <p:cNvPr id="7" name="Image 20" descr="FD_1_L254.png"/>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gray">
          <a:xfrm>
            <a:off x="0" y="0"/>
            <a:ext cx="9144000" cy="51577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0" name="Rectangle 9"/>
          <p:cNvSpPr/>
          <p:nvPr userDrawn="1"/>
        </p:nvSpPr>
        <p:spPr bwMode="gray">
          <a:xfrm>
            <a:off x="3635375" y="5265738"/>
            <a:ext cx="5508625" cy="15922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prstClr val="white"/>
              </a:solidFill>
            </a:endParaRPr>
          </a:p>
        </p:txBody>
      </p:sp>
      <p:pic>
        <p:nvPicPr>
          <p:cNvPr id="11" name="Image 19" descr="Bas_couv.png"/>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gray">
          <a:xfrm>
            <a:off x="0" y="5172075"/>
            <a:ext cx="3635375" cy="16859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2" name="Rectangle 11"/>
          <p:cNvSpPr/>
          <p:nvPr userDrawn="1"/>
        </p:nvSpPr>
        <p:spPr bwMode="gray">
          <a:xfrm>
            <a:off x="3635375" y="6354763"/>
            <a:ext cx="5113338" cy="2873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p>
            <a:pPr algn="r">
              <a:defRPr/>
            </a:pPr>
            <a:r>
              <a:rPr lang="en-US" sz="1000" dirty="0" err="1">
                <a:solidFill>
                  <a:srgbClr val="95D600"/>
                </a:solidFill>
              </a:rPr>
              <a:t>www.gavi.org</a:t>
            </a:r>
            <a:endParaRPr lang="en-US" sz="1000" dirty="0">
              <a:solidFill>
                <a:srgbClr val="95D600"/>
              </a:solidFill>
            </a:endParaRPr>
          </a:p>
        </p:txBody>
      </p:sp>
      <p:cxnSp>
        <p:nvCxnSpPr>
          <p:cNvPr id="13" name="Connecteur droit 13"/>
          <p:cNvCxnSpPr/>
          <p:nvPr userDrawn="1"/>
        </p:nvCxnSpPr>
        <p:spPr bwMode="gray">
          <a:xfrm flipH="1">
            <a:off x="468313" y="3402013"/>
            <a:ext cx="2447925" cy="0"/>
          </a:xfrm>
          <a:prstGeom prst="line">
            <a:avLst/>
          </a:prstGeom>
          <a:ln w="24130">
            <a:solidFill>
              <a:schemeClr val="accent1"/>
            </a:solidFill>
          </a:ln>
        </p:spPr>
        <p:style>
          <a:lnRef idx="1">
            <a:schemeClr val="accent1"/>
          </a:lnRef>
          <a:fillRef idx="0">
            <a:schemeClr val="accent1"/>
          </a:fillRef>
          <a:effectRef idx="0">
            <a:schemeClr val="accent1"/>
          </a:effectRef>
          <a:fontRef idx="minor">
            <a:schemeClr val="tx1"/>
          </a:fontRef>
        </p:style>
      </p:cxnSp>
      <p:sp>
        <p:nvSpPr>
          <p:cNvPr id="9" name="Espace réservé du texte 8"/>
          <p:cNvSpPr>
            <a:spLocks noGrp="1"/>
          </p:cNvSpPr>
          <p:nvPr>
            <p:ph type="body" sz="quarter" idx="13"/>
          </p:nvPr>
        </p:nvSpPr>
        <p:spPr bwMode="gray">
          <a:xfrm>
            <a:off x="468000" y="1036800"/>
            <a:ext cx="4824412" cy="2232000"/>
          </a:xfrm>
        </p:spPr>
        <p:txBody>
          <a:bodyPr anchor="b"/>
          <a:lstStyle>
            <a:lvl1pPr marL="0" indent="0" algn="l">
              <a:lnSpc>
                <a:spcPct val="90000"/>
              </a:lnSpc>
              <a:buNone/>
              <a:defRPr sz="2800" b="1" cap="none" baseline="0">
                <a:solidFill>
                  <a:schemeClr val="bg1"/>
                </a:solidFill>
              </a:defRPr>
            </a:lvl1pPr>
            <a:lvl2pPr marL="0" algn="ctr">
              <a:lnSpc>
                <a:spcPct val="100000"/>
              </a:lnSpc>
              <a:spcBef>
                <a:spcPts val="6900"/>
              </a:spcBef>
              <a:defRPr sz="2000" b="1">
                <a:solidFill>
                  <a:schemeClr val="bg1"/>
                </a:solidFill>
              </a:defRPr>
            </a:lvl2pPr>
          </a:lstStyle>
          <a:p>
            <a:pPr lvl="0"/>
            <a:r>
              <a:rPr lang="en-US" noProof="0" smtClean="0"/>
              <a:t>Click to edit Master text styles</a:t>
            </a:r>
          </a:p>
        </p:txBody>
      </p:sp>
      <p:sp>
        <p:nvSpPr>
          <p:cNvPr id="8" name="Espace réservé du texte 8"/>
          <p:cNvSpPr>
            <a:spLocks noGrp="1"/>
          </p:cNvSpPr>
          <p:nvPr>
            <p:ph type="body" sz="quarter" idx="14"/>
          </p:nvPr>
        </p:nvSpPr>
        <p:spPr bwMode="gray">
          <a:xfrm>
            <a:off x="468314" y="3585600"/>
            <a:ext cx="3592800" cy="1479600"/>
          </a:xfrm>
        </p:spPr>
        <p:txBody>
          <a:bodyPr/>
          <a:lstStyle>
            <a:lvl1pPr marL="0" indent="0" algn="l">
              <a:lnSpc>
                <a:spcPct val="90000"/>
              </a:lnSpc>
              <a:buNone/>
              <a:defRPr sz="2000" b="0" baseline="0">
                <a:solidFill>
                  <a:schemeClr val="bg1"/>
                </a:solidFill>
              </a:defRPr>
            </a:lvl1pPr>
            <a:lvl2pPr marL="0" algn="ctr">
              <a:lnSpc>
                <a:spcPct val="100000"/>
              </a:lnSpc>
              <a:spcBef>
                <a:spcPts val="6900"/>
              </a:spcBef>
              <a:defRPr sz="2000" b="1">
                <a:solidFill>
                  <a:schemeClr val="bg1"/>
                </a:solidFill>
              </a:defRPr>
            </a:lvl2pPr>
          </a:lstStyle>
          <a:p>
            <a:pPr lvl="0"/>
            <a:r>
              <a:rPr lang="en-US" noProof="0" smtClean="0"/>
              <a:t>Click to edit Master text styles</a:t>
            </a:r>
          </a:p>
        </p:txBody>
      </p:sp>
      <p:sp>
        <p:nvSpPr>
          <p:cNvPr id="15" name="Espace réservé du texte 14"/>
          <p:cNvSpPr>
            <a:spLocks noGrp="1"/>
          </p:cNvSpPr>
          <p:nvPr>
            <p:ph type="body" sz="quarter" idx="19"/>
          </p:nvPr>
        </p:nvSpPr>
        <p:spPr bwMode="gray">
          <a:xfrm>
            <a:off x="3635376" y="6021388"/>
            <a:ext cx="5113338" cy="324000"/>
          </a:xfrm>
        </p:spPr>
        <p:txBody>
          <a:bodyPr anchor="b"/>
          <a:lstStyle>
            <a:lvl1pPr algn="r">
              <a:lnSpc>
                <a:spcPct val="100000"/>
              </a:lnSpc>
              <a:defRPr sz="1000" b="1">
                <a:solidFill>
                  <a:schemeClr val="accent3"/>
                </a:solidFill>
              </a:defRPr>
            </a:lvl1pPr>
          </a:lstStyle>
          <a:p>
            <a:pPr lvl="0"/>
            <a:r>
              <a:rPr lang="en-US" noProof="0" smtClean="0"/>
              <a:t>Click to edit Master text styles</a:t>
            </a:r>
          </a:p>
        </p:txBody>
      </p:sp>
      <p:sp>
        <p:nvSpPr>
          <p:cNvPr id="17" name="Espace réservé du texte 16"/>
          <p:cNvSpPr>
            <a:spLocks noGrp="1"/>
          </p:cNvSpPr>
          <p:nvPr>
            <p:ph type="body" sz="quarter" idx="20"/>
          </p:nvPr>
        </p:nvSpPr>
        <p:spPr bwMode="gray">
          <a:xfrm>
            <a:off x="0" y="5157788"/>
            <a:ext cx="9144000" cy="287337"/>
          </a:xfrm>
          <a:solidFill>
            <a:schemeClr val="bg1"/>
          </a:solidFill>
        </p:spPr>
        <p:txBody>
          <a:bodyPr/>
          <a:lstStyle>
            <a:lvl1pPr>
              <a:defRPr sz="100" b="0">
                <a:solidFill>
                  <a:schemeClr val="bg1">
                    <a:alpha val="0"/>
                  </a:schemeClr>
                </a:solidFill>
              </a:defRPr>
            </a:lvl1pPr>
          </a:lstStyle>
          <a:p>
            <a:pPr lvl="0"/>
            <a:r>
              <a:rPr lang="en-US" noProof="0" smtClean="0"/>
              <a:t>Click to edit Master text styles</a:t>
            </a:r>
          </a:p>
        </p:txBody>
      </p:sp>
      <p:sp>
        <p:nvSpPr>
          <p:cNvPr id="18" name="Espace réservé pour une image  17"/>
          <p:cNvSpPr>
            <a:spLocks noGrp="1"/>
          </p:cNvSpPr>
          <p:nvPr>
            <p:ph type="pic" sz="quarter" idx="18"/>
          </p:nvPr>
        </p:nvSpPr>
        <p:spPr bwMode="gray">
          <a:xfrm>
            <a:off x="4192588" y="0"/>
            <a:ext cx="4951412" cy="5162400"/>
          </a:xfrm>
          <a:custGeom>
            <a:avLst/>
            <a:gdLst>
              <a:gd name="connsiteX0" fmla="*/ 0 w 3851275"/>
              <a:gd name="connsiteY0" fmla="*/ 0 h 5157788"/>
              <a:gd name="connsiteX1" fmla="*/ 3851275 w 3851275"/>
              <a:gd name="connsiteY1" fmla="*/ 0 h 5157788"/>
              <a:gd name="connsiteX2" fmla="*/ 3851275 w 3851275"/>
              <a:gd name="connsiteY2" fmla="*/ 5157788 h 5157788"/>
              <a:gd name="connsiteX3" fmla="*/ 0 w 3851275"/>
              <a:gd name="connsiteY3" fmla="*/ 5157788 h 5157788"/>
              <a:gd name="connsiteX4" fmla="*/ 0 w 3851275"/>
              <a:gd name="connsiteY4"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0 w 3851275"/>
              <a:gd name="connsiteY3" fmla="*/ 5157788 h 5157788"/>
              <a:gd name="connsiteX4" fmla="*/ 1692275 w 3851275"/>
              <a:gd name="connsiteY4" fmla="*/ 0 h 5157788"/>
              <a:gd name="connsiteX0" fmla="*/ 0 w 2159000"/>
              <a:gd name="connsiteY0" fmla="*/ 0 h 5157788"/>
              <a:gd name="connsiteX1" fmla="*/ 2159000 w 2159000"/>
              <a:gd name="connsiteY1" fmla="*/ 0 h 5157788"/>
              <a:gd name="connsiteX2" fmla="*/ 2159000 w 2159000"/>
              <a:gd name="connsiteY2" fmla="*/ 5157788 h 5157788"/>
              <a:gd name="connsiteX3" fmla="*/ 0 w 2159000"/>
              <a:gd name="connsiteY3" fmla="*/ 5157788 h 5157788"/>
              <a:gd name="connsiteX4" fmla="*/ 0 w 2159000"/>
              <a:gd name="connsiteY4" fmla="*/ 0 h 5157788"/>
              <a:gd name="connsiteX0" fmla="*/ 2625271 w 4784271"/>
              <a:gd name="connsiteY0" fmla="*/ 0 h 5157788"/>
              <a:gd name="connsiteX1" fmla="*/ 4784271 w 4784271"/>
              <a:gd name="connsiteY1" fmla="*/ 0 h 5157788"/>
              <a:gd name="connsiteX2" fmla="*/ 4784271 w 4784271"/>
              <a:gd name="connsiteY2" fmla="*/ 5157788 h 5157788"/>
              <a:gd name="connsiteX3" fmla="*/ 2625271 w 4784271"/>
              <a:gd name="connsiteY3" fmla="*/ 5157788 h 5157788"/>
              <a:gd name="connsiteX4" fmla="*/ 2625271 w 4784271"/>
              <a:gd name="connsiteY4" fmla="*/ 0 h 5157788"/>
              <a:gd name="connsiteX0" fmla="*/ 2625271 w 4784271"/>
              <a:gd name="connsiteY0" fmla="*/ 0 h 5157788"/>
              <a:gd name="connsiteX1" fmla="*/ 4784271 w 4784271"/>
              <a:gd name="connsiteY1" fmla="*/ 0 h 5157788"/>
              <a:gd name="connsiteX2" fmla="*/ 4784271 w 4784271"/>
              <a:gd name="connsiteY2" fmla="*/ 5157788 h 5157788"/>
              <a:gd name="connsiteX3" fmla="*/ 2625271 w 4784271"/>
              <a:gd name="connsiteY3" fmla="*/ 5157788 h 5157788"/>
              <a:gd name="connsiteX4" fmla="*/ 2625271 w 4784271"/>
              <a:gd name="connsiteY4" fmla="*/ 0 h 5157788"/>
              <a:gd name="connsiteX0" fmla="*/ 3568576 w 5727576"/>
              <a:gd name="connsiteY0" fmla="*/ 0 h 5157788"/>
              <a:gd name="connsiteX1" fmla="*/ 5727576 w 5727576"/>
              <a:gd name="connsiteY1" fmla="*/ 0 h 5157788"/>
              <a:gd name="connsiteX2" fmla="*/ 5727576 w 5727576"/>
              <a:gd name="connsiteY2" fmla="*/ 5157788 h 5157788"/>
              <a:gd name="connsiteX3" fmla="*/ 3568576 w 5727576"/>
              <a:gd name="connsiteY3" fmla="*/ 5157788 h 5157788"/>
              <a:gd name="connsiteX4" fmla="*/ 3568576 w 5727576"/>
              <a:gd name="connsiteY4" fmla="*/ 0 h 5157788"/>
              <a:gd name="connsiteX0" fmla="*/ 3306355 w 5465355"/>
              <a:gd name="connsiteY0" fmla="*/ 0 h 5157788"/>
              <a:gd name="connsiteX1" fmla="*/ 5465355 w 5465355"/>
              <a:gd name="connsiteY1" fmla="*/ 0 h 5157788"/>
              <a:gd name="connsiteX2" fmla="*/ 5465355 w 5465355"/>
              <a:gd name="connsiteY2" fmla="*/ 5157788 h 5157788"/>
              <a:gd name="connsiteX3" fmla="*/ 3306355 w 5465355"/>
              <a:gd name="connsiteY3" fmla="*/ 5157788 h 5157788"/>
              <a:gd name="connsiteX4" fmla="*/ 3306355 w 5465355"/>
              <a:gd name="connsiteY4" fmla="*/ 0 h 5157788"/>
              <a:gd name="connsiteX0" fmla="*/ 1416957 w 3575957"/>
              <a:gd name="connsiteY0" fmla="*/ 0 h 5157788"/>
              <a:gd name="connsiteX1" fmla="*/ 3575957 w 3575957"/>
              <a:gd name="connsiteY1" fmla="*/ 0 h 5157788"/>
              <a:gd name="connsiteX2" fmla="*/ 3575957 w 3575957"/>
              <a:gd name="connsiteY2" fmla="*/ 5157788 h 5157788"/>
              <a:gd name="connsiteX3" fmla="*/ 1416957 w 3575957"/>
              <a:gd name="connsiteY3" fmla="*/ 5157788 h 5157788"/>
              <a:gd name="connsiteX4" fmla="*/ 0 w 3575957"/>
              <a:gd name="connsiteY4" fmla="*/ 3339193 h 5157788"/>
              <a:gd name="connsiteX5" fmla="*/ 1416957 w 3575957"/>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6017419"/>
              <a:gd name="connsiteX1" fmla="*/ 3851275 w 3851275"/>
              <a:gd name="connsiteY1" fmla="*/ 0 h 6017419"/>
              <a:gd name="connsiteX2" fmla="*/ 3851275 w 3851275"/>
              <a:gd name="connsiteY2" fmla="*/ 5157788 h 6017419"/>
              <a:gd name="connsiteX3" fmla="*/ 1692275 w 3851275"/>
              <a:gd name="connsiteY3" fmla="*/ 5157788 h 6017419"/>
              <a:gd name="connsiteX4" fmla="*/ 0 w 3851275"/>
              <a:gd name="connsiteY4" fmla="*/ 3284984 h 6017419"/>
              <a:gd name="connsiteX5" fmla="*/ 1692275 w 3851275"/>
              <a:gd name="connsiteY5" fmla="*/ 0 h 6017419"/>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429000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429000 h 5157788"/>
              <a:gd name="connsiteX5" fmla="*/ 1710871 w 3869871"/>
              <a:gd name="connsiteY5" fmla="*/ 0 h 5157788"/>
              <a:gd name="connsiteX0" fmla="*/ 1704975 w 3863975"/>
              <a:gd name="connsiteY0" fmla="*/ 0 h 5157788"/>
              <a:gd name="connsiteX1" fmla="*/ 3863975 w 3863975"/>
              <a:gd name="connsiteY1" fmla="*/ 0 h 5157788"/>
              <a:gd name="connsiteX2" fmla="*/ 3863975 w 3863975"/>
              <a:gd name="connsiteY2" fmla="*/ 5157788 h 5157788"/>
              <a:gd name="connsiteX3" fmla="*/ 1704975 w 3863975"/>
              <a:gd name="connsiteY3" fmla="*/ 5157788 h 5157788"/>
              <a:gd name="connsiteX4" fmla="*/ 12700 w 3863975"/>
              <a:gd name="connsiteY4" fmla="*/ 3429000 h 5157788"/>
              <a:gd name="connsiteX5" fmla="*/ 1704975 w 3863975"/>
              <a:gd name="connsiteY5" fmla="*/ 0 h 5157788"/>
              <a:gd name="connsiteX0" fmla="*/ 1707243 w 3866243"/>
              <a:gd name="connsiteY0" fmla="*/ 0 h 5157788"/>
              <a:gd name="connsiteX1" fmla="*/ 3866243 w 3866243"/>
              <a:gd name="connsiteY1" fmla="*/ 0 h 5157788"/>
              <a:gd name="connsiteX2" fmla="*/ 3866243 w 3866243"/>
              <a:gd name="connsiteY2" fmla="*/ 5157788 h 5157788"/>
              <a:gd name="connsiteX3" fmla="*/ 1707243 w 3866243"/>
              <a:gd name="connsiteY3" fmla="*/ 5157788 h 5157788"/>
              <a:gd name="connsiteX4" fmla="*/ 14968 w 3866243"/>
              <a:gd name="connsiteY4" fmla="*/ 3429000 h 5157788"/>
              <a:gd name="connsiteX5" fmla="*/ 1707243 w 3866243"/>
              <a:gd name="connsiteY5" fmla="*/ 0 h 5157788"/>
              <a:gd name="connsiteX0" fmla="*/ 1130447 w 3866243"/>
              <a:gd name="connsiteY0" fmla="*/ 0 h 5157788"/>
              <a:gd name="connsiteX1" fmla="*/ 3866243 w 3866243"/>
              <a:gd name="connsiteY1" fmla="*/ 0 h 5157788"/>
              <a:gd name="connsiteX2" fmla="*/ 3866243 w 3866243"/>
              <a:gd name="connsiteY2" fmla="*/ 5157788 h 5157788"/>
              <a:gd name="connsiteX3" fmla="*/ 1707243 w 3866243"/>
              <a:gd name="connsiteY3" fmla="*/ 5157788 h 5157788"/>
              <a:gd name="connsiteX4" fmla="*/ 14968 w 3866243"/>
              <a:gd name="connsiteY4" fmla="*/ 3429000 h 5157788"/>
              <a:gd name="connsiteX5" fmla="*/ 1130447 w 3866243"/>
              <a:gd name="connsiteY5" fmla="*/ 0 h 5157788"/>
              <a:gd name="connsiteX0" fmla="*/ 2746143 w 5481939"/>
              <a:gd name="connsiteY0" fmla="*/ 0 h 5157788"/>
              <a:gd name="connsiteX1" fmla="*/ 5481939 w 5481939"/>
              <a:gd name="connsiteY1" fmla="*/ 0 h 5157788"/>
              <a:gd name="connsiteX2" fmla="*/ 5481939 w 5481939"/>
              <a:gd name="connsiteY2" fmla="*/ 5157788 h 5157788"/>
              <a:gd name="connsiteX3" fmla="*/ 585903 w 5481939"/>
              <a:gd name="connsiteY3" fmla="*/ 5153180 h 5157788"/>
              <a:gd name="connsiteX4" fmla="*/ 1630664 w 5481939"/>
              <a:gd name="connsiteY4" fmla="*/ 3429000 h 5157788"/>
              <a:gd name="connsiteX5" fmla="*/ 2746143 w 5481939"/>
              <a:gd name="connsiteY5" fmla="*/ 0 h 5157788"/>
              <a:gd name="connsiteX0" fmla="*/ 2746143 w 5481939"/>
              <a:gd name="connsiteY0" fmla="*/ 0 h 5157788"/>
              <a:gd name="connsiteX1" fmla="*/ 5481939 w 5481939"/>
              <a:gd name="connsiteY1" fmla="*/ 0 h 5157788"/>
              <a:gd name="connsiteX2" fmla="*/ 5481939 w 5481939"/>
              <a:gd name="connsiteY2" fmla="*/ 5157788 h 5157788"/>
              <a:gd name="connsiteX3" fmla="*/ 585903 w 5481939"/>
              <a:gd name="connsiteY3" fmla="*/ 5153180 h 5157788"/>
              <a:gd name="connsiteX4" fmla="*/ 1630664 w 5481939"/>
              <a:gd name="connsiteY4" fmla="*/ 3429000 h 5157788"/>
              <a:gd name="connsiteX5" fmla="*/ 2746143 w 548193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3574235 w 6310031"/>
              <a:gd name="connsiteY0" fmla="*/ 0 h 5157788"/>
              <a:gd name="connsiteX1" fmla="*/ 6310031 w 6310031"/>
              <a:gd name="connsiteY1" fmla="*/ 0 h 5157788"/>
              <a:gd name="connsiteX2" fmla="*/ 6310031 w 6310031"/>
              <a:gd name="connsiteY2" fmla="*/ 5157788 h 5157788"/>
              <a:gd name="connsiteX3" fmla="*/ 585903 w 6310031"/>
              <a:gd name="connsiteY3" fmla="*/ 5153180 h 5157788"/>
              <a:gd name="connsiteX4" fmla="*/ 1738031 w 6310031"/>
              <a:gd name="connsiteY4" fmla="*/ 3389965 h 5157788"/>
              <a:gd name="connsiteX5" fmla="*/ 3574235 w 6310031"/>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296143 w 5724128"/>
              <a:gd name="connsiteY4" fmla="*/ 3461908 h 5157788"/>
              <a:gd name="connsiteX5" fmla="*/ 2988332 w 5724128"/>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1188132 w 5760132"/>
              <a:gd name="connsiteY4" fmla="*/ 3425937 h 5157788"/>
              <a:gd name="connsiteX5" fmla="*/ 3024336 w 5760132"/>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2736304 w 5760132"/>
              <a:gd name="connsiteY4" fmla="*/ 3461908 h 5157788"/>
              <a:gd name="connsiteX5" fmla="*/ 3024336 w 5760132"/>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2736304 w 5760132"/>
              <a:gd name="connsiteY4" fmla="*/ 3461908 h 5157788"/>
              <a:gd name="connsiteX5" fmla="*/ 3024336 w 5760132"/>
              <a:gd name="connsiteY5" fmla="*/ 0 h 5157788"/>
              <a:gd name="connsiteX0" fmla="*/ 2160240 w 4896036"/>
              <a:gd name="connsiteY0" fmla="*/ 0 h 5157788"/>
              <a:gd name="connsiteX1" fmla="*/ 4896036 w 4896036"/>
              <a:gd name="connsiteY1" fmla="*/ 0 h 5157788"/>
              <a:gd name="connsiteX2" fmla="*/ 4896036 w 4896036"/>
              <a:gd name="connsiteY2" fmla="*/ 5157788 h 5157788"/>
              <a:gd name="connsiteX3" fmla="*/ 0 w 4896036"/>
              <a:gd name="connsiteY3" fmla="*/ 5153180 h 5157788"/>
              <a:gd name="connsiteX4" fmla="*/ 1872208 w 4896036"/>
              <a:gd name="connsiteY4" fmla="*/ 3461908 h 5157788"/>
              <a:gd name="connsiteX5" fmla="*/ 2160240 w 4896036"/>
              <a:gd name="connsiteY5" fmla="*/ 0 h 5157788"/>
              <a:gd name="connsiteX0" fmla="*/ 2232248 w 4968044"/>
              <a:gd name="connsiteY0" fmla="*/ 0 h 5157788"/>
              <a:gd name="connsiteX1" fmla="*/ 4968044 w 4968044"/>
              <a:gd name="connsiteY1" fmla="*/ 0 h 5157788"/>
              <a:gd name="connsiteX2" fmla="*/ 4968044 w 4968044"/>
              <a:gd name="connsiteY2" fmla="*/ 5157788 h 5157788"/>
              <a:gd name="connsiteX3" fmla="*/ 0 w 4968044"/>
              <a:gd name="connsiteY3" fmla="*/ 5153180 h 5157788"/>
              <a:gd name="connsiteX4" fmla="*/ 1944216 w 4968044"/>
              <a:gd name="connsiteY4" fmla="*/ 3461908 h 5157788"/>
              <a:gd name="connsiteX5" fmla="*/ 2232248 w 4968044"/>
              <a:gd name="connsiteY5" fmla="*/ 0 h 5157788"/>
              <a:gd name="connsiteX0" fmla="*/ 2207679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207679 w 4943475"/>
              <a:gd name="connsiteY5" fmla="*/ 0 h 5157788"/>
              <a:gd name="connsiteX0" fmla="*/ 2963763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963763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092200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71575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343583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675731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675731 w 4943475"/>
              <a:gd name="connsiteY5" fmla="*/ 0 h 5157788"/>
              <a:gd name="connsiteX0" fmla="*/ 2675731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675731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9672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19672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51412" h="5157788">
                <a:moveTo>
                  <a:pt x="2706687" y="0"/>
                </a:moveTo>
                <a:lnTo>
                  <a:pt x="4951412" y="0"/>
                </a:lnTo>
                <a:lnTo>
                  <a:pt x="4951412" y="5157788"/>
                </a:lnTo>
                <a:lnTo>
                  <a:pt x="0" y="5153180"/>
                </a:lnTo>
                <a:cubicBezTo>
                  <a:pt x="84411" y="4542509"/>
                  <a:pt x="183041" y="4024723"/>
                  <a:pt x="1243508" y="2562613"/>
                </a:cubicBezTo>
                <a:cubicBezTo>
                  <a:pt x="1867447" y="1704780"/>
                  <a:pt x="2665955" y="709265"/>
                  <a:pt x="2706687" y="0"/>
                </a:cubicBezTo>
                <a:close/>
              </a:path>
            </a:pathLst>
          </a:custGeom>
          <a:solidFill>
            <a:schemeClr val="bg2"/>
          </a:solidFill>
          <a:ln w="3175">
            <a:noFill/>
          </a:ln>
        </p:spPr>
        <p:txBody>
          <a:bodyPr tIns="720000" rtlCol="0" anchor="ctr">
            <a:noAutofit/>
          </a:bodyPr>
          <a:lstStyle>
            <a:lvl1pPr algn="ctr">
              <a:defRPr sz="1500">
                <a:solidFill>
                  <a:schemeClr val="bg1"/>
                </a:solidFill>
              </a:defRPr>
            </a:lvl1pPr>
          </a:lstStyle>
          <a:p>
            <a:pPr lvl="0"/>
            <a:r>
              <a:rPr lang="en-US" noProof="0" smtClean="0"/>
              <a:t>Click icon to add picture</a:t>
            </a:r>
            <a:endParaRPr lang="en-US" noProof="0" dirty="0"/>
          </a:p>
        </p:txBody>
      </p:sp>
      <p:sp>
        <p:nvSpPr>
          <p:cNvPr id="14" name="Espace réservé de la date 9"/>
          <p:cNvSpPr>
            <a:spLocks noGrp="1"/>
          </p:cNvSpPr>
          <p:nvPr>
            <p:ph type="dt" sz="half" idx="21"/>
          </p:nvPr>
        </p:nvSpPr>
        <p:spPr/>
        <p:txBody>
          <a:bodyPr/>
          <a:lstStyle>
            <a:lvl1pPr>
              <a:defRPr/>
            </a:lvl1pPr>
          </a:lstStyle>
          <a:p>
            <a:pPr>
              <a:defRPr/>
            </a:pPr>
            <a:r>
              <a:rPr lang="en-US">
                <a:solidFill>
                  <a:prstClr val="white">
                    <a:alpha val="0"/>
                  </a:prstClr>
                </a:solidFill>
              </a:rPr>
              <a:t>Date</a:t>
            </a:r>
          </a:p>
        </p:txBody>
      </p:sp>
      <p:sp>
        <p:nvSpPr>
          <p:cNvPr id="16" name="Espace réservé du numéro de diapositive 10"/>
          <p:cNvSpPr>
            <a:spLocks noGrp="1"/>
          </p:cNvSpPr>
          <p:nvPr>
            <p:ph type="sldNum" sz="quarter" idx="22"/>
          </p:nvPr>
        </p:nvSpPr>
        <p:spPr/>
        <p:txBody>
          <a:bodyPr/>
          <a:lstStyle>
            <a:lvl1pPr>
              <a:defRPr sz="100">
                <a:solidFill>
                  <a:schemeClr val="bg1">
                    <a:alpha val="0"/>
                  </a:schemeClr>
                </a:solidFill>
              </a:defRPr>
            </a:lvl1pPr>
          </a:lstStyle>
          <a:p>
            <a:pPr>
              <a:defRPr/>
            </a:pPr>
            <a:r>
              <a:rPr lang="en-US">
                <a:solidFill>
                  <a:prstClr val="white">
                    <a:alpha val="0"/>
                  </a:prstClr>
                </a:solidFill>
              </a:rPr>
              <a:t>Page: </a:t>
            </a:r>
            <a:fld id="{A170035D-6B8C-439A-85EA-19B5ADE5A975}" type="slidenum">
              <a:rPr lang="en-US">
                <a:solidFill>
                  <a:prstClr val="white">
                    <a:alpha val="0"/>
                  </a:prstClr>
                </a:solidFill>
              </a:rPr>
              <a:pPr>
                <a:defRPr/>
              </a:pPr>
              <a:t>‹#›</a:t>
            </a:fld>
            <a:endParaRPr lang="en-US">
              <a:solidFill>
                <a:prstClr val="white">
                  <a:alpha val="0"/>
                </a:prstClr>
              </a:solidFill>
            </a:endParaRPr>
          </a:p>
        </p:txBody>
      </p:sp>
      <p:sp>
        <p:nvSpPr>
          <p:cNvPr id="19" name="Espace réservé du pied de page 11"/>
          <p:cNvSpPr>
            <a:spLocks noGrp="1"/>
          </p:cNvSpPr>
          <p:nvPr>
            <p:ph type="ftr" sz="quarter" idx="23"/>
          </p:nvPr>
        </p:nvSpPr>
        <p:spPr>
          <a:xfrm>
            <a:off x="468313" y="523875"/>
            <a:ext cx="4824412" cy="360363"/>
          </a:xfrm>
        </p:spPr>
        <p:txBody>
          <a:bodyPr/>
          <a:lstStyle>
            <a:lvl1pPr algn="l">
              <a:defRPr sz="1800" b="0">
                <a:solidFill>
                  <a:schemeClr val="bg1"/>
                </a:solidFill>
              </a:defRPr>
            </a:lvl1pPr>
          </a:lstStyle>
          <a:p>
            <a:pPr>
              <a:defRPr/>
            </a:pPr>
            <a:r>
              <a:rPr lang="en-US">
                <a:solidFill>
                  <a:prstClr val="white"/>
                </a:solidFill>
              </a:rPr>
              <a:t>#</a:t>
            </a:r>
            <a:r>
              <a:rPr lang="en-US" err="1">
                <a:solidFill>
                  <a:prstClr val="white"/>
                </a:solidFill>
              </a:rPr>
              <a:t>vaccineswork</a:t>
            </a:r>
            <a:endParaRPr lang="en-US">
              <a:solidFill>
                <a:prstClr val="white"/>
              </a:solidFill>
            </a:endParaRPr>
          </a:p>
        </p:txBody>
      </p:sp>
    </p:spTree>
    <p:extLst>
      <p:ext uri="{BB962C8B-B14F-4D97-AF65-F5344CB8AC3E}">
        <p14:creationId xmlns:p14="http://schemas.microsoft.com/office/powerpoint/2010/main" val="3770211189"/>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Chapter_Layout">
    <p:spTree>
      <p:nvGrpSpPr>
        <p:cNvPr id="1" name=""/>
        <p:cNvGrpSpPr/>
        <p:nvPr/>
      </p:nvGrpSpPr>
      <p:grpSpPr>
        <a:xfrm>
          <a:off x="0" y="0"/>
          <a:ext cx="0" cy="0"/>
          <a:chOff x="0" y="0"/>
          <a:chExt cx="0" cy="0"/>
        </a:xfrm>
      </p:grpSpPr>
      <p:pic>
        <p:nvPicPr>
          <p:cNvPr id="6" name="Image 17" descr="FD_03_chap_110x190,5.pn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gray">
          <a:xfrm>
            <a:off x="0" y="0"/>
            <a:ext cx="3959225" cy="68580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cxnSp>
        <p:nvCxnSpPr>
          <p:cNvPr id="7" name="Connecteur droit 14"/>
          <p:cNvCxnSpPr/>
          <p:nvPr userDrawn="1"/>
        </p:nvCxnSpPr>
        <p:spPr bwMode="gray">
          <a:xfrm flipH="1">
            <a:off x="3635375" y="2389188"/>
            <a:ext cx="1584325" cy="0"/>
          </a:xfrm>
          <a:prstGeom prst="line">
            <a:avLst/>
          </a:prstGeom>
          <a:ln w="24130">
            <a:solidFill>
              <a:schemeClr val="accent1"/>
            </a:solidFill>
          </a:ln>
        </p:spPr>
        <p:style>
          <a:lnRef idx="1">
            <a:schemeClr val="accent1"/>
          </a:lnRef>
          <a:fillRef idx="0">
            <a:schemeClr val="accent1"/>
          </a:fillRef>
          <a:effectRef idx="0">
            <a:schemeClr val="accent1"/>
          </a:effectRef>
          <a:fontRef idx="minor">
            <a:schemeClr val="tx1"/>
          </a:fontRef>
        </p:style>
      </p:cxnSp>
      <p:sp>
        <p:nvSpPr>
          <p:cNvPr id="2" name="Titre 1"/>
          <p:cNvSpPr>
            <a:spLocks noGrp="1"/>
          </p:cNvSpPr>
          <p:nvPr>
            <p:ph type="title"/>
          </p:nvPr>
        </p:nvSpPr>
        <p:spPr bwMode="gray">
          <a:xfrm>
            <a:off x="3635374" y="1036638"/>
            <a:ext cx="3263901" cy="1268759"/>
          </a:xfrm>
        </p:spPr>
        <p:txBody>
          <a:bodyPr/>
          <a:lstStyle/>
          <a:p>
            <a:r>
              <a:rPr lang="en-US" noProof="0" smtClean="0"/>
              <a:t>Click to edit Master title style</a:t>
            </a:r>
            <a:endParaRPr lang="en-US" noProof="0" dirty="0"/>
          </a:p>
        </p:txBody>
      </p:sp>
      <p:sp>
        <p:nvSpPr>
          <p:cNvPr id="10" name="Espace réservé du texte 9"/>
          <p:cNvSpPr>
            <a:spLocks noGrp="1"/>
          </p:cNvSpPr>
          <p:nvPr>
            <p:ph type="body" sz="quarter" idx="13"/>
          </p:nvPr>
        </p:nvSpPr>
        <p:spPr bwMode="gray">
          <a:xfrm>
            <a:off x="3635376" y="2574000"/>
            <a:ext cx="3263900" cy="3447388"/>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4" name="Espace réservé du texte 9"/>
          <p:cNvSpPr>
            <a:spLocks noGrp="1"/>
          </p:cNvSpPr>
          <p:nvPr>
            <p:ph type="body" sz="quarter" idx="14"/>
          </p:nvPr>
        </p:nvSpPr>
        <p:spPr bwMode="gray">
          <a:xfrm>
            <a:off x="0" y="139974"/>
            <a:ext cx="2628000" cy="5017814"/>
          </a:xfrm>
        </p:spPr>
        <p:txBody>
          <a:bodyPr/>
          <a:lstStyle>
            <a:lvl1pPr algn="r">
              <a:defRPr sz="16600" b="1">
                <a:solidFill>
                  <a:schemeClr val="bg1"/>
                </a:solidFill>
              </a:defRPr>
            </a:lvl1pPr>
          </a:lstStyle>
          <a:p>
            <a:pPr lvl="0"/>
            <a:r>
              <a:rPr lang="en-US" noProof="0" smtClean="0"/>
              <a:t>Click to edit Master text styles</a:t>
            </a:r>
          </a:p>
        </p:txBody>
      </p:sp>
      <p:sp>
        <p:nvSpPr>
          <p:cNvPr id="19" name="Espace réservé pour une image  17"/>
          <p:cNvSpPr>
            <a:spLocks noGrp="1"/>
          </p:cNvSpPr>
          <p:nvPr>
            <p:ph type="pic" sz="quarter" idx="18"/>
          </p:nvPr>
        </p:nvSpPr>
        <p:spPr bwMode="gray">
          <a:xfrm>
            <a:off x="7254332" y="132082"/>
            <a:ext cx="1899827" cy="5812641"/>
          </a:xfrm>
          <a:custGeom>
            <a:avLst/>
            <a:gdLst>
              <a:gd name="connsiteX0" fmla="*/ 0 w 3851275"/>
              <a:gd name="connsiteY0" fmla="*/ 0 h 5157788"/>
              <a:gd name="connsiteX1" fmla="*/ 3851275 w 3851275"/>
              <a:gd name="connsiteY1" fmla="*/ 0 h 5157788"/>
              <a:gd name="connsiteX2" fmla="*/ 3851275 w 3851275"/>
              <a:gd name="connsiteY2" fmla="*/ 5157788 h 5157788"/>
              <a:gd name="connsiteX3" fmla="*/ 0 w 3851275"/>
              <a:gd name="connsiteY3" fmla="*/ 5157788 h 5157788"/>
              <a:gd name="connsiteX4" fmla="*/ 0 w 3851275"/>
              <a:gd name="connsiteY4"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0 w 3851275"/>
              <a:gd name="connsiteY3" fmla="*/ 5157788 h 5157788"/>
              <a:gd name="connsiteX4" fmla="*/ 1692275 w 3851275"/>
              <a:gd name="connsiteY4" fmla="*/ 0 h 5157788"/>
              <a:gd name="connsiteX0" fmla="*/ 0 w 2159000"/>
              <a:gd name="connsiteY0" fmla="*/ 0 h 5157788"/>
              <a:gd name="connsiteX1" fmla="*/ 2159000 w 2159000"/>
              <a:gd name="connsiteY1" fmla="*/ 0 h 5157788"/>
              <a:gd name="connsiteX2" fmla="*/ 2159000 w 2159000"/>
              <a:gd name="connsiteY2" fmla="*/ 5157788 h 5157788"/>
              <a:gd name="connsiteX3" fmla="*/ 0 w 2159000"/>
              <a:gd name="connsiteY3" fmla="*/ 5157788 h 5157788"/>
              <a:gd name="connsiteX4" fmla="*/ 0 w 2159000"/>
              <a:gd name="connsiteY4" fmla="*/ 0 h 5157788"/>
              <a:gd name="connsiteX0" fmla="*/ 2625271 w 4784271"/>
              <a:gd name="connsiteY0" fmla="*/ 0 h 5157788"/>
              <a:gd name="connsiteX1" fmla="*/ 4784271 w 4784271"/>
              <a:gd name="connsiteY1" fmla="*/ 0 h 5157788"/>
              <a:gd name="connsiteX2" fmla="*/ 4784271 w 4784271"/>
              <a:gd name="connsiteY2" fmla="*/ 5157788 h 5157788"/>
              <a:gd name="connsiteX3" fmla="*/ 2625271 w 4784271"/>
              <a:gd name="connsiteY3" fmla="*/ 5157788 h 5157788"/>
              <a:gd name="connsiteX4" fmla="*/ 2625271 w 4784271"/>
              <a:gd name="connsiteY4" fmla="*/ 0 h 5157788"/>
              <a:gd name="connsiteX0" fmla="*/ 2625271 w 4784271"/>
              <a:gd name="connsiteY0" fmla="*/ 0 h 5157788"/>
              <a:gd name="connsiteX1" fmla="*/ 4784271 w 4784271"/>
              <a:gd name="connsiteY1" fmla="*/ 0 h 5157788"/>
              <a:gd name="connsiteX2" fmla="*/ 4784271 w 4784271"/>
              <a:gd name="connsiteY2" fmla="*/ 5157788 h 5157788"/>
              <a:gd name="connsiteX3" fmla="*/ 2625271 w 4784271"/>
              <a:gd name="connsiteY3" fmla="*/ 5157788 h 5157788"/>
              <a:gd name="connsiteX4" fmla="*/ 2625271 w 4784271"/>
              <a:gd name="connsiteY4" fmla="*/ 0 h 5157788"/>
              <a:gd name="connsiteX0" fmla="*/ 3568576 w 5727576"/>
              <a:gd name="connsiteY0" fmla="*/ 0 h 5157788"/>
              <a:gd name="connsiteX1" fmla="*/ 5727576 w 5727576"/>
              <a:gd name="connsiteY1" fmla="*/ 0 h 5157788"/>
              <a:gd name="connsiteX2" fmla="*/ 5727576 w 5727576"/>
              <a:gd name="connsiteY2" fmla="*/ 5157788 h 5157788"/>
              <a:gd name="connsiteX3" fmla="*/ 3568576 w 5727576"/>
              <a:gd name="connsiteY3" fmla="*/ 5157788 h 5157788"/>
              <a:gd name="connsiteX4" fmla="*/ 3568576 w 5727576"/>
              <a:gd name="connsiteY4" fmla="*/ 0 h 5157788"/>
              <a:gd name="connsiteX0" fmla="*/ 3306355 w 5465355"/>
              <a:gd name="connsiteY0" fmla="*/ 0 h 5157788"/>
              <a:gd name="connsiteX1" fmla="*/ 5465355 w 5465355"/>
              <a:gd name="connsiteY1" fmla="*/ 0 h 5157788"/>
              <a:gd name="connsiteX2" fmla="*/ 5465355 w 5465355"/>
              <a:gd name="connsiteY2" fmla="*/ 5157788 h 5157788"/>
              <a:gd name="connsiteX3" fmla="*/ 3306355 w 5465355"/>
              <a:gd name="connsiteY3" fmla="*/ 5157788 h 5157788"/>
              <a:gd name="connsiteX4" fmla="*/ 3306355 w 5465355"/>
              <a:gd name="connsiteY4" fmla="*/ 0 h 5157788"/>
              <a:gd name="connsiteX0" fmla="*/ 1416957 w 3575957"/>
              <a:gd name="connsiteY0" fmla="*/ 0 h 5157788"/>
              <a:gd name="connsiteX1" fmla="*/ 3575957 w 3575957"/>
              <a:gd name="connsiteY1" fmla="*/ 0 h 5157788"/>
              <a:gd name="connsiteX2" fmla="*/ 3575957 w 3575957"/>
              <a:gd name="connsiteY2" fmla="*/ 5157788 h 5157788"/>
              <a:gd name="connsiteX3" fmla="*/ 1416957 w 3575957"/>
              <a:gd name="connsiteY3" fmla="*/ 5157788 h 5157788"/>
              <a:gd name="connsiteX4" fmla="*/ 0 w 3575957"/>
              <a:gd name="connsiteY4" fmla="*/ 3339193 h 5157788"/>
              <a:gd name="connsiteX5" fmla="*/ 1416957 w 3575957"/>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6017419"/>
              <a:gd name="connsiteX1" fmla="*/ 3851275 w 3851275"/>
              <a:gd name="connsiteY1" fmla="*/ 0 h 6017419"/>
              <a:gd name="connsiteX2" fmla="*/ 3851275 w 3851275"/>
              <a:gd name="connsiteY2" fmla="*/ 5157788 h 6017419"/>
              <a:gd name="connsiteX3" fmla="*/ 1692275 w 3851275"/>
              <a:gd name="connsiteY3" fmla="*/ 5157788 h 6017419"/>
              <a:gd name="connsiteX4" fmla="*/ 0 w 3851275"/>
              <a:gd name="connsiteY4" fmla="*/ 3284984 h 6017419"/>
              <a:gd name="connsiteX5" fmla="*/ 1692275 w 3851275"/>
              <a:gd name="connsiteY5" fmla="*/ 0 h 6017419"/>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429000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429000 h 5157788"/>
              <a:gd name="connsiteX5" fmla="*/ 1710871 w 3869871"/>
              <a:gd name="connsiteY5" fmla="*/ 0 h 5157788"/>
              <a:gd name="connsiteX0" fmla="*/ 1704975 w 3863975"/>
              <a:gd name="connsiteY0" fmla="*/ 0 h 5157788"/>
              <a:gd name="connsiteX1" fmla="*/ 3863975 w 3863975"/>
              <a:gd name="connsiteY1" fmla="*/ 0 h 5157788"/>
              <a:gd name="connsiteX2" fmla="*/ 3863975 w 3863975"/>
              <a:gd name="connsiteY2" fmla="*/ 5157788 h 5157788"/>
              <a:gd name="connsiteX3" fmla="*/ 1704975 w 3863975"/>
              <a:gd name="connsiteY3" fmla="*/ 5157788 h 5157788"/>
              <a:gd name="connsiteX4" fmla="*/ 12700 w 3863975"/>
              <a:gd name="connsiteY4" fmla="*/ 3429000 h 5157788"/>
              <a:gd name="connsiteX5" fmla="*/ 1704975 w 3863975"/>
              <a:gd name="connsiteY5" fmla="*/ 0 h 5157788"/>
              <a:gd name="connsiteX0" fmla="*/ 1707243 w 3866243"/>
              <a:gd name="connsiteY0" fmla="*/ 0 h 5157788"/>
              <a:gd name="connsiteX1" fmla="*/ 3866243 w 3866243"/>
              <a:gd name="connsiteY1" fmla="*/ 0 h 5157788"/>
              <a:gd name="connsiteX2" fmla="*/ 3866243 w 3866243"/>
              <a:gd name="connsiteY2" fmla="*/ 5157788 h 5157788"/>
              <a:gd name="connsiteX3" fmla="*/ 1707243 w 3866243"/>
              <a:gd name="connsiteY3" fmla="*/ 5157788 h 5157788"/>
              <a:gd name="connsiteX4" fmla="*/ 14968 w 3866243"/>
              <a:gd name="connsiteY4" fmla="*/ 3429000 h 5157788"/>
              <a:gd name="connsiteX5" fmla="*/ 1707243 w 3866243"/>
              <a:gd name="connsiteY5" fmla="*/ 0 h 5157788"/>
              <a:gd name="connsiteX0" fmla="*/ 1130447 w 3866243"/>
              <a:gd name="connsiteY0" fmla="*/ 0 h 5157788"/>
              <a:gd name="connsiteX1" fmla="*/ 3866243 w 3866243"/>
              <a:gd name="connsiteY1" fmla="*/ 0 h 5157788"/>
              <a:gd name="connsiteX2" fmla="*/ 3866243 w 3866243"/>
              <a:gd name="connsiteY2" fmla="*/ 5157788 h 5157788"/>
              <a:gd name="connsiteX3" fmla="*/ 1707243 w 3866243"/>
              <a:gd name="connsiteY3" fmla="*/ 5157788 h 5157788"/>
              <a:gd name="connsiteX4" fmla="*/ 14968 w 3866243"/>
              <a:gd name="connsiteY4" fmla="*/ 3429000 h 5157788"/>
              <a:gd name="connsiteX5" fmla="*/ 1130447 w 3866243"/>
              <a:gd name="connsiteY5" fmla="*/ 0 h 5157788"/>
              <a:gd name="connsiteX0" fmla="*/ 2746143 w 5481939"/>
              <a:gd name="connsiteY0" fmla="*/ 0 h 5157788"/>
              <a:gd name="connsiteX1" fmla="*/ 5481939 w 5481939"/>
              <a:gd name="connsiteY1" fmla="*/ 0 h 5157788"/>
              <a:gd name="connsiteX2" fmla="*/ 5481939 w 5481939"/>
              <a:gd name="connsiteY2" fmla="*/ 5157788 h 5157788"/>
              <a:gd name="connsiteX3" fmla="*/ 585903 w 5481939"/>
              <a:gd name="connsiteY3" fmla="*/ 5153180 h 5157788"/>
              <a:gd name="connsiteX4" fmla="*/ 1630664 w 5481939"/>
              <a:gd name="connsiteY4" fmla="*/ 3429000 h 5157788"/>
              <a:gd name="connsiteX5" fmla="*/ 2746143 w 5481939"/>
              <a:gd name="connsiteY5" fmla="*/ 0 h 5157788"/>
              <a:gd name="connsiteX0" fmla="*/ 2746143 w 5481939"/>
              <a:gd name="connsiteY0" fmla="*/ 0 h 5157788"/>
              <a:gd name="connsiteX1" fmla="*/ 5481939 w 5481939"/>
              <a:gd name="connsiteY1" fmla="*/ 0 h 5157788"/>
              <a:gd name="connsiteX2" fmla="*/ 5481939 w 5481939"/>
              <a:gd name="connsiteY2" fmla="*/ 5157788 h 5157788"/>
              <a:gd name="connsiteX3" fmla="*/ 585903 w 5481939"/>
              <a:gd name="connsiteY3" fmla="*/ 5153180 h 5157788"/>
              <a:gd name="connsiteX4" fmla="*/ 1630664 w 5481939"/>
              <a:gd name="connsiteY4" fmla="*/ 3429000 h 5157788"/>
              <a:gd name="connsiteX5" fmla="*/ 2746143 w 548193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3574235 w 6310031"/>
              <a:gd name="connsiteY0" fmla="*/ 0 h 5157788"/>
              <a:gd name="connsiteX1" fmla="*/ 6310031 w 6310031"/>
              <a:gd name="connsiteY1" fmla="*/ 0 h 5157788"/>
              <a:gd name="connsiteX2" fmla="*/ 6310031 w 6310031"/>
              <a:gd name="connsiteY2" fmla="*/ 5157788 h 5157788"/>
              <a:gd name="connsiteX3" fmla="*/ 585903 w 6310031"/>
              <a:gd name="connsiteY3" fmla="*/ 5153180 h 5157788"/>
              <a:gd name="connsiteX4" fmla="*/ 1738031 w 6310031"/>
              <a:gd name="connsiteY4" fmla="*/ 3389965 h 5157788"/>
              <a:gd name="connsiteX5" fmla="*/ 3574235 w 6310031"/>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296143 w 5724128"/>
              <a:gd name="connsiteY4" fmla="*/ 3461908 h 5157788"/>
              <a:gd name="connsiteX5" fmla="*/ 2988332 w 5724128"/>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1188132 w 5760132"/>
              <a:gd name="connsiteY4" fmla="*/ 3425937 h 5157788"/>
              <a:gd name="connsiteX5" fmla="*/ 3024336 w 5760132"/>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2736304 w 5760132"/>
              <a:gd name="connsiteY4" fmla="*/ 3461908 h 5157788"/>
              <a:gd name="connsiteX5" fmla="*/ 3024336 w 5760132"/>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2736304 w 5760132"/>
              <a:gd name="connsiteY4" fmla="*/ 3461908 h 5157788"/>
              <a:gd name="connsiteX5" fmla="*/ 3024336 w 5760132"/>
              <a:gd name="connsiteY5" fmla="*/ 0 h 5157788"/>
              <a:gd name="connsiteX0" fmla="*/ 2160240 w 4896036"/>
              <a:gd name="connsiteY0" fmla="*/ 0 h 5157788"/>
              <a:gd name="connsiteX1" fmla="*/ 4896036 w 4896036"/>
              <a:gd name="connsiteY1" fmla="*/ 0 h 5157788"/>
              <a:gd name="connsiteX2" fmla="*/ 4896036 w 4896036"/>
              <a:gd name="connsiteY2" fmla="*/ 5157788 h 5157788"/>
              <a:gd name="connsiteX3" fmla="*/ 0 w 4896036"/>
              <a:gd name="connsiteY3" fmla="*/ 5153180 h 5157788"/>
              <a:gd name="connsiteX4" fmla="*/ 1872208 w 4896036"/>
              <a:gd name="connsiteY4" fmla="*/ 3461908 h 5157788"/>
              <a:gd name="connsiteX5" fmla="*/ 2160240 w 4896036"/>
              <a:gd name="connsiteY5" fmla="*/ 0 h 5157788"/>
              <a:gd name="connsiteX0" fmla="*/ 2232248 w 4968044"/>
              <a:gd name="connsiteY0" fmla="*/ 0 h 5157788"/>
              <a:gd name="connsiteX1" fmla="*/ 4968044 w 4968044"/>
              <a:gd name="connsiteY1" fmla="*/ 0 h 5157788"/>
              <a:gd name="connsiteX2" fmla="*/ 4968044 w 4968044"/>
              <a:gd name="connsiteY2" fmla="*/ 5157788 h 5157788"/>
              <a:gd name="connsiteX3" fmla="*/ 0 w 4968044"/>
              <a:gd name="connsiteY3" fmla="*/ 5153180 h 5157788"/>
              <a:gd name="connsiteX4" fmla="*/ 1944216 w 4968044"/>
              <a:gd name="connsiteY4" fmla="*/ 3461908 h 5157788"/>
              <a:gd name="connsiteX5" fmla="*/ 2232248 w 4968044"/>
              <a:gd name="connsiteY5" fmla="*/ 0 h 5157788"/>
              <a:gd name="connsiteX0" fmla="*/ 2207679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207679 w 4943475"/>
              <a:gd name="connsiteY5" fmla="*/ 0 h 5157788"/>
              <a:gd name="connsiteX0" fmla="*/ 2963763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963763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092200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71575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343583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675731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675731 w 4943475"/>
              <a:gd name="connsiteY5" fmla="*/ 0 h 5157788"/>
              <a:gd name="connsiteX0" fmla="*/ 2675731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675731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9672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19672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1668519 w 3913244"/>
              <a:gd name="connsiteY0" fmla="*/ 0 h 5183692"/>
              <a:gd name="connsiteX1" fmla="*/ 3913244 w 3913244"/>
              <a:gd name="connsiteY1" fmla="*/ 0 h 5183692"/>
              <a:gd name="connsiteX2" fmla="*/ 3913244 w 3913244"/>
              <a:gd name="connsiteY2" fmla="*/ 5157788 h 5183692"/>
              <a:gd name="connsiteX3" fmla="*/ 2456872 w 3913244"/>
              <a:gd name="connsiteY3" fmla="*/ 5183633 h 5183692"/>
              <a:gd name="connsiteX4" fmla="*/ 205340 w 3913244"/>
              <a:gd name="connsiteY4" fmla="*/ 2562613 h 5183692"/>
              <a:gd name="connsiteX5" fmla="*/ 1668519 w 3913244"/>
              <a:gd name="connsiteY5" fmla="*/ 0 h 5183692"/>
              <a:gd name="connsiteX0" fmla="*/ 1668519 w 3923404"/>
              <a:gd name="connsiteY0" fmla="*/ 0 h 5939409"/>
              <a:gd name="connsiteX1" fmla="*/ 3913244 w 3923404"/>
              <a:gd name="connsiteY1" fmla="*/ 0 h 5939409"/>
              <a:gd name="connsiteX2" fmla="*/ 3923404 w 3923404"/>
              <a:gd name="connsiteY2" fmla="*/ 5939409 h 5939409"/>
              <a:gd name="connsiteX3" fmla="*/ 2456872 w 3923404"/>
              <a:gd name="connsiteY3" fmla="*/ 5183633 h 5939409"/>
              <a:gd name="connsiteX4" fmla="*/ 205340 w 3923404"/>
              <a:gd name="connsiteY4" fmla="*/ 2562613 h 5939409"/>
              <a:gd name="connsiteX5" fmla="*/ 1668519 w 3923404"/>
              <a:gd name="connsiteY5" fmla="*/ 0 h 5939409"/>
              <a:gd name="connsiteX0" fmla="*/ 1668519 w 3923404"/>
              <a:gd name="connsiteY0" fmla="*/ 0 h 5939409"/>
              <a:gd name="connsiteX1" fmla="*/ 3913244 w 3923404"/>
              <a:gd name="connsiteY1" fmla="*/ 0 h 5939409"/>
              <a:gd name="connsiteX2" fmla="*/ 3923404 w 3923404"/>
              <a:gd name="connsiteY2" fmla="*/ 5939409 h 5939409"/>
              <a:gd name="connsiteX3" fmla="*/ 2456872 w 3923404"/>
              <a:gd name="connsiteY3" fmla="*/ 5183633 h 5939409"/>
              <a:gd name="connsiteX4" fmla="*/ 205340 w 3923404"/>
              <a:gd name="connsiteY4" fmla="*/ 2562613 h 5939409"/>
              <a:gd name="connsiteX5" fmla="*/ 1668519 w 3923404"/>
              <a:gd name="connsiteY5" fmla="*/ 0 h 5939409"/>
              <a:gd name="connsiteX0" fmla="*/ 1696047 w 3950932"/>
              <a:gd name="connsiteY0" fmla="*/ 0 h 5939409"/>
              <a:gd name="connsiteX1" fmla="*/ 3940772 w 3950932"/>
              <a:gd name="connsiteY1" fmla="*/ 0 h 5939409"/>
              <a:gd name="connsiteX2" fmla="*/ 3950932 w 3950932"/>
              <a:gd name="connsiteY2" fmla="*/ 5939409 h 5939409"/>
              <a:gd name="connsiteX3" fmla="*/ 2484400 w 3950932"/>
              <a:gd name="connsiteY3" fmla="*/ 5183633 h 5939409"/>
              <a:gd name="connsiteX4" fmla="*/ 232868 w 3950932"/>
              <a:gd name="connsiteY4" fmla="*/ 2562613 h 5939409"/>
              <a:gd name="connsiteX5" fmla="*/ 1696047 w 3950932"/>
              <a:gd name="connsiteY5" fmla="*/ 0 h 5939409"/>
              <a:gd name="connsiteX0" fmla="*/ 1463179 w 3718064"/>
              <a:gd name="connsiteY0" fmla="*/ 0 h 5983194"/>
              <a:gd name="connsiteX1" fmla="*/ 3707904 w 3718064"/>
              <a:gd name="connsiteY1" fmla="*/ 0 h 5983194"/>
              <a:gd name="connsiteX2" fmla="*/ 3718064 w 3718064"/>
              <a:gd name="connsiteY2" fmla="*/ 5939409 h 5983194"/>
              <a:gd name="connsiteX3" fmla="*/ 0 w 3718064"/>
              <a:gd name="connsiteY3" fmla="*/ 2562613 h 5983194"/>
              <a:gd name="connsiteX4" fmla="*/ 1463179 w 3718064"/>
              <a:gd name="connsiteY4" fmla="*/ 0 h 5983194"/>
              <a:gd name="connsiteX0" fmla="*/ 1464005 w 3718890"/>
              <a:gd name="connsiteY0" fmla="*/ 0 h 5987401"/>
              <a:gd name="connsiteX1" fmla="*/ 3708730 w 3718890"/>
              <a:gd name="connsiteY1" fmla="*/ 0 h 5987401"/>
              <a:gd name="connsiteX2" fmla="*/ 3718890 w 3718890"/>
              <a:gd name="connsiteY2" fmla="*/ 5939409 h 5987401"/>
              <a:gd name="connsiteX3" fmla="*/ 826 w 3718890"/>
              <a:gd name="connsiteY3" fmla="*/ 2562613 h 5987401"/>
              <a:gd name="connsiteX4" fmla="*/ 1464005 w 3718890"/>
              <a:gd name="connsiteY4" fmla="*/ 0 h 5987401"/>
              <a:gd name="connsiteX0" fmla="*/ 1267 w 2256152"/>
              <a:gd name="connsiteY0" fmla="*/ 0 h 6002954"/>
              <a:gd name="connsiteX1" fmla="*/ 2245992 w 2256152"/>
              <a:gd name="connsiteY1" fmla="*/ 0 h 6002954"/>
              <a:gd name="connsiteX2" fmla="*/ 2256152 w 2256152"/>
              <a:gd name="connsiteY2" fmla="*/ 5939409 h 6002954"/>
              <a:gd name="connsiteX3" fmla="*/ 956168 w 2256152"/>
              <a:gd name="connsiteY3" fmla="*/ 3273178 h 6002954"/>
              <a:gd name="connsiteX4" fmla="*/ 1267 w 2256152"/>
              <a:gd name="connsiteY4" fmla="*/ 0 h 6002954"/>
              <a:gd name="connsiteX0" fmla="*/ 2 w 1299986"/>
              <a:gd name="connsiteY0" fmla="*/ 3321709 h 6044422"/>
              <a:gd name="connsiteX1" fmla="*/ 1289826 w 1299986"/>
              <a:gd name="connsiteY1" fmla="*/ 48531 h 6044422"/>
              <a:gd name="connsiteX2" fmla="*/ 1299986 w 1299986"/>
              <a:gd name="connsiteY2" fmla="*/ 5987940 h 6044422"/>
              <a:gd name="connsiteX3" fmla="*/ 2 w 1299986"/>
              <a:gd name="connsiteY3" fmla="*/ 3321709 h 6044422"/>
              <a:gd name="connsiteX0" fmla="*/ 2 w 1299986"/>
              <a:gd name="connsiteY0" fmla="*/ 3273178 h 5995891"/>
              <a:gd name="connsiteX1" fmla="*/ 1289826 w 1299986"/>
              <a:gd name="connsiteY1" fmla="*/ 0 h 5995891"/>
              <a:gd name="connsiteX2" fmla="*/ 1299986 w 1299986"/>
              <a:gd name="connsiteY2" fmla="*/ 5939409 h 5995891"/>
              <a:gd name="connsiteX3" fmla="*/ 2 w 1299986"/>
              <a:gd name="connsiteY3" fmla="*/ 3273178 h 5995891"/>
              <a:gd name="connsiteX0" fmla="*/ 2 w 1299986"/>
              <a:gd name="connsiteY0" fmla="*/ 3273178 h 5995891"/>
              <a:gd name="connsiteX1" fmla="*/ 1289826 w 1299986"/>
              <a:gd name="connsiteY1" fmla="*/ 0 h 5995891"/>
              <a:gd name="connsiteX2" fmla="*/ 1299986 w 1299986"/>
              <a:gd name="connsiteY2" fmla="*/ 5939409 h 5995891"/>
              <a:gd name="connsiteX3" fmla="*/ 2 w 1299986"/>
              <a:gd name="connsiteY3" fmla="*/ 3273178 h 5995891"/>
              <a:gd name="connsiteX0" fmla="*/ 2 w 1299986"/>
              <a:gd name="connsiteY0" fmla="*/ 3273178 h 5995891"/>
              <a:gd name="connsiteX1" fmla="*/ 1289826 w 1299986"/>
              <a:gd name="connsiteY1" fmla="*/ 0 h 5995891"/>
              <a:gd name="connsiteX2" fmla="*/ 1299986 w 1299986"/>
              <a:gd name="connsiteY2" fmla="*/ 5939409 h 5995891"/>
              <a:gd name="connsiteX3" fmla="*/ 2 w 1299986"/>
              <a:gd name="connsiteY3" fmla="*/ 3273178 h 5995891"/>
              <a:gd name="connsiteX0" fmla="*/ 2 w 1299986"/>
              <a:gd name="connsiteY0" fmla="*/ 2725028 h 5445777"/>
              <a:gd name="connsiteX1" fmla="*/ 1289826 w 1299986"/>
              <a:gd name="connsiteY1" fmla="*/ 0 h 5445777"/>
              <a:gd name="connsiteX2" fmla="*/ 1299986 w 1299986"/>
              <a:gd name="connsiteY2" fmla="*/ 5391259 h 5445777"/>
              <a:gd name="connsiteX3" fmla="*/ 2 w 1299986"/>
              <a:gd name="connsiteY3" fmla="*/ 2725028 h 5445777"/>
              <a:gd name="connsiteX0" fmla="*/ 2 w 1299986"/>
              <a:gd name="connsiteY0" fmla="*/ 3141216 h 5863443"/>
              <a:gd name="connsiteX1" fmla="*/ 1289826 w 1299986"/>
              <a:gd name="connsiteY1" fmla="*/ 0 h 5863443"/>
              <a:gd name="connsiteX2" fmla="*/ 1299986 w 1299986"/>
              <a:gd name="connsiteY2" fmla="*/ 5807447 h 5863443"/>
              <a:gd name="connsiteX3" fmla="*/ 2 w 1299986"/>
              <a:gd name="connsiteY3" fmla="*/ 3141216 h 5863443"/>
              <a:gd name="connsiteX0" fmla="*/ 2 w 1299986"/>
              <a:gd name="connsiteY0" fmla="*/ 3141216 h 5863444"/>
              <a:gd name="connsiteX1" fmla="*/ 1289826 w 1299986"/>
              <a:gd name="connsiteY1" fmla="*/ 0 h 5863444"/>
              <a:gd name="connsiteX2" fmla="*/ 1299986 w 1299986"/>
              <a:gd name="connsiteY2" fmla="*/ 5807447 h 5863444"/>
              <a:gd name="connsiteX3" fmla="*/ 2 w 1299986"/>
              <a:gd name="connsiteY3" fmla="*/ 3141216 h 5863444"/>
              <a:gd name="connsiteX0" fmla="*/ 1 w 1889265"/>
              <a:gd name="connsiteY0" fmla="*/ 3851780 h 5885741"/>
              <a:gd name="connsiteX1" fmla="*/ 1879105 w 1889265"/>
              <a:gd name="connsiteY1" fmla="*/ 0 h 5885741"/>
              <a:gd name="connsiteX2" fmla="*/ 1889265 w 1889265"/>
              <a:gd name="connsiteY2" fmla="*/ 5807447 h 5885741"/>
              <a:gd name="connsiteX3" fmla="*/ 1 w 1889265"/>
              <a:gd name="connsiteY3" fmla="*/ 3851780 h 5885741"/>
              <a:gd name="connsiteX0" fmla="*/ 694 w 1889958"/>
              <a:gd name="connsiteY0" fmla="*/ 3851780 h 5898819"/>
              <a:gd name="connsiteX1" fmla="*/ 1879798 w 1889958"/>
              <a:gd name="connsiteY1" fmla="*/ 0 h 5898819"/>
              <a:gd name="connsiteX2" fmla="*/ 1889958 w 1889958"/>
              <a:gd name="connsiteY2" fmla="*/ 5807447 h 5898819"/>
              <a:gd name="connsiteX3" fmla="*/ 694 w 1889958"/>
              <a:gd name="connsiteY3" fmla="*/ 3851780 h 5898819"/>
              <a:gd name="connsiteX0" fmla="*/ 694 w 1889958"/>
              <a:gd name="connsiteY0" fmla="*/ 3740120 h 5892762"/>
              <a:gd name="connsiteX1" fmla="*/ 1879798 w 1889958"/>
              <a:gd name="connsiteY1" fmla="*/ 0 h 5892762"/>
              <a:gd name="connsiteX2" fmla="*/ 1889958 w 1889958"/>
              <a:gd name="connsiteY2" fmla="*/ 5807447 h 5892762"/>
              <a:gd name="connsiteX3" fmla="*/ 694 w 1889958"/>
              <a:gd name="connsiteY3" fmla="*/ 3740120 h 5892762"/>
              <a:gd name="connsiteX0" fmla="*/ 690 w 1900114"/>
              <a:gd name="connsiteY0" fmla="*/ 3811177 h 5896524"/>
              <a:gd name="connsiteX1" fmla="*/ 1889954 w 1900114"/>
              <a:gd name="connsiteY1" fmla="*/ 0 h 5896524"/>
              <a:gd name="connsiteX2" fmla="*/ 1900114 w 1900114"/>
              <a:gd name="connsiteY2" fmla="*/ 5807447 h 5896524"/>
              <a:gd name="connsiteX3" fmla="*/ 690 w 1900114"/>
              <a:gd name="connsiteY3" fmla="*/ 3811177 h 5896524"/>
              <a:gd name="connsiteX0" fmla="*/ 690 w 1900114"/>
              <a:gd name="connsiteY0" fmla="*/ 3811177 h 5807447"/>
              <a:gd name="connsiteX1" fmla="*/ 1889954 w 1900114"/>
              <a:gd name="connsiteY1" fmla="*/ 0 h 5807447"/>
              <a:gd name="connsiteX2" fmla="*/ 1900114 w 1900114"/>
              <a:gd name="connsiteY2" fmla="*/ 5807447 h 5807447"/>
              <a:gd name="connsiteX3" fmla="*/ 690 w 1900114"/>
              <a:gd name="connsiteY3" fmla="*/ 3811177 h 5807447"/>
              <a:gd name="connsiteX0" fmla="*/ 690 w 1900114"/>
              <a:gd name="connsiteY0" fmla="*/ 3811177 h 5807447"/>
              <a:gd name="connsiteX1" fmla="*/ 1889954 w 1900114"/>
              <a:gd name="connsiteY1" fmla="*/ 0 h 5807447"/>
              <a:gd name="connsiteX2" fmla="*/ 1900114 w 1900114"/>
              <a:gd name="connsiteY2" fmla="*/ 5807447 h 5807447"/>
              <a:gd name="connsiteX3" fmla="*/ 690 w 1900114"/>
              <a:gd name="connsiteY3" fmla="*/ 3811177 h 5807447"/>
              <a:gd name="connsiteX0" fmla="*/ 403 w 1899827"/>
              <a:gd name="connsiteY0" fmla="*/ 3811177 h 5807447"/>
              <a:gd name="connsiteX1" fmla="*/ 1889667 w 1899827"/>
              <a:gd name="connsiteY1" fmla="*/ 0 h 5807447"/>
              <a:gd name="connsiteX2" fmla="*/ 1899827 w 1899827"/>
              <a:gd name="connsiteY2" fmla="*/ 5807447 h 5807447"/>
              <a:gd name="connsiteX3" fmla="*/ 403 w 1899827"/>
              <a:gd name="connsiteY3" fmla="*/ 3811177 h 5807447"/>
            </a:gdLst>
            <a:ahLst/>
            <a:cxnLst>
              <a:cxn ang="0">
                <a:pos x="connsiteX0" y="connsiteY0"/>
              </a:cxn>
              <a:cxn ang="0">
                <a:pos x="connsiteX1" y="connsiteY1"/>
              </a:cxn>
              <a:cxn ang="0">
                <a:pos x="connsiteX2" y="connsiteY2"/>
              </a:cxn>
              <a:cxn ang="0">
                <a:pos x="connsiteX3" y="connsiteY3"/>
              </a:cxn>
            </a:cxnLst>
            <a:rect l="l" t="t" r="r" b="b"/>
            <a:pathLst>
              <a:path w="1899827" h="5807447">
                <a:moveTo>
                  <a:pt x="403" y="3811177"/>
                </a:moveTo>
                <a:cubicBezTo>
                  <a:pt x="-31770" y="2467685"/>
                  <a:pt x="1876203" y="854946"/>
                  <a:pt x="1889667" y="0"/>
                </a:cubicBezTo>
                <a:cubicBezTo>
                  <a:pt x="1893054" y="1979803"/>
                  <a:pt x="1896440" y="3827644"/>
                  <a:pt x="1899827" y="5807447"/>
                </a:cubicBezTo>
                <a:cubicBezTo>
                  <a:pt x="1007523" y="5706703"/>
                  <a:pt x="32576" y="5154669"/>
                  <a:pt x="403" y="3811177"/>
                </a:cubicBezTo>
                <a:close/>
              </a:path>
            </a:pathLst>
          </a:custGeom>
          <a:solidFill>
            <a:schemeClr val="bg2"/>
          </a:solidFill>
          <a:ln w="3175">
            <a:noFill/>
          </a:ln>
        </p:spPr>
        <p:txBody>
          <a:bodyPr tIns="720000" rtlCol="0" anchor="ctr">
            <a:noAutofit/>
          </a:bodyPr>
          <a:lstStyle>
            <a:lvl1pPr algn="ctr">
              <a:defRPr sz="1500">
                <a:solidFill>
                  <a:schemeClr val="bg1"/>
                </a:solidFill>
              </a:defRPr>
            </a:lvl1pPr>
          </a:lstStyle>
          <a:p>
            <a:pPr lvl="0"/>
            <a:r>
              <a:rPr lang="en-US" noProof="0" smtClean="0"/>
              <a:t>Click icon to add picture</a:t>
            </a:r>
            <a:endParaRPr lang="en-US" noProof="0" dirty="0"/>
          </a:p>
        </p:txBody>
      </p:sp>
      <p:sp>
        <p:nvSpPr>
          <p:cNvPr id="8" name="Espace réservé de la date 10"/>
          <p:cNvSpPr>
            <a:spLocks noGrp="1"/>
          </p:cNvSpPr>
          <p:nvPr>
            <p:ph type="dt" sz="half" idx="19"/>
          </p:nvPr>
        </p:nvSpPr>
        <p:spPr/>
        <p:txBody>
          <a:bodyPr/>
          <a:lstStyle>
            <a:lvl1pPr>
              <a:defRPr/>
            </a:lvl1pPr>
          </a:lstStyle>
          <a:p>
            <a:pPr>
              <a:defRPr/>
            </a:pPr>
            <a:r>
              <a:rPr lang="en-US">
                <a:solidFill>
                  <a:prstClr val="white">
                    <a:alpha val="0"/>
                  </a:prstClr>
                </a:solidFill>
              </a:rPr>
              <a:t>Date</a:t>
            </a:r>
          </a:p>
        </p:txBody>
      </p:sp>
      <p:sp>
        <p:nvSpPr>
          <p:cNvPr id="9" name="Espace réservé du numéro de diapositive 11"/>
          <p:cNvSpPr>
            <a:spLocks noGrp="1"/>
          </p:cNvSpPr>
          <p:nvPr>
            <p:ph type="sldNum" sz="quarter" idx="20"/>
          </p:nvPr>
        </p:nvSpPr>
        <p:spPr/>
        <p:txBody>
          <a:bodyPr/>
          <a:lstStyle>
            <a:lvl1pPr>
              <a:defRPr/>
            </a:lvl1pPr>
          </a:lstStyle>
          <a:p>
            <a:pPr>
              <a:defRPr/>
            </a:pPr>
            <a:fld id="{669CD8F2-86ED-43C7-A24E-82A206DEE6AE}" type="slidenum">
              <a:rPr lang="en-US">
                <a:solidFill>
                  <a:srgbClr val="343434"/>
                </a:solidFill>
              </a:rPr>
              <a:pPr>
                <a:defRPr/>
              </a:pPr>
              <a:t>‹#›</a:t>
            </a:fld>
            <a:endParaRPr lang="en-US">
              <a:solidFill>
                <a:srgbClr val="343434"/>
              </a:solidFill>
            </a:endParaRPr>
          </a:p>
        </p:txBody>
      </p:sp>
      <p:sp>
        <p:nvSpPr>
          <p:cNvPr id="11" name="Espace réservé du pied de page 12"/>
          <p:cNvSpPr>
            <a:spLocks noGrp="1"/>
          </p:cNvSpPr>
          <p:nvPr>
            <p:ph type="ftr" sz="quarter" idx="21"/>
          </p:nvPr>
        </p:nvSpPr>
        <p:spPr/>
        <p:txBody>
          <a:bodyPr/>
          <a:lstStyle>
            <a:lvl1pPr>
              <a:defRPr/>
            </a:lvl1pPr>
          </a:lstStyle>
          <a:p>
            <a:pPr>
              <a:defRPr/>
            </a:pPr>
            <a:r>
              <a:rPr lang="en-US">
                <a:solidFill>
                  <a:srgbClr val="005CB9"/>
                </a:solidFill>
              </a:rPr>
              <a:t>#</a:t>
            </a:r>
            <a:r>
              <a:rPr lang="en-US" err="1">
                <a:solidFill>
                  <a:srgbClr val="005CB9"/>
                </a:solidFill>
              </a:rPr>
              <a:t>vaccineswork</a:t>
            </a:r>
            <a:endParaRPr lang="en-US">
              <a:solidFill>
                <a:srgbClr val="005CB9"/>
              </a:solidFill>
            </a:endParaRPr>
          </a:p>
        </p:txBody>
      </p:sp>
    </p:spTree>
    <p:extLst>
      <p:ext uri="{BB962C8B-B14F-4D97-AF65-F5344CB8AC3E}">
        <p14:creationId xmlns:p14="http://schemas.microsoft.com/office/powerpoint/2010/main" val="635909495"/>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Picture_Layout">
    <p:spTree>
      <p:nvGrpSpPr>
        <p:cNvPr id="1" name=""/>
        <p:cNvGrpSpPr/>
        <p:nvPr/>
      </p:nvGrpSpPr>
      <p:grpSpPr>
        <a:xfrm>
          <a:off x="0" y="0"/>
          <a:ext cx="0" cy="0"/>
          <a:chOff x="0" y="0"/>
          <a:chExt cx="0" cy="0"/>
        </a:xfrm>
      </p:grpSpPr>
      <p:sp>
        <p:nvSpPr>
          <p:cNvPr id="2" name="Titre 1"/>
          <p:cNvSpPr>
            <a:spLocks noGrp="1"/>
          </p:cNvSpPr>
          <p:nvPr>
            <p:ph type="title"/>
          </p:nvPr>
        </p:nvSpPr>
        <p:spPr bwMode="gray"/>
        <p:txBody>
          <a:bodyPr/>
          <a:lstStyle/>
          <a:p>
            <a:r>
              <a:rPr lang="en-US" noProof="0" smtClean="0"/>
              <a:t>Click to edit Master title style</a:t>
            </a:r>
            <a:endParaRPr lang="en-US" noProof="0" dirty="0"/>
          </a:p>
        </p:txBody>
      </p:sp>
      <p:sp>
        <p:nvSpPr>
          <p:cNvPr id="3" name="Espace réservé du contenu 2"/>
          <p:cNvSpPr>
            <a:spLocks noGrp="1"/>
          </p:cNvSpPr>
          <p:nvPr>
            <p:ph idx="1"/>
          </p:nvPr>
        </p:nvSpPr>
        <p:spPr bwMode="gray">
          <a:xfrm>
            <a:off x="3635896" y="1304925"/>
            <a:ext cx="4644504" cy="4716463"/>
          </a:xfrm>
        </p:spPr>
        <p:txBody>
          <a:bodyPr/>
          <a:lstStyle>
            <a:lvl2pPr>
              <a:defRPr/>
            </a:lvl2pPr>
            <a:lvl3pPr>
              <a:defRPr/>
            </a:lvl3pPr>
            <a:lvl4pPr>
              <a:defRPr baseline="0"/>
            </a:lvl4pPr>
            <a:lvl5pPr>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9" name="Espace réservé pour une image  8"/>
          <p:cNvSpPr>
            <a:spLocks noGrp="1"/>
          </p:cNvSpPr>
          <p:nvPr>
            <p:ph type="pic" sz="quarter" idx="13"/>
          </p:nvPr>
        </p:nvSpPr>
        <p:spPr bwMode="gray">
          <a:xfrm>
            <a:off x="0" y="1341438"/>
            <a:ext cx="3419038" cy="4679950"/>
          </a:xfrm>
        </p:spPr>
        <p:txBody>
          <a:bodyPr tIns="1008000" rtlCol="0" anchor="ctr">
            <a:noAutofit/>
          </a:bodyPr>
          <a:lstStyle>
            <a:lvl1pPr algn="ctr">
              <a:defRPr/>
            </a:lvl1pPr>
          </a:lstStyle>
          <a:p>
            <a:pPr lvl="0"/>
            <a:r>
              <a:rPr lang="en-US" noProof="0" smtClean="0"/>
              <a:t>Click icon to add picture</a:t>
            </a:r>
            <a:endParaRPr lang="en-US" noProof="0" dirty="0"/>
          </a:p>
        </p:txBody>
      </p:sp>
      <p:sp>
        <p:nvSpPr>
          <p:cNvPr id="5" name="Espace réservé de la date 3"/>
          <p:cNvSpPr>
            <a:spLocks noGrp="1"/>
          </p:cNvSpPr>
          <p:nvPr>
            <p:ph type="dt" sz="half" idx="14"/>
          </p:nvPr>
        </p:nvSpPr>
        <p:spPr/>
        <p:txBody>
          <a:bodyPr/>
          <a:lstStyle>
            <a:lvl1pPr>
              <a:defRPr/>
            </a:lvl1pPr>
          </a:lstStyle>
          <a:p>
            <a:pPr>
              <a:defRPr/>
            </a:pPr>
            <a:r>
              <a:rPr lang="en-US">
                <a:solidFill>
                  <a:prstClr val="white">
                    <a:alpha val="0"/>
                  </a:prstClr>
                </a:solidFill>
              </a:rPr>
              <a:t>Date</a:t>
            </a:r>
          </a:p>
        </p:txBody>
      </p:sp>
      <p:sp>
        <p:nvSpPr>
          <p:cNvPr id="6" name="Espace réservé du pied de page 4"/>
          <p:cNvSpPr>
            <a:spLocks noGrp="1"/>
          </p:cNvSpPr>
          <p:nvPr>
            <p:ph type="ftr" sz="quarter" idx="15"/>
          </p:nvPr>
        </p:nvSpPr>
        <p:spPr/>
        <p:txBody>
          <a:bodyPr/>
          <a:lstStyle>
            <a:lvl1pPr>
              <a:defRPr/>
            </a:lvl1pPr>
          </a:lstStyle>
          <a:p>
            <a:pPr>
              <a:defRPr/>
            </a:pPr>
            <a:r>
              <a:rPr lang="en-US">
                <a:solidFill>
                  <a:srgbClr val="005CB9"/>
                </a:solidFill>
              </a:rPr>
              <a:t>#</a:t>
            </a:r>
            <a:r>
              <a:rPr lang="en-US" err="1">
                <a:solidFill>
                  <a:srgbClr val="005CB9"/>
                </a:solidFill>
              </a:rPr>
              <a:t>vaccineswork</a:t>
            </a:r>
            <a:endParaRPr lang="en-US">
              <a:solidFill>
                <a:srgbClr val="005CB9"/>
              </a:solidFill>
            </a:endParaRPr>
          </a:p>
        </p:txBody>
      </p:sp>
      <p:sp>
        <p:nvSpPr>
          <p:cNvPr id="7" name="Espace réservé du numéro de diapositive 5"/>
          <p:cNvSpPr>
            <a:spLocks noGrp="1"/>
          </p:cNvSpPr>
          <p:nvPr>
            <p:ph type="sldNum" sz="quarter" idx="16"/>
          </p:nvPr>
        </p:nvSpPr>
        <p:spPr/>
        <p:txBody>
          <a:bodyPr/>
          <a:lstStyle>
            <a:lvl1pPr>
              <a:defRPr/>
            </a:lvl1pPr>
          </a:lstStyle>
          <a:p>
            <a:pPr>
              <a:defRPr/>
            </a:pPr>
            <a:fld id="{D8886677-8A24-41A7-8E0F-301076E1EA36}" type="slidenum">
              <a:rPr lang="en-US">
                <a:solidFill>
                  <a:srgbClr val="343434"/>
                </a:solidFill>
              </a:rPr>
              <a:pPr>
                <a:defRPr/>
              </a:pPr>
              <a:t>‹#›</a:t>
            </a:fld>
            <a:endParaRPr lang="en-US">
              <a:solidFill>
                <a:srgbClr val="343434"/>
              </a:solidFill>
            </a:endParaRPr>
          </a:p>
        </p:txBody>
      </p:sp>
    </p:spTree>
    <p:extLst>
      <p:ext uri="{BB962C8B-B14F-4D97-AF65-F5344CB8AC3E}">
        <p14:creationId xmlns:p14="http://schemas.microsoft.com/office/powerpoint/2010/main" val="835193714"/>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Text&amp;Content_Layout">
    <p:spTree>
      <p:nvGrpSpPr>
        <p:cNvPr id="1" name=""/>
        <p:cNvGrpSpPr/>
        <p:nvPr/>
      </p:nvGrpSpPr>
      <p:grpSpPr>
        <a:xfrm>
          <a:off x="0" y="0"/>
          <a:ext cx="0" cy="0"/>
          <a:chOff x="0" y="0"/>
          <a:chExt cx="0" cy="0"/>
        </a:xfrm>
      </p:grpSpPr>
      <p:sp>
        <p:nvSpPr>
          <p:cNvPr id="2" name="Titre 1"/>
          <p:cNvSpPr>
            <a:spLocks noGrp="1"/>
          </p:cNvSpPr>
          <p:nvPr>
            <p:ph type="title"/>
          </p:nvPr>
        </p:nvSpPr>
        <p:spPr bwMode="gray"/>
        <p:txBody>
          <a:bodyPr/>
          <a:lstStyle/>
          <a:p>
            <a:r>
              <a:rPr lang="en-US" noProof="0" smtClean="0"/>
              <a:t>Click to edit Master title style</a:t>
            </a:r>
            <a:endParaRPr lang="en-US" noProof="0"/>
          </a:p>
        </p:txBody>
      </p:sp>
      <p:sp>
        <p:nvSpPr>
          <p:cNvPr id="3" name="Espace réservé du contenu 2"/>
          <p:cNvSpPr>
            <a:spLocks noGrp="1"/>
          </p:cNvSpPr>
          <p:nvPr>
            <p:ph idx="1"/>
          </p:nvPr>
        </p:nvSpPr>
        <p:spPr bwMode="gray">
          <a:xfrm>
            <a:off x="935038" y="2781388"/>
            <a:ext cx="7345362" cy="3240000"/>
          </a:xfrm>
        </p:spPr>
        <p:txBody>
          <a:bodyPr/>
          <a:lstStyle>
            <a:lvl2pPr>
              <a:defRPr/>
            </a:lvl2pPr>
            <a:lvl3pPr>
              <a:defRPr/>
            </a:lvl3pPr>
            <a:lvl4pPr>
              <a:defRPr baseline="0"/>
            </a:lvl4pPr>
            <a:lvl5pPr>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0" name="Espace réservé du texte 9"/>
          <p:cNvSpPr>
            <a:spLocks noGrp="1"/>
          </p:cNvSpPr>
          <p:nvPr>
            <p:ph type="body" sz="quarter" idx="13"/>
          </p:nvPr>
        </p:nvSpPr>
        <p:spPr bwMode="gray">
          <a:xfrm>
            <a:off x="935038" y="1304924"/>
            <a:ext cx="7345362" cy="12600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5" name="Espace réservé de la date 3"/>
          <p:cNvSpPr>
            <a:spLocks noGrp="1"/>
          </p:cNvSpPr>
          <p:nvPr>
            <p:ph type="dt" sz="half" idx="14"/>
          </p:nvPr>
        </p:nvSpPr>
        <p:spPr/>
        <p:txBody>
          <a:bodyPr/>
          <a:lstStyle>
            <a:lvl1pPr>
              <a:defRPr/>
            </a:lvl1pPr>
          </a:lstStyle>
          <a:p>
            <a:pPr>
              <a:defRPr/>
            </a:pPr>
            <a:r>
              <a:rPr lang="en-US">
                <a:solidFill>
                  <a:prstClr val="white">
                    <a:alpha val="0"/>
                  </a:prstClr>
                </a:solidFill>
              </a:rPr>
              <a:t>Date</a:t>
            </a:r>
          </a:p>
        </p:txBody>
      </p:sp>
      <p:sp>
        <p:nvSpPr>
          <p:cNvPr id="6" name="Espace réservé du pied de page 4"/>
          <p:cNvSpPr>
            <a:spLocks noGrp="1"/>
          </p:cNvSpPr>
          <p:nvPr>
            <p:ph type="ftr" sz="quarter" idx="15"/>
          </p:nvPr>
        </p:nvSpPr>
        <p:spPr/>
        <p:txBody>
          <a:bodyPr/>
          <a:lstStyle>
            <a:lvl1pPr>
              <a:defRPr/>
            </a:lvl1pPr>
          </a:lstStyle>
          <a:p>
            <a:pPr>
              <a:defRPr/>
            </a:pPr>
            <a:r>
              <a:rPr lang="en-US">
                <a:solidFill>
                  <a:srgbClr val="005CB9"/>
                </a:solidFill>
              </a:rPr>
              <a:t>#</a:t>
            </a:r>
            <a:r>
              <a:rPr lang="en-US" err="1">
                <a:solidFill>
                  <a:srgbClr val="005CB9"/>
                </a:solidFill>
              </a:rPr>
              <a:t>vaccineswork</a:t>
            </a:r>
            <a:endParaRPr lang="en-US">
              <a:solidFill>
                <a:srgbClr val="005CB9"/>
              </a:solidFill>
            </a:endParaRPr>
          </a:p>
        </p:txBody>
      </p:sp>
      <p:sp>
        <p:nvSpPr>
          <p:cNvPr id="7" name="Espace réservé du numéro de diapositive 5"/>
          <p:cNvSpPr>
            <a:spLocks noGrp="1"/>
          </p:cNvSpPr>
          <p:nvPr>
            <p:ph type="sldNum" sz="quarter" idx="16"/>
          </p:nvPr>
        </p:nvSpPr>
        <p:spPr/>
        <p:txBody>
          <a:bodyPr/>
          <a:lstStyle>
            <a:lvl1pPr>
              <a:defRPr/>
            </a:lvl1pPr>
          </a:lstStyle>
          <a:p>
            <a:pPr>
              <a:defRPr/>
            </a:pPr>
            <a:fld id="{8779425B-3CAA-48C9-9B95-57BAD5A3D82E}" type="slidenum">
              <a:rPr lang="en-US">
                <a:solidFill>
                  <a:srgbClr val="343434"/>
                </a:solidFill>
              </a:rPr>
              <a:pPr>
                <a:defRPr/>
              </a:pPr>
              <a:t>‹#›</a:t>
            </a:fld>
            <a:endParaRPr lang="en-US">
              <a:solidFill>
                <a:srgbClr val="343434"/>
              </a:solidFill>
            </a:endParaRPr>
          </a:p>
        </p:txBody>
      </p:sp>
    </p:spTree>
    <p:extLst>
      <p:ext uri="{BB962C8B-B14F-4D97-AF65-F5344CB8AC3E}">
        <p14:creationId xmlns:p14="http://schemas.microsoft.com/office/powerpoint/2010/main" val="1223202818"/>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Thank_you_1">
    <p:spTree>
      <p:nvGrpSpPr>
        <p:cNvPr id="1" name=""/>
        <p:cNvGrpSpPr/>
        <p:nvPr/>
      </p:nvGrpSpPr>
      <p:grpSpPr>
        <a:xfrm>
          <a:off x="0" y="0"/>
          <a:ext cx="0" cy="0"/>
          <a:chOff x="0" y="0"/>
          <a:chExt cx="0" cy="0"/>
        </a:xfrm>
      </p:grpSpPr>
      <p:pic>
        <p:nvPicPr>
          <p:cNvPr id="5" name="Image 18" descr="FD_1_L254.png"/>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gray">
          <a:xfrm>
            <a:off x="0" y="0"/>
            <a:ext cx="9144000" cy="51577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6" name="Rectangle 5"/>
          <p:cNvSpPr/>
          <p:nvPr userDrawn="1"/>
        </p:nvSpPr>
        <p:spPr bwMode="gray">
          <a:xfrm>
            <a:off x="3635375" y="5265738"/>
            <a:ext cx="5508625" cy="15922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prstClr val="white"/>
              </a:solidFill>
            </a:endParaRPr>
          </a:p>
        </p:txBody>
      </p:sp>
      <p:pic>
        <p:nvPicPr>
          <p:cNvPr id="7" name="Image 19" descr="Bas_couv.png"/>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gray">
          <a:xfrm>
            <a:off x="0" y="5172075"/>
            <a:ext cx="3635375" cy="16859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8" name="Rectangle 7"/>
          <p:cNvSpPr/>
          <p:nvPr userDrawn="1"/>
        </p:nvSpPr>
        <p:spPr bwMode="gray">
          <a:xfrm>
            <a:off x="3635375" y="6354763"/>
            <a:ext cx="5113338" cy="2873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p>
            <a:pPr algn="r">
              <a:defRPr/>
            </a:pPr>
            <a:r>
              <a:rPr lang="en-US" sz="1000" dirty="0" err="1">
                <a:solidFill>
                  <a:srgbClr val="95D600"/>
                </a:solidFill>
              </a:rPr>
              <a:t>www.gavi.org</a:t>
            </a:r>
            <a:endParaRPr lang="en-US" sz="1000" dirty="0">
              <a:solidFill>
                <a:srgbClr val="95D600"/>
              </a:solidFill>
            </a:endParaRPr>
          </a:p>
        </p:txBody>
      </p:sp>
      <p:cxnSp>
        <p:nvCxnSpPr>
          <p:cNvPr id="10" name="Connecteur droit 13"/>
          <p:cNvCxnSpPr/>
          <p:nvPr userDrawn="1"/>
        </p:nvCxnSpPr>
        <p:spPr bwMode="gray">
          <a:xfrm flipH="1">
            <a:off x="468313" y="3400425"/>
            <a:ext cx="2447925" cy="0"/>
          </a:xfrm>
          <a:prstGeom prst="line">
            <a:avLst/>
          </a:prstGeom>
          <a:ln w="24130">
            <a:solidFill>
              <a:schemeClr val="accent1"/>
            </a:solidFill>
          </a:ln>
        </p:spPr>
        <p:style>
          <a:lnRef idx="1">
            <a:schemeClr val="accent1"/>
          </a:lnRef>
          <a:fillRef idx="0">
            <a:schemeClr val="accent1"/>
          </a:fillRef>
          <a:effectRef idx="0">
            <a:schemeClr val="accent1"/>
          </a:effectRef>
          <a:fontRef idx="minor">
            <a:schemeClr val="tx1"/>
          </a:fontRef>
        </p:style>
      </p:cxnSp>
      <p:sp>
        <p:nvSpPr>
          <p:cNvPr id="9" name="Espace réservé du texte 8"/>
          <p:cNvSpPr>
            <a:spLocks noGrp="1"/>
          </p:cNvSpPr>
          <p:nvPr>
            <p:ph type="body" sz="quarter" idx="13"/>
          </p:nvPr>
        </p:nvSpPr>
        <p:spPr bwMode="gray">
          <a:xfrm>
            <a:off x="468314" y="1036638"/>
            <a:ext cx="4824412" cy="2242966"/>
          </a:xfrm>
        </p:spPr>
        <p:txBody>
          <a:bodyPr anchor="b"/>
          <a:lstStyle>
            <a:lvl1pPr marL="0" indent="0" algn="l">
              <a:lnSpc>
                <a:spcPct val="90000"/>
              </a:lnSpc>
              <a:buNone/>
              <a:defRPr sz="2800" b="1" cap="none" baseline="0">
                <a:solidFill>
                  <a:schemeClr val="bg1"/>
                </a:solidFill>
              </a:defRPr>
            </a:lvl1pPr>
            <a:lvl2pPr marL="0" algn="ctr">
              <a:lnSpc>
                <a:spcPct val="100000"/>
              </a:lnSpc>
              <a:spcBef>
                <a:spcPts val="6900"/>
              </a:spcBef>
              <a:defRPr sz="2000" b="1">
                <a:solidFill>
                  <a:schemeClr val="bg1"/>
                </a:solidFill>
              </a:defRPr>
            </a:lvl2pPr>
          </a:lstStyle>
          <a:p>
            <a:pPr lvl="0"/>
            <a:r>
              <a:rPr lang="en-US" noProof="0" smtClean="0"/>
              <a:t>Click to edit Master text styles</a:t>
            </a:r>
          </a:p>
        </p:txBody>
      </p:sp>
      <p:sp>
        <p:nvSpPr>
          <p:cNvPr id="15" name="Espace réservé du texte 14"/>
          <p:cNvSpPr>
            <a:spLocks noGrp="1"/>
          </p:cNvSpPr>
          <p:nvPr>
            <p:ph type="body" sz="quarter" idx="19"/>
          </p:nvPr>
        </p:nvSpPr>
        <p:spPr bwMode="gray">
          <a:xfrm>
            <a:off x="3635376" y="6021388"/>
            <a:ext cx="5113338" cy="324000"/>
          </a:xfrm>
        </p:spPr>
        <p:txBody>
          <a:bodyPr anchor="b"/>
          <a:lstStyle>
            <a:lvl1pPr algn="r">
              <a:lnSpc>
                <a:spcPct val="100000"/>
              </a:lnSpc>
              <a:defRPr sz="1000" b="1">
                <a:solidFill>
                  <a:schemeClr val="accent3"/>
                </a:solidFill>
              </a:defRPr>
            </a:lvl1pPr>
          </a:lstStyle>
          <a:p>
            <a:pPr lvl="0"/>
            <a:r>
              <a:rPr lang="en-US" noProof="0" smtClean="0"/>
              <a:t>Click to edit Master text styles</a:t>
            </a:r>
          </a:p>
        </p:txBody>
      </p:sp>
      <p:sp>
        <p:nvSpPr>
          <p:cNvPr id="13" name="Espace réservé pour une image  17"/>
          <p:cNvSpPr>
            <a:spLocks noGrp="1"/>
          </p:cNvSpPr>
          <p:nvPr>
            <p:ph type="pic" sz="quarter" idx="18"/>
          </p:nvPr>
        </p:nvSpPr>
        <p:spPr bwMode="gray">
          <a:xfrm>
            <a:off x="4192588" y="0"/>
            <a:ext cx="4951412" cy="5162400"/>
          </a:xfrm>
          <a:custGeom>
            <a:avLst/>
            <a:gdLst>
              <a:gd name="connsiteX0" fmla="*/ 0 w 3851275"/>
              <a:gd name="connsiteY0" fmla="*/ 0 h 5157788"/>
              <a:gd name="connsiteX1" fmla="*/ 3851275 w 3851275"/>
              <a:gd name="connsiteY1" fmla="*/ 0 h 5157788"/>
              <a:gd name="connsiteX2" fmla="*/ 3851275 w 3851275"/>
              <a:gd name="connsiteY2" fmla="*/ 5157788 h 5157788"/>
              <a:gd name="connsiteX3" fmla="*/ 0 w 3851275"/>
              <a:gd name="connsiteY3" fmla="*/ 5157788 h 5157788"/>
              <a:gd name="connsiteX4" fmla="*/ 0 w 3851275"/>
              <a:gd name="connsiteY4"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0 w 3851275"/>
              <a:gd name="connsiteY3" fmla="*/ 5157788 h 5157788"/>
              <a:gd name="connsiteX4" fmla="*/ 1692275 w 3851275"/>
              <a:gd name="connsiteY4" fmla="*/ 0 h 5157788"/>
              <a:gd name="connsiteX0" fmla="*/ 0 w 2159000"/>
              <a:gd name="connsiteY0" fmla="*/ 0 h 5157788"/>
              <a:gd name="connsiteX1" fmla="*/ 2159000 w 2159000"/>
              <a:gd name="connsiteY1" fmla="*/ 0 h 5157788"/>
              <a:gd name="connsiteX2" fmla="*/ 2159000 w 2159000"/>
              <a:gd name="connsiteY2" fmla="*/ 5157788 h 5157788"/>
              <a:gd name="connsiteX3" fmla="*/ 0 w 2159000"/>
              <a:gd name="connsiteY3" fmla="*/ 5157788 h 5157788"/>
              <a:gd name="connsiteX4" fmla="*/ 0 w 2159000"/>
              <a:gd name="connsiteY4" fmla="*/ 0 h 5157788"/>
              <a:gd name="connsiteX0" fmla="*/ 2625271 w 4784271"/>
              <a:gd name="connsiteY0" fmla="*/ 0 h 5157788"/>
              <a:gd name="connsiteX1" fmla="*/ 4784271 w 4784271"/>
              <a:gd name="connsiteY1" fmla="*/ 0 h 5157788"/>
              <a:gd name="connsiteX2" fmla="*/ 4784271 w 4784271"/>
              <a:gd name="connsiteY2" fmla="*/ 5157788 h 5157788"/>
              <a:gd name="connsiteX3" fmla="*/ 2625271 w 4784271"/>
              <a:gd name="connsiteY3" fmla="*/ 5157788 h 5157788"/>
              <a:gd name="connsiteX4" fmla="*/ 2625271 w 4784271"/>
              <a:gd name="connsiteY4" fmla="*/ 0 h 5157788"/>
              <a:gd name="connsiteX0" fmla="*/ 2625271 w 4784271"/>
              <a:gd name="connsiteY0" fmla="*/ 0 h 5157788"/>
              <a:gd name="connsiteX1" fmla="*/ 4784271 w 4784271"/>
              <a:gd name="connsiteY1" fmla="*/ 0 h 5157788"/>
              <a:gd name="connsiteX2" fmla="*/ 4784271 w 4784271"/>
              <a:gd name="connsiteY2" fmla="*/ 5157788 h 5157788"/>
              <a:gd name="connsiteX3" fmla="*/ 2625271 w 4784271"/>
              <a:gd name="connsiteY3" fmla="*/ 5157788 h 5157788"/>
              <a:gd name="connsiteX4" fmla="*/ 2625271 w 4784271"/>
              <a:gd name="connsiteY4" fmla="*/ 0 h 5157788"/>
              <a:gd name="connsiteX0" fmla="*/ 3568576 w 5727576"/>
              <a:gd name="connsiteY0" fmla="*/ 0 h 5157788"/>
              <a:gd name="connsiteX1" fmla="*/ 5727576 w 5727576"/>
              <a:gd name="connsiteY1" fmla="*/ 0 h 5157788"/>
              <a:gd name="connsiteX2" fmla="*/ 5727576 w 5727576"/>
              <a:gd name="connsiteY2" fmla="*/ 5157788 h 5157788"/>
              <a:gd name="connsiteX3" fmla="*/ 3568576 w 5727576"/>
              <a:gd name="connsiteY3" fmla="*/ 5157788 h 5157788"/>
              <a:gd name="connsiteX4" fmla="*/ 3568576 w 5727576"/>
              <a:gd name="connsiteY4" fmla="*/ 0 h 5157788"/>
              <a:gd name="connsiteX0" fmla="*/ 3306355 w 5465355"/>
              <a:gd name="connsiteY0" fmla="*/ 0 h 5157788"/>
              <a:gd name="connsiteX1" fmla="*/ 5465355 w 5465355"/>
              <a:gd name="connsiteY1" fmla="*/ 0 h 5157788"/>
              <a:gd name="connsiteX2" fmla="*/ 5465355 w 5465355"/>
              <a:gd name="connsiteY2" fmla="*/ 5157788 h 5157788"/>
              <a:gd name="connsiteX3" fmla="*/ 3306355 w 5465355"/>
              <a:gd name="connsiteY3" fmla="*/ 5157788 h 5157788"/>
              <a:gd name="connsiteX4" fmla="*/ 3306355 w 5465355"/>
              <a:gd name="connsiteY4" fmla="*/ 0 h 5157788"/>
              <a:gd name="connsiteX0" fmla="*/ 1416957 w 3575957"/>
              <a:gd name="connsiteY0" fmla="*/ 0 h 5157788"/>
              <a:gd name="connsiteX1" fmla="*/ 3575957 w 3575957"/>
              <a:gd name="connsiteY1" fmla="*/ 0 h 5157788"/>
              <a:gd name="connsiteX2" fmla="*/ 3575957 w 3575957"/>
              <a:gd name="connsiteY2" fmla="*/ 5157788 h 5157788"/>
              <a:gd name="connsiteX3" fmla="*/ 1416957 w 3575957"/>
              <a:gd name="connsiteY3" fmla="*/ 5157788 h 5157788"/>
              <a:gd name="connsiteX4" fmla="*/ 0 w 3575957"/>
              <a:gd name="connsiteY4" fmla="*/ 3339193 h 5157788"/>
              <a:gd name="connsiteX5" fmla="*/ 1416957 w 3575957"/>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6017419"/>
              <a:gd name="connsiteX1" fmla="*/ 3851275 w 3851275"/>
              <a:gd name="connsiteY1" fmla="*/ 0 h 6017419"/>
              <a:gd name="connsiteX2" fmla="*/ 3851275 w 3851275"/>
              <a:gd name="connsiteY2" fmla="*/ 5157788 h 6017419"/>
              <a:gd name="connsiteX3" fmla="*/ 1692275 w 3851275"/>
              <a:gd name="connsiteY3" fmla="*/ 5157788 h 6017419"/>
              <a:gd name="connsiteX4" fmla="*/ 0 w 3851275"/>
              <a:gd name="connsiteY4" fmla="*/ 3284984 h 6017419"/>
              <a:gd name="connsiteX5" fmla="*/ 1692275 w 3851275"/>
              <a:gd name="connsiteY5" fmla="*/ 0 h 6017419"/>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429000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429000 h 5157788"/>
              <a:gd name="connsiteX5" fmla="*/ 1710871 w 3869871"/>
              <a:gd name="connsiteY5" fmla="*/ 0 h 5157788"/>
              <a:gd name="connsiteX0" fmla="*/ 1704975 w 3863975"/>
              <a:gd name="connsiteY0" fmla="*/ 0 h 5157788"/>
              <a:gd name="connsiteX1" fmla="*/ 3863975 w 3863975"/>
              <a:gd name="connsiteY1" fmla="*/ 0 h 5157788"/>
              <a:gd name="connsiteX2" fmla="*/ 3863975 w 3863975"/>
              <a:gd name="connsiteY2" fmla="*/ 5157788 h 5157788"/>
              <a:gd name="connsiteX3" fmla="*/ 1704975 w 3863975"/>
              <a:gd name="connsiteY3" fmla="*/ 5157788 h 5157788"/>
              <a:gd name="connsiteX4" fmla="*/ 12700 w 3863975"/>
              <a:gd name="connsiteY4" fmla="*/ 3429000 h 5157788"/>
              <a:gd name="connsiteX5" fmla="*/ 1704975 w 3863975"/>
              <a:gd name="connsiteY5" fmla="*/ 0 h 5157788"/>
              <a:gd name="connsiteX0" fmla="*/ 1707243 w 3866243"/>
              <a:gd name="connsiteY0" fmla="*/ 0 h 5157788"/>
              <a:gd name="connsiteX1" fmla="*/ 3866243 w 3866243"/>
              <a:gd name="connsiteY1" fmla="*/ 0 h 5157788"/>
              <a:gd name="connsiteX2" fmla="*/ 3866243 w 3866243"/>
              <a:gd name="connsiteY2" fmla="*/ 5157788 h 5157788"/>
              <a:gd name="connsiteX3" fmla="*/ 1707243 w 3866243"/>
              <a:gd name="connsiteY3" fmla="*/ 5157788 h 5157788"/>
              <a:gd name="connsiteX4" fmla="*/ 14968 w 3866243"/>
              <a:gd name="connsiteY4" fmla="*/ 3429000 h 5157788"/>
              <a:gd name="connsiteX5" fmla="*/ 1707243 w 3866243"/>
              <a:gd name="connsiteY5" fmla="*/ 0 h 5157788"/>
              <a:gd name="connsiteX0" fmla="*/ 1130447 w 3866243"/>
              <a:gd name="connsiteY0" fmla="*/ 0 h 5157788"/>
              <a:gd name="connsiteX1" fmla="*/ 3866243 w 3866243"/>
              <a:gd name="connsiteY1" fmla="*/ 0 h 5157788"/>
              <a:gd name="connsiteX2" fmla="*/ 3866243 w 3866243"/>
              <a:gd name="connsiteY2" fmla="*/ 5157788 h 5157788"/>
              <a:gd name="connsiteX3" fmla="*/ 1707243 w 3866243"/>
              <a:gd name="connsiteY3" fmla="*/ 5157788 h 5157788"/>
              <a:gd name="connsiteX4" fmla="*/ 14968 w 3866243"/>
              <a:gd name="connsiteY4" fmla="*/ 3429000 h 5157788"/>
              <a:gd name="connsiteX5" fmla="*/ 1130447 w 3866243"/>
              <a:gd name="connsiteY5" fmla="*/ 0 h 5157788"/>
              <a:gd name="connsiteX0" fmla="*/ 2746143 w 5481939"/>
              <a:gd name="connsiteY0" fmla="*/ 0 h 5157788"/>
              <a:gd name="connsiteX1" fmla="*/ 5481939 w 5481939"/>
              <a:gd name="connsiteY1" fmla="*/ 0 h 5157788"/>
              <a:gd name="connsiteX2" fmla="*/ 5481939 w 5481939"/>
              <a:gd name="connsiteY2" fmla="*/ 5157788 h 5157788"/>
              <a:gd name="connsiteX3" fmla="*/ 585903 w 5481939"/>
              <a:gd name="connsiteY3" fmla="*/ 5153180 h 5157788"/>
              <a:gd name="connsiteX4" fmla="*/ 1630664 w 5481939"/>
              <a:gd name="connsiteY4" fmla="*/ 3429000 h 5157788"/>
              <a:gd name="connsiteX5" fmla="*/ 2746143 w 5481939"/>
              <a:gd name="connsiteY5" fmla="*/ 0 h 5157788"/>
              <a:gd name="connsiteX0" fmla="*/ 2746143 w 5481939"/>
              <a:gd name="connsiteY0" fmla="*/ 0 h 5157788"/>
              <a:gd name="connsiteX1" fmla="*/ 5481939 w 5481939"/>
              <a:gd name="connsiteY1" fmla="*/ 0 h 5157788"/>
              <a:gd name="connsiteX2" fmla="*/ 5481939 w 5481939"/>
              <a:gd name="connsiteY2" fmla="*/ 5157788 h 5157788"/>
              <a:gd name="connsiteX3" fmla="*/ 585903 w 5481939"/>
              <a:gd name="connsiteY3" fmla="*/ 5153180 h 5157788"/>
              <a:gd name="connsiteX4" fmla="*/ 1630664 w 5481939"/>
              <a:gd name="connsiteY4" fmla="*/ 3429000 h 5157788"/>
              <a:gd name="connsiteX5" fmla="*/ 2746143 w 548193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3574235 w 6310031"/>
              <a:gd name="connsiteY0" fmla="*/ 0 h 5157788"/>
              <a:gd name="connsiteX1" fmla="*/ 6310031 w 6310031"/>
              <a:gd name="connsiteY1" fmla="*/ 0 h 5157788"/>
              <a:gd name="connsiteX2" fmla="*/ 6310031 w 6310031"/>
              <a:gd name="connsiteY2" fmla="*/ 5157788 h 5157788"/>
              <a:gd name="connsiteX3" fmla="*/ 585903 w 6310031"/>
              <a:gd name="connsiteY3" fmla="*/ 5153180 h 5157788"/>
              <a:gd name="connsiteX4" fmla="*/ 1738031 w 6310031"/>
              <a:gd name="connsiteY4" fmla="*/ 3389965 h 5157788"/>
              <a:gd name="connsiteX5" fmla="*/ 3574235 w 6310031"/>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296143 w 5724128"/>
              <a:gd name="connsiteY4" fmla="*/ 3461908 h 5157788"/>
              <a:gd name="connsiteX5" fmla="*/ 2988332 w 5724128"/>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1188132 w 5760132"/>
              <a:gd name="connsiteY4" fmla="*/ 3425937 h 5157788"/>
              <a:gd name="connsiteX5" fmla="*/ 3024336 w 5760132"/>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2736304 w 5760132"/>
              <a:gd name="connsiteY4" fmla="*/ 3461908 h 5157788"/>
              <a:gd name="connsiteX5" fmla="*/ 3024336 w 5760132"/>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2736304 w 5760132"/>
              <a:gd name="connsiteY4" fmla="*/ 3461908 h 5157788"/>
              <a:gd name="connsiteX5" fmla="*/ 3024336 w 5760132"/>
              <a:gd name="connsiteY5" fmla="*/ 0 h 5157788"/>
              <a:gd name="connsiteX0" fmla="*/ 2160240 w 4896036"/>
              <a:gd name="connsiteY0" fmla="*/ 0 h 5157788"/>
              <a:gd name="connsiteX1" fmla="*/ 4896036 w 4896036"/>
              <a:gd name="connsiteY1" fmla="*/ 0 h 5157788"/>
              <a:gd name="connsiteX2" fmla="*/ 4896036 w 4896036"/>
              <a:gd name="connsiteY2" fmla="*/ 5157788 h 5157788"/>
              <a:gd name="connsiteX3" fmla="*/ 0 w 4896036"/>
              <a:gd name="connsiteY3" fmla="*/ 5153180 h 5157788"/>
              <a:gd name="connsiteX4" fmla="*/ 1872208 w 4896036"/>
              <a:gd name="connsiteY4" fmla="*/ 3461908 h 5157788"/>
              <a:gd name="connsiteX5" fmla="*/ 2160240 w 4896036"/>
              <a:gd name="connsiteY5" fmla="*/ 0 h 5157788"/>
              <a:gd name="connsiteX0" fmla="*/ 2232248 w 4968044"/>
              <a:gd name="connsiteY0" fmla="*/ 0 h 5157788"/>
              <a:gd name="connsiteX1" fmla="*/ 4968044 w 4968044"/>
              <a:gd name="connsiteY1" fmla="*/ 0 h 5157788"/>
              <a:gd name="connsiteX2" fmla="*/ 4968044 w 4968044"/>
              <a:gd name="connsiteY2" fmla="*/ 5157788 h 5157788"/>
              <a:gd name="connsiteX3" fmla="*/ 0 w 4968044"/>
              <a:gd name="connsiteY3" fmla="*/ 5153180 h 5157788"/>
              <a:gd name="connsiteX4" fmla="*/ 1944216 w 4968044"/>
              <a:gd name="connsiteY4" fmla="*/ 3461908 h 5157788"/>
              <a:gd name="connsiteX5" fmla="*/ 2232248 w 4968044"/>
              <a:gd name="connsiteY5" fmla="*/ 0 h 5157788"/>
              <a:gd name="connsiteX0" fmla="*/ 2207679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207679 w 4943475"/>
              <a:gd name="connsiteY5" fmla="*/ 0 h 5157788"/>
              <a:gd name="connsiteX0" fmla="*/ 2963763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963763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092200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71575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343583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675731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675731 w 4943475"/>
              <a:gd name="connsiteY5" fmla="*/ 0 h 5157788"/>
              <a:gd name="connsiteX0" fmla="*/ 2675731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675731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9672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19672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51412" h="5157788">
                <a:moveTo>
                  <a:pt x="2706687" y="0"/>
                </a:moveTo>
                <a:lnTo>
                  <a:pt x="4951412" y="0"/>
                </a:lnTo>
                <a:lnTo>
                  <a:pt x="4951412" y="5157788"/>
                </a:lnTo>
                <a:lnTo>
                  <a:pt x="0" y="5153180"/>
                </a:lnTo>
                <a:cubicBezTo>
                  <a:pt x="84411" y="4542509"/>
                  <a:pt x="183041" y="4024723"/>
                  <a:pt x="1243508" y="2562613"/>
                </a:cubicBezTo>
                <a:cubicBezTo>
                  <a:pt x="1867447" y="1704780"/>
                  <a:pt x="2665955" y="709265"/>
                  <a:pt x="2706687" y="0"/>
                </a:cubicBezTo>
                <a:close/>
              </a:path>
            </a:pathLst>
          </a:custGeom>
          <a:solidFill>
            <a:schemeClr val="bg2"/>
          </a:solidFill>
          <a:ln w="3175">
            <a:noFill/>
          </a:ln>
        </p:spPr>
        <p:txBody>
          <a:bodyPr tIns="720000" rtlCol="0" anchor="ctr">
            <a:noAutofit/>
          </a:bodyPr>
          <a:lstStyle>
            <a:lvl1pPr algn="ctr">
              <a:defRPr sz="1500">
                <a:solidFill>
                  <a:schemeClr val="bg1"/>
                </a:solidFill>
              </a:defRPr>
            </a:lvl1pPr>
          </a:lstStyle>
          <a:p>
            <a:pPr lvl="0"/>
            <a:r>
              <a:rPr lang="en-US" noProof="0" smtClean="0"/>
              <a:t>Click icon to add picture</a:t>
            </a:r>
            <a:endParaRPr lang="en-US" noProof="0" dirty="0"/>
          </a:p>
        </p:txBody>
      </p:sp>
      <p:sp>
        <p:nvSpPr>
          <p:cNvPr id="11" name="Espace réservé de la date 9"/>
          <p:cNvSpPr>
            <a:spLocks noGrp="1"/>
          </p:cNvSpPr>
          <p:nvPr>
            <p:ph type="dt" sz="half" idx="20"/>
          </p:nvPr>
        </p:nvSpPr>
        <p:spPr/>
        <p:txBody>
          <a:bodyPr/>
          <a:lstStyle>
            <a:lvl1pPr>
              <a:defRPr/>
            </a:lvl1pPr>
          </a:lstStyle>
          <a:p>
            <a:pPr>
              <a:defRPr/>
            </a:pPr>
            <a:r>
              <a:rPr lang="en-US">
                <a:solidFill>
                  <a:prstClr val="white">
                    <a:alpha val="0"/>
                  </a:prstClr>
                </a:solidFill>
              </a:rPr>
              <a:t>Date</a:t>
            </a:r>
          </a:p>
        </p:txBody>
      </p:sp>
      <p:sp>
        <p:nvSpPr>
          <p:cNvPr id="12" name="Espace réservé du numéro de diapositive 10"/>
          <p:cNvSpPr>
            <a:spLocks noGrp="1"/>
          </p:cNvSpPr>
          <p:nvPr>
            <p:ph type="sldNum" sz="quarter" idx="21"/>
          </p:nvPr>
        </p:nvSpPr>
        <p:spPr/>
        <p:txBody>
          <a:bodyPr/>
          <a:lstStyle>
            <a:lvl1pPr>
              <a:defRPr sz="100">
                <a:solidFill>
                  <a:schemeClr val="bg1">
                    <a:alpha val="0"/>
                  </a:schemeClr>
                </a:solidFill>
              </a:defRPr>
            </a:lvl1pPr>
          </a:lstStyle>
          <a:p>
            <a:pPr>
              <a:defRPr/>
            </a:pPr>
            <a:r>
              <a:rPr lang="en-US">
                <a:solidFill>
                  <a:prstClr val="white">
                    <a:alpha val="0"/>
                  </a:prstClr>
                </a:solidFill>
              </a:rPr>
              <a:t>Page: </a:t>
            </a:r>
            <a:fld id="{4AF4F797-1FBC-44F9-B7CF-6A5F893B852E}" type="slidenum">
              <a:rPr lang="en-US">
                <a:solidFill>
                  <a:prstClr val="white">
                    <a:alpha val="0"/>
                  </a:prstClr>
                </a:solidFill>
              </a:rPr>
              <a:pPr>
                <a:defRPr/>
              </a:pPr>
              <a:t>‹#›</a:t>
            </a:fld>
            <a:endParaRPr lang="en-US">
              <a:solidFill>
                <a:prstClr val="white">
                  <a:alpha val="0"/>
                </a:prstClr>
              </a:solidFill>
            </a:endParaRPr>
          </a:p>
        </p:txBody>
      </p:sp>
      <p:sp>
        <p:nvSpPr>
          <p:cNvPr id="14" name="Espace réservé du pied de page 11"/>
          <p:cNvSpPr>
            <a:spLocks noGrp="1"/>
          </p:cNvSpPr>
          <p:nvPr>
            <p:ph type="ftr" sz="quarter" idx="22"/>
          </p:nvPr>
        </p:nvSpPr>
        <p:spPr>
          <a:xfrm>
            <a:off x="468313" y="523875"/>
            <a:ext cx="4824412" cy="360363"/>
          </a:xfrm>
        </p:spPr>
        <p:txBody>
          <a:bodyPr/>
          <a:lstStyle>
            <a:lvl1pPr algn="l">
              <a:defRPr sz="1800" b="0">
                <a:solidFill>
                  <a:schemeClr val="bg1"/>
                </a:solidFill>
              </a:defRPr>
            </a:lvl1pPr>
          </a:lstStyle>
          <a:p>
            <a:pPr>
              <a:defRPr/>
            </a:pPr>
            <a:r>
              <a:rPr lang="en-US">
                <a:solidFill>
                  <a:prstClr val="white"/>
                </a:solidFill>
              </a:rPr>
              <a:t>#</a:t>
            </a:r>
            <a:r>
              <a:rPr lang="en-US" err="1">
                <a:solidFill>
                  <a:prstClr val="white"/>
                </a:solidFill>
              </a:rPr>
              <a:t>vaccineswork</a:t>
            </a:r>
            <a:endParaRPr lang="en-US">
              <a:solidFill>
                <a:prstClr val="white"/>
              </a:solidFill>
            </a:endParaRPr>
          </a:p>
        </p:txBody>
      </p:sp>
    </p:spTree>
    <p:extLst>
      <p:ext uri="{BB962C8B-B14F-4D97-AF65-F5344CB8AC3E}">
        <p14:creationId xmlns:p14="http://schemas.microsoft.com/office/powerpoint/2010/main" val="1613891702"/>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Thank_you_2">
    <p:spTree>
      <p:nvGrpSpPr>
        <p:cNvPr id="1" name=""/>
        <p:cNvGrpSpPr/>
        <p:nvPr/>
      </p:nvGrpSpPr>
      <p:grpSpPr>
        <a:xfrm>
          <a:off x="0" y="0"/>
          <a:ext cx="0" cy="0"/>
          <a:chOff x="0" y="0"/>
          <a:chExt cx="0" cy="0"/>
        </a:xfrm>
      </p:grpSpPr>
      <p:sp>
        <p:nvSpPr>
          <p:cNvPr id="5" name="Rectangle 4"/>
          <p:cNvSpPr/>
          <p:nvPr userDrawn="1"/>
        </p:nvSpPr>
        <p:spPr bwMode="gray">
          <a:xfrm>
            <a:off x="3635375" y="5265738"/>
            <a:ext cx="5508625" cy="15922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prstClr val="white"/>
              </a:solidFill>
            </a:endParaRPr>
          </a:p>
        </p:txBody>
      </p:sp>
      <p:pic>
        <p:nvPicPr>
          <p:cNvPr id="6" name="Image 20" descr="FD_1_L254.png"/>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gray">
          <a:xfrm>
            <a:off x="0" y="0"/>
            <a:ext cx="9144000" cy="51577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7" name="Image 19" descr="Bas_couv.png"/>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gray">
          <a:xfrm>
            <a:off x="0" y="5172075"/>
            <a:ext cx="3635375" cy="16859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8" name="Rectangle 7"/>
          <p:cNvSpPr/>
          <p:nvPr userDrawn="1"/>
        </p:nvSpPr>
        <p:spPr bwMode="gray">
          <a:xfrm>
            <a:off x="3635375" y="6354763"/>
            <a:ext cx="5113338" cy="2873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p>
            <a:pPr algn="r">
              <a:defRPr/>
            </a:pPr>
            <a:r>
              <a:rPr lang="en-US" sz="1000" dirty="0" err="1">
                <a:solidFill>
                  <a:srgbClr val="95D600"/>
                </a:solidFill>
              </a:rPr>
              <a:t>www.gavi.org</a:t>
            </a:r>
            <a:endParaRPr lang="en-US" sz="1000" dirty="0">
              <a:solidFill>
                <a:srgbClr val="95D600"/>
              </a:solidFill>
            </a:endParaRPr>
          </a:p>
        </p:txBody>
      </p:sp>
      <p:cxnSp>
        <p:nvCxnSpPr>
          <p:cNvPr id="10" name="Connecteur droit 13"/>
          <p:cNvCxnSpPr/>
          <p:nvPr userDrawn="1"/>
        </p:nvCxnSpPr>
        <p:spPr bwMode="gray">
          <a:xfrm flipH="1">
            <a:off x="468313" y="3402013"/>
            <a:ext cx="2447925" cy="0"/>
          </a:xfrm>
          <a:prstGeom prst="line">
            <a:avLst/>
          </a:prstGeom>
          <a:ln w="24130">
            <a:solidFill>
              <a:schemeClr val="accent1"/>
            </a:solidFill>
          </a:ln>
        </p:spPr>
        <p:style>
          <a:lnRef idx="1">
            <a:schemeClr val="accent1"/>
          </a:lnRef>
          <a:fillRef idx="0">
            <a:schemeClr val="accent1"/>
          </a:fillRef>
          <a:effectRef idx="0">
            <a:schemeClr val="accent1"/>
          </a:effectRef>
          <a:fontRef idx="minor">
            <a:schemeClr val="tx1"/>
          </a:fontRef>
        </p:style>
      </p:cxnSp>
      <p:sp>
        <p:nvSpPr>
          <p:cNvPr id="9" name="Espace réservé du texte 8"/>
          <p:cNvSpPr>
            <a:spLocks noGrp="1"/>
          </p:cNvSpPr>
          <p:nvPr>
            <p:ph type="body" sz="quarter" idx="13"/>
          </p:nvPr>
        </p:nvSpPr>
        <p:spPr bwMode="gray">
          <a:xfrm>
            <a:off x="468314" y="1036800"/>
            <a:ext cx="4824000" cy="2242800"/>
          </a:xfrm>
        </p:spPr>
        <p:txBody>
          <a:bodyPr anchor="b"/>
          <a:lstStyle>
            <a:lvl1pPr marL="0" indent="0" algn="l">
              <a:lnSpc>
                <a:spcPct val="90000"/>
              </a:lnSpc>
              <a:buNone/>
              <a:defRPr sz="2800" b="1" cap="none" baseline="0">
                <a:solidFill>
                  <a:schemeClr val="bg1"/>
                </a:solidFill>
              </a:defRPr>
            </a:lvl1pPr>
            <a:lvl2pPr marL="0" algn="ctr">
              <a:lnSpc>
                <a:spcPct val="100000"/>
              </a:lnSpc>
              <a:spcBef>
                <a:spcPts val="6900"/>
              </a:spcBef>
              <a:defRPr sz="2000" b="1">
                <a:solidFill>
                  <a:schemeClr val="bg1"/>
                </a:solidFill>
              </a:defRPr>
            </a:lvl2pPr>
          </a:lstStyle>
          <a:p>
            <a:pPr lvl="0"/>
            <a:r>
              <a:rPr lang="en-US" noProof="0" smtClean="0"/>
              <a:t>Click to edit Master text styles</a:t>
            </a:r>
          </a:p>
        </p:txBody>
      </p:sp>
      <p:sp>
        <p:nvSpPr>
          <p:cNvPr id="15" name="Espace réservé du texte 14"/>
          <p:cNvSpPr>
            <a:spLocks noGrp="1"/>
          </p:cNvSpPr>
          <p:nvPr>
            <p:ph type="body" sz="quarter" idx="19"/>
          </p:nvPr>
        </p:nvSpPr>
        <p:spPr bwMode="gray">
          <a:xfrm>
            <a:off x="3635376" y="6021388"/>
            <a:ext cx="5113338" cy="324000"/>
          </a:xfrm>
        </p:spPr>
        <p:txBody>
          <a:bodyPr anchor="b"/>
          <a:lstStyle>
            <a:lvl1pPr algn="r">
              <a:lnSpc>
                <a:spcPct val="100000"/>
              </a:lnSpc>
              <a:defRPr sz="1000" b="1">
                <a:solidFill>
                  <a:schemeClr val="accent3"/>
                </a:solidFill>
              </a:defRPr>
            </a:lvl1pPr>
          </a:lstStyle>
          <a:p>
            <a:pPr lvl="0"/>
            <a:r>
              <a:rPr lang="en-US" noProof="0" smtClean="0"/>
              <a:t>Click to edit Master text styles</a:t>
            </a:r>
          </a:p>
        </p:txBody>
      </p:sp>
      <p:sp>
        <p:nvSpPr>
          <p:cNvPr id="13" name="Espace réservé pour une image  17"/>
          <p:cNvSpPr>
            <a:spLocks noGrp="1"/>
          </p:cNvSpPr>
          <p:nvPr>
            <p:ph type="pic" sz="quarter" idx="18"/>
          </p:nvPr>
        </p:nvSpPr>
        <p:spPr bwMode="gray">
          <a:xfrm>
            <a:off x="4192588" y="0"/>
            <a:ext cx="4951412" cy="5162400"/>
          </a:xfrm>
          <a:custGeom>
            <a:avLst/>
            <a:gdLst>
              <a:gd name="connsiteX0" fmla="*/ 0 w 3851275"/>
              <a:gd name="connsiteY0" fmla="*/ 0 h 5157788"/>
              <a:gd name="connsiteX1" fmla="*/ 3851275 w 3851275"/>
              <a:gd name="connsiteY1" fmla="*/ 0 h 5157788"/>
              <a:gd name="connsiteX2" fmla="*/ 3851275 w 3851275"/>
              <a:gd name="connsiteY2" fmla="*/ 5157788 h 5157788"/>
              <a:gd name="connsiteX3" fmla="*/ 0 w 3851275"/>
              <a:gd name="connsiteY3" fmla="*/ 5157788 h 5157788"/>
              <a:gd name="connsiteX4" fmla="*/ 0 w 3851275"/>
              <a:gd name="connsiteY4"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0 w 3851275"/>
              <a:gd name="connsiteY3" fmla="*/ 5157788 h 5157788"/>
              <a:gd name="connsiteX4" fmla="*/ 1692275 w 3851275"/>
              <a:gd name="connsiteY4" fmla="*/ 0 h 5157788"/>
              <a:gd name="connsiteX0" fmla="*/ 0 w 2159000"/>
              <a:gd name="connsiteY0" fmla="*/ 0 h 5157788"/>
              <a:gd name="connsiteX1" fmla="*/ 2159000 w 2159000"/>
              <a:gd name="connsiteY1" fmla="*/ 0 h 5157788"/>
              <a:gd name="connsiteX2" fmla="*/ 2159000 w 2159000"/>
              <a:gd name="connsiteY2" fmla="*/ 5157788 h 5157788"/>
              <a:gd name="connsiteX3" fmla="*/ 0 w 2159000"/>
              <a:gd name="connsiteY3" fmla="*/ 5157788 h 5157788"/>
              <a:gd name="connsiteX4" fmla="*/ 0 w 2159000"/>
              <a:gd name="connsiteY4" fmla="*/ 0 h 5157788"/>
              <a:gd name="connsiteX0" fmla="*/ 2625271 w 4784271"/>
              <a:gd name="connsiteY0" fmla="*/ 0 h 5157788"/>
              <a:gd name="connsiteX1" fmla="*/ 4784271 w 4784271"/>
              <a:gd name="connsiteY1" fmla="*/ 0 h 5157788"/>
              <a:gd name="connsiteX2" fmla="*/ 4784271 w 4784271"/>
              <a:gd name="connsiteY2" fmla="*/ 5157788 h 5157788"/>
              <a:gd name="connsiteX3" fmla="*/ 2625271 w 4784271"/>
              <a:gd name="connsiteY3" fmla="*/ 5157788 h 5157788"/>
              <a:gd name="connsiteX4" fmla="*/ 2625271 w 4784271"/>
              <a:gd name="connsiteY4" fmla="*/ 0 h 5157788"/>
              <a:gd name="connsiteX0" fmla="*/ 2625271 w 4784271"/>
              <a:gd name="connsiteY0" fmla="*/ 0 h 5157788"/>
              <a:gd name="connsiteX1" fmla="*/ 4784271 w 4784271"/>
              <a:gd name="connsiteY1" fmla="*/ 0 h 5157788"/>
              <a:gd name="connsiteX2" fmla="*/ 4784271 w 4784271"/>
              <a:gd name="connsiteY2" fmla="*/ 5157788 h 5157788"/>
              <a:gd name="connsiteX3" fmla="*/ 2625271 w 4784271"/>
              <a:gd name="connsiteY3" fmla="*/ 5157788 h 5157788"/>
              <a:gd name="connsiteX4" fmla="*/ 2625271 w 4784271"/>
              <a:gd name="connsiteY4" fmla="*/ 0 h 5157788"/>
              <a:gd name="connsiteX0" fmla="*/ 3568576 w 5727576"/>
              <a:gd name="connsiteY0" fmla="*/ 0 h 5157788"/>
              <a:gd name="connsiteX1" fmla="*/ 5727576 w 5727576"/>
              <a:gd name="connsiteY1" fmla="*/ 0 h 5157788"/>
              <a:gd name="connsiteX2" fmla="*/ 5727576 w 5727576"/>
              <a:gd name="connsiteY2" fmla="*/ 5157788 h 5157788"/>
              <a:gd name="connsiteX3" fmla="*/ 3568576 w 5727576"/>
              <a:gd name="connsiteY3" fmla="*/ 5157788 h 5157788"/>
              <a:gd name="connsiteX4" fmla="*/ 3568576 w 5727576"/>
              <a:gd name="connsiteY4" fmla="*/ 0 h 5157788"/>
              <a:gd name="connsiteX0" fmla="*/ 3306355 w 5465355"/>
              <a:gd name="connsiteY0" fmla="*/ 0 h 5157788"/>
              <a:gd name="connsiteX1" fmla="*/ 5465355 w 5465355"/>
              <a:gd name="connsiteY1" fmla="*/ 0 h 5157788"/>
              <a:gd name="connsiteX2" fmla="*/ 5465355 w 5465355"/>
              <a:gd name="connsiteY2" fmla="*/ 5157788 h 5157788"/>
              <a:gd name="connsiteX3" fmla="*/ 3306355 w 5465355"/>
              <a:gd name="connsiteY3" fmla="*/ 5157788 h 5157788"/>
              <a:gd name="connsiteX4" fmla="*/ 3306355 w 5465355"/>
              <a:gd name="connsiteY4" fmla="*/ 0 h 5157788"/>
              <a:gd name="connsiteX0" fmla="*/ 1416957 w 3575957"/>
              <a:gd name="connsiteY0" fmla="*/ 0 h 5157788"/>
              <a:gd name="connsiteX1" fmla="*/ 3575957 w 3575957"/>
              <a:gd name="connsiteY1" fmla="*/ 0 h 5157788"/>
              <a:gd name="connsiteX2" fmla="*/ 3575957 w 3575957"/>
              <a:gd name="connsiteY2" fmla="*/ 5157788 h 5157788"/>
              <a:gd name="connsiteX3" fmla="*/ 1416957 w 3575957"/>
              <a:gd name="connsiteY3" fmla="*/ 5157788 h 5157788"/>
              <a:gd name="connsiteX4" fmla="*/ 0 w 3575957"/>
              <a:gd name="connsiteY4" fmla="*/ 3339193 h 5157788"/>
              <a:gd name="connsiteX5" fmla="*/ 1416957 w 3575957"/>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6017419"/>
              <a:gd name="connsiteX1" fmla="*/ 3851275 w 3851275"/>
              <a:gd name="connsiteY1" fmla="*/ 0 h 6017419"/>
              <a:gd name="connsiteX2" fmla="*/ 3851275 w 3851275"/>
              <a:gd name="connsiteY2" fmla="*/ 5157788 h 6017419"/>
              <a:gd name="connsiteX3" fmla="*/ 1692275 w 3851275"/>
              <a:gd name="connsiteY3" fmla="*/ 5157788 h 6017419"/>
              <a:gd name="connsiteX4" fmla="*/ 0 w 3851275"/>
              <a:gd name="connsiteY4" fmla="*/ 3284984 h 6017419"/>
              <a:gd name="connsiteX5" fmla="*/ 1692275 w 3851275"/>
              <a:gd name="connsiteY5" fmla="*/ 0 h 6017419"/>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429000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429000 h 5157788"/>
              <a:gd name="connsiteX5" fmla="*/ 1710871 w 3869871"/>
              <a:gd name="connsiteY5" fmla="*/ 0 h 5157788"/>
              <a:gd name="connsiteX0" fmla="*/ 1704975 w 3863975"/>
              <a:gd name="connsiteY0" fmla="*/ 0 h 5157788"/>
              <a:gd name="connsiteX1" fmla="*/ 3863975 w 3863975"/>
              <a:gd name="connsiteY1" fmla="*/ 0 h 5157788"/>
              <a:gd name="connsiteX2" fmla="*/ 3863975 w 3863975"/>
              <a:gd name="connsiteY2" fmla="*/ 5157788 h 5157788"/>
              <a:gd name="connsiteX3" fmla="*/ 1704975 w 3863975"/>
              <a:gd name="connsiteY3" fmla="*/ 5157788 h 5157788"/>
              <a:gd name="connsiteX4" fmla="*/ 12700 w 3863975"/>
              <a:gd name="connsiteY4" fmla="*/ 3429000 h 5157788"/>
              <a:gd name="connsiteX5" fmla="*/ 1704975 w 3863975"/>
              <a:gd name="connsiteY5" fmla="*/ 0 h 5157788"/>
              <a:gd name="connsiteX0" fmla="*/ 1707243 w 3866243"/>
              <a:gd name="connsiteY0" fmla="*/ 0 h 5157788"/>
              <a:gd name="connsiteX1" fmla="*/ 3866243 w 3866243"/>
              <a:gd name="connsiteY1" fmla="*/ 0 h 5157788"/>
              <a:gd name="connsiteX2" fmla="*/ 3866243 w 3866243"/>
              <a:gd name="connsiteY2" fmla="*/ 5157788 h 5157788"/>
              <a:gd name="connsiteX3" fmla="*/ 1707243 w 3866243"/>
              <a:gd name="connsiteY3" fmla="*/ 5157788 h 5157788"/>
              <a:gd name="connsiteX4" fmla="*/ 14968 w 3866243"/>
              <a:gd name="connsiteY4" fmla="*/ 3429000 h 5157788"/>
              <a:gd name="connsiteX5" fmla="*/ 1707243 w 3866243"/>
              <a:gd name="connsiteY5" fmla="*/ 0 h 5157788"/>
              <a:gd name="connsiteX0" fmla="*/ 1130447 w 3866243"/>
              <a:gd name="connsiteY0" fmla="*/ 0 h 5157788"/>
              <a:gd name="connsiteX1" fmla="*/ 3866243 w 3866243"/>
              <a:gd name="connsiteY1" fmla="*/ 0 h 5157788"/>
              <a:gd name="connsiteX2" fmla="*/ 3866243 w 3866243"/>
              <a:gd name="connsiteY2" fmla="*/ 5157788 h 5157788"/>
              <a:gd name="connsiteX3" fmla="*/ 1707243 w 3866243"/>
              <a:gd name="connsiteY3" fmla="*/ 5157788 h 5157788"/>
              <a:gd name="connsiteX4" fmla="*/ 14968 w 3866243"/>
              <a:gd name="connsiteY4" fmla="*/ 3429000 h 5157788"/>
              <a:gd name="connsiteX5" fmla="*/ 1130447 w 3866243"/>
              <a:gd name="connsiteY5" fmla="*/ 0 h 5157788"/>
              <a:gd name="connsiteX0" fmla="*/ 2746143 w 5481939"/>
              <a:gd name="connsiteY0" fmla="*/ 0 h 5157788"/>
              <a:gd name="connsiteX1" fmla="*/ 5481939 w 5481939"/>
              <a:gd name="connsiteY1" fmla="*/ 0 h 5157788"/>
              <a:gd name="connsiteX2" fmla="*/ 5481939 w 5481939"/>
              <a:gd name="connsiteY2" fmla="*/ 5157788 h 5157788"/>
              <a:gd name="connsiteX3" fmla="*/ 585903 w 5481939"/>
              <a:gd name="connsiteY3" fmla="*/ 5153180 h 5157788"/>
              <a:gd name="connsiteX4" fmla="*/ 1630664 w 5481939"/>
              <a:gd name="connsiteY4" fmla="*/ 3429000 h 5157788"/>
              <a:gd name="connsiteX5" fmla="*/ 2746143 w 5481939"/>
              <a:gd name="connsiteY5" fmla="*/ 0 h 5157788"/>
              <a:gd name="connsiteX0" fmla="*/ 2746143 w 5481939"/>
              <a:gd name="connsiteY0" fmla="*/ 0 h 5157788"/>
              <a:gd name="connsiteX1" fmla="*/ 5481939 w 5481939"/>
              <a:gd name="connsiteY1" fmla="*/ 0 h 5157788"/>
              <a:gd name="connsiteX2" fmla="*/ 5481939 w 5481939"/>
              <a:gd name="connsiteY2" fmla="*/ 5157788 h 5157788"/>
              <a:gd name="connsiteX3" fmla="*/ 585903 w 5481939"/>
              <a:gd name="connsiteY3" fmla="*/ 5153180 h 5157788"/>
              <a:gd name="connsiteX4" fmla="*/ 1630664 w 5481939"/>
              <a:gd name="connsiteY4" fmla="*/ 3429000 h 5157788"/>
              <a:gd name="connsiteX5" fmla="*/ 2746143 w 548193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3574235 w 6310031"/>
              <a:gd name="connsiteY0" fmla="*/ 0 h 5157788"/>
              <a:gd name="connsiteX1" fmla="*/ 6310031 w 6310031"/>
              <a:gd name="connsiteY1" fmla="*/ 0 h 5157788"/>
              <a:gd name="connsiteX2" fmla="*/ 6310031 w 6310031"/>
              <a:gd name="connsiteY2" fmla="*/ 5157788 h 5157788"/>
              <a:gd name="connsiteX3" fmla="*/ 585903 w 6310031"/>
              <a:gd name="connsiteY3" fmla="*/ 5153180 h 5157788"/>
              <a:gd name="connsiteX4" fmla="*/ 1738031 w 6310031"/>
              <a:gd name="connsiteY4" fmla="*/ 3389965 h 5157788"/>
              <a:gd name="connsiteX5" fmla="*/ 3574235 w 6310031"/>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296143 w 5724128"/>
              <a:gd name="connsiteY4" fmla="*/ 3461908 h 5157788"/>
              <a:gd name="connsiteX5" fmla="*/ 2988332 w 5724128"/>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1188132 w 5760132"/>
              <a:gd name="connsiteY4" fmla="*/ 3425937 h 5157788"/>
              <a:gd name="connsiteX5" fmla="*/ 3024336 w 5760132"/>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2736304 w 5760132"/>
              <a:gd name="connsiteY4" fmla="*/ 3461908 h 5157788"/>
              <a:gd name="connsiteX5" fmla="*/ 3024336 w 5760132"/>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2736304 w 5760132"/>
              <a:gd name="connsiteY4" fmla="*/ 3461908 h 5157788"/>
              <a:gd name="connsiteX5" fmla="*/ 3024336 w 5760132"/>
              <a:gd name="connsiteY5" fmla="*/ 0 h 5157788"/>
              <a:gd name="connsiteX0" fmla="*/ 2160240 w 4896036"/>
              <a:gd name="connsiteY0" fmla="*/ 0 h 5157788"/>
              <a:gd name="connsiteX1" fmla="*/ 4896036 w 4896036"/>
              <a:gd name="connsiteY1" fmla="*/ 0 h 5157788"/>
              <a:gd name="connsiteX2" fmla="*/ 4896036 w 4896036"/>
              <a:gd name="connsiteY2" fmla="*/ 5157788 h 5157788"/>
              <a:gd name="connsiteX3" fmla="*/ 0 w 4896036"/>
              <a:gd name="connsiteY3" fmla="*/ 5153180 h 5157788"/>
              <a:gd name="connsiteX4" fmla="*/ 1872208 w 4896036"/>
              <a:gd name="connsiteY4" fmla="*/ 3461908 h 5157788"/>
              <a:gd name="connsiteX5" fmla="*/ 2160240 w 4896036"/>
              <a:gd name="connsiteY5" fmla="*/ 0 h 5157788"/>
              <a:gd name="connsiteX0" fmla="*/ 2232248 w 4968044"/>
              <a:gd name="connsiteY0" fmla="*/ 0 h 5157788"/>
              <a:gd name="connsiteX1" fmla="*/ 4968044 w 4968044"/>
              <a:gd name="connsiteY1" fmla="*/ 0 h 5157788"/>
              <a:gd name="connsiteX2" fmla="*/ 4968044 w 4968044"/>
              <a:gd name="connsiteY2" fmla="*/ 5157788 h 5157788"/>
              <a:gd name="connsiteX3" fmla="*/ 0 w 4968044"/>
              <a:gd name="connsiteY3" fmla="*/ 5153180 h 5157788"/>
              <a:gd name="connsiteX4" fmla="*/ 1944216 w 4968044"/>
              <a:gd name="connsiteY4" fmla="*/ 3461908 h 5157788"/>
              <a:gd name="connsiteX5" fmla="*/ 2232248 w 4968044"/>
              <a:gd name="connsiteY5" fmla="*/ 0 h 5157788"/>
              <a:gd name="connsiteX0" fmla="*/ 2207679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207679 w 4943475"/>
              <a:gd name="connsiteY5" fmla="*/ 0 h 5157788"/>
              <a:gd name="connsiteX0" fmla="*/ 2963763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963763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092200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71575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343583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675731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675731 w 4943475"/>
              <a:gd name="connsiteY5" fmla="*/ 0 h 5157788"/>
              <a:gd name="connsiteX0" fmla="*/ 2675731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675731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9672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19672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51412" h="5157788">
                <a:moveTo>
                  <a:pt x="2706687" y="0"/>
                </a:moveTo>
                <a:lnTo>
                  <a:pt x="4951412" y="0"/>
                </a:lnTo>
                <a:lnTo>
                  <a:pt x="4951412" y="5157788"/>
                </a:lnTo>
                <a:lnTo>
                  <a:pt x="0" y="5153180"/>
                </a:lnTo>
                <a:cubicBezTo>
                  <a:pt x="84411" y="4542509"/>
                  <a:pt x="183041" y="4024723"/>
                  <a:pt x="1243508" y="2562613"/>
                </a:cubicBezTo>
                <a:cubicBezTo>
                  <a:pt x="1867447" y="1704780"/>
                  <a:pt x="2665955" y="709265"/>
                  <a:pt x="2706687" y="0"/>
                </a:cubicBezTo>
                <a:close/>
              </a:path>
            </a:pathLst>
          </a:custGeom>
          <a:solidFill>
            <a:schemeClr val="bg2"/>
          </a:solidFill>
          <a:ln w="3175">
            <a:noFill/>
          </a:ln>
        </p:spPr>
        <p:txBody>
          <a:bodyPr tIns="720000" rtlCol="0" anchor="ctr">
            <a:noAutofit/>
          </a:bodyPr>
          <a:lstStyle>
            <a:lvl1pPr algn="ctr">
              <a:defRPr sz="1500">
                <a:solidFill>
                  <a:schemeClr val="bg1"/>
                </a:solidFill>
              </a:defRPr>
            </a:lvl1pPr>
          </a:lstStyle>
          <a:p>
            <a:pPr lvl="0"/>
            <a:r>
              <a:rPr lang="en-US" noProof="0" smtClean="0"/>
              <a:t>Click icon to add picture</a:t>
            </a:r>
            <a:endParaRPr lang="en-US" noProof="0" dirty="0"/>
          </a:p>
        </p:txBody>
      </p:sp>
      <p:sp>
        <p:nvSpPr>
          <p:cNvPr id="11" name="Espace réservé de la date 9"/>
          <p:cNvSpPr>
            <a:spLocks noGrp="1"/>
          </p:cNvSpPr>
          <p:nvPr>
            <p:ph type="dt" sz="half" idx="20"/>
          </p:nvPr>
        </p:nvSpPr>
        <p:spPr/>
        <p:txBody>
          <a:bodyPr/>
          <a:lstStyle>
            <a:lvl1pPr>
              <a:defRPr/>
            </a:lvl1pPr>
          </a:lstStyle>
          <a:p>
            <a:pPr>
              <a:defRPr/>
            </a:pPr>
            <a:r>
              <a:rPr lang="en-US">
                <a:solidFill>
                  <a:prstClr val="white">
                    <a:alpha val="0"/>
                  </a:prstClr>
                </a:solidFill>
              </a:rPr>
              <a:t>Date</a:t>
            </a:r>
          </a:p>
        </p:txBody>
      </p:sp>
      <p:sp>
        <p:nvSpPr>
          <p:cNvPr id="12" name="Espace réservé du numéro de diapositive 10"/>
          <p:cNvSpPr>
            <a:spLocks noGrp="1"/>
          </p:cNvSpPr>
          <p:nvPr>
            <p:ph type="sldNum" sz="quarter" idx="21"/>
          </p:nvPr>
        </p:nvSpPr>
        <p:spPr/>
        <p:txBody>
          <a:bodyPr/>
          <a:lstStyle>
            <a:lvl1pPr>
              <a:defRPr sz="100">
                <a:solidFill>
                  <a:schemeClr val="bg1">
                    <a:alpha val="0"/>
                  </a:schemeClr>
                </a:solidFill>
              </a:defRPr>
            </a:lvl1pPr>
          </a:lstStyle>
          <a:p>
            <a:pPr>
              <a:defRPr/>
            </a:pPr>
            <a:r>
              <a:rPr lang="en-US">
                <a:solidFill>
                  <a:prstClr val="white">
                    <a:alpha val="0"/>
                  </a:prstClr>
                </a:solidFill>
              </a:rPr>
              <a:t>Page: </a:t>
            </a:r>
            <a:fld id="{168EB3F5-198F-4211-80D0-E690EB6CEA77}" type="slidenum">
              <a:rPr lang="en-US">
                <a:solidFill>
                  <a:prstClr val="white">
                    <a:alpha val="0"/>
                  </a:prstClr>
                </a:solidFill>
              </a:rPr>
              <a:pPr>
                <a:defRPr/>
              </a:pPr>
              <a:t>‹#›</a:t>
            </a:fld>
            <a:endParaRPr lang="en-US">
              <a:solidFill>
                <a:prstClr val="white">
                  <a:alpha val="0"/>
                </a:prstClr>
              </a:solidFill>
            </a:endParaRPr>
          </a:p>
        </p:txBody>
      </p:sp>
      <p:sp>
        <p:nvSpPr>
          <p:cNvPr id="14" name="Espace réservé du pied de page 11"/>
          <p:cNvSpPr>
            <a:spLocks noGrp="1"/>
          </p:cNvSpPr>
          <p:nvPr>
            <p:ph type="ftr" sz="quarter" idx="22"/>
          </p:nvPr>
        </p:nvSpPr>
        <p:spPr>
          <a:xfrm>
            <a:off x="468313" y="523875"/>
            <a:ext cx="4824412" cy="360363"/>
          </a:xfrm>
        </p:spPr>
        <p:txBody>
          <a:bodyPr/>
          <a:lstStyle>
            <a:lvl1pPr algn="l">
              <a:defRPr sz="1800" b="0">
                <a:solidFill>
                  <a:schemeClr val="bg1"/>
                </a:solidFill>
              </a:defRPr>
            </a:lvl1pPr>
          </a:lstStyle>
          <a:p>
            <a:pPr>
              <a:defRPr/>
            </a:pPr>
            <a:r>
              <a:rPr lang="en-US">
                <a:solidFill>
                  <a:prstClr val="white"/>
                </a:solidFill>
              </a:rPr>
              <a:t>#</a:t>
            </a:r>
            <a:r>
              <a:rPr lang="en-US" err="1">
                <a:solidFill>
                  <a:prstClr val="white"/>
                </a:solidFill>
              </a:rPr>
              <a:t>vaccineswork</a:t>
            </a:r>
            <a:endParaRPr lang="en-US">
              <a:solidFill>
                <a:prstClr val="white"/>
              </a:solidFill>
            </a:endParaRPr>
          </a:p>
        </p:txBody>
      </p:sp>
    </p:spTree>
    <p:extLst>
      <p:ext uri="{BB962C8B-B14F-4D97-AF65-F5344CB8AC3E}">
        <p14:creationId xmlns:p14="http://schemas.microsoft.com/office/powerpoint/2010/main" val="3800424200"/>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userDrawn="1">
  <p:cSld name="Text and Visual">
    <p:spTree>
      <p:nvGrpSpPr>
        <p:cNvPr id="1" name=""/>
        <p:cNvGrpSpPr/>
        <p:nvPr/>
      </p:nvGrpSpPr>
      <p:grpSpPr>
        <a:xfrm>
          <a:off x="0" y="0"/>
          <a:ext cx="0" cy="0"/>
          <a:chOff x="0" y="0"/>
          <a:chExt cx="0" cy="0"/>
        </a:xfrm>
      </p:grpSpPr>
      <p:sp>
        <p:nvSpPr>
          <p:cNvPr id="2" name="Title 1"/>
          <p:cNvSpPr>
            <a:spLocks noGrp="1"/>
          </p:cNvSpPr>
          <p:nvPr>
            <p:ph type="title"/>
          </p:nvPr>
        </p:nvSpPr>
        <p:spPr>
          <a:xfrm>
            <a:off x="973138" y="225211"/>
            <a:ext cx="7207249" cy="697999"/>
          </a:xfrm>
        </p:spPr>
        <p:txBody>
          <a:bodyPr/>
          <a:lstStyle/>
          <a:p>
            <a:r>
              <a:rPr lang="en-US" smtClean="0"/>
              <a:t>Click to edit Master title style</a:t>
            </a:r>
            <a:endParaRPr lang="en-US"/>
          </a:p>
        </p:txBody>
      </p:sp>
      <p:sp>
        <p:nvSpPr>
          <p:cNvPr id="4" name="Content Placeholder 3"/>
          <p:cNvSpPr>
            <a:spLocks noGrp="1"/>
          </p:cNvSpPr>
          <p:nvPr>
            <p:ph sz="half" idx="2"/>
          </p:nvPr>
        </p:nvSpPr>
        <p:spPr>
          <a:xfrm>
            <a:off x="3425825" y="2302159"/>
            <a:ext cx="4754564" cy="2541673"/>
          </a:xfrm>
        </p:spPr>
        <p:txBody>
          <a:bodyPr/>
          <a:lstStyle>
            <a:lvl1pPr>
              <a:defRPr sz="1600"/>
            </a:lvl1pPr>
            <a:lvl2pPr marL="457200" indent="0">
              <a:buNone/>
              <a:defRPr sz="1600"/>
            </a:lvl2pPr>
            <a:lvl3pPr marL="914400" indent="0">
              <a:buNone/>
              <a:defRPr sz="1600"/>
            </a:lvl3pPr>
            <a:lvl4pPr marL="1371600" indent="0">
              <a:buNone/>
              <a:defRPr sz="1600"/>
            </a:lvl4pPr>
            <a:lvl5pPr marL="1828800" indent="0">
              <a:buNone/>
              <a:defRPr sz="16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Picture Placeholder 8"/>
          <p:cNvSpPr>
            <a:spLocks noGrp="1"/>
          </p:cNvSpPr>
          <p:nvPr>
            <p:ph type="pic" sz="quarter" idx="13"/>
          </p:nvPr>
        </p:nvSpPr>
        <p:spPr>
          <a:xfrm>
            <a:off x="973138" y="1247776"/>
            <a:ext cx="2300287" cy="3450384"/>
          </a:xfrm>
        </p:spPr>
        <p:txBody>
          <a:bodyPr rtlCol="0">
            <a:noAutofit/>
          </a:bodyPr>
          <a:lstStyle/>
          <a:p>
            <a:pPr lvl="0"/>
            <a:endParaRPr lang="en-US" noProof="0"/>
          </a:p>
        </p:txBody>
      </p:sp>
      <p:sp>
        <p:nvSpPr>
          <p:cNvPr id="10" name="Content Placeholder 3"/>
          <p:cNvSpPr>
            <a:spLocks noGrp="1"/>
          </p:cNvSpPr>
          <p:nvPr>
            <p:ph sz="half" idx="14"/>
          </p:nvPr>
        </p:nvSpPr>
        <p:spPr>
          <a:xfrm>
            <a:off x="3425825" y="1241426"/>
            <a:ext cx="4754564" cy="879316"/>
          </a:xfrm>
        </p:spPr>
        <p:txBody>
          <a:bodyPr/>
          <a:lstStyle>
            <a:lvl1pPr marL="0" indent="0">
              <a:buNone/>
              <a:defRPr sz="1600">
                <a:solidFill>
                  <a:srgbClr val="005CB9"/>
                </a:solidFill>
              </a:defRPr>
            </a:lvl1pPr>
            <a:lvl2pPr marL="457200" indent="0">
              <a:buNone/>
              <a:defRPr sz="1400">
                <a:solidFill>
                  <a:srgbClr val="005CB9"/>
                </a:solidFill>
              </a:defRPr>
            </a:lvl2pPr>
            <a:lvl3pPr marL="914400" indent="0">
              <a:buNone/>
              <a:defRPr sz="1400">
                <a:solidFill>
                  <a:srgbClr val="005CB9"/>
                </a:solidFill>
              </a:defRPr>
            </a:lvl3pPr>
            <a:lvl4pPr marL="1371600" indent="0">
              <a:buNone/>
              <a:defRPr sz="1400">
                <a:solidFill>
                  <a:srgbClr val="005CB9"/>
                </a:solidFill>
              </a:defRPr>
            </a:lvl4pPr>
            <a:lvl5pPr marL="1828800" indent="0">
              <a:buNone/>
              <a:defRPr sz="1400">
                <a:solidFill>
                  <a:srgbClr val="005CB9"/>
                </a:solidFill>
              </a:defRPr>
            </a:lvl5pPr>
            <a:lvl6pPr>
              <a:defRPr sz="1800"/>
            </a:lvl6pPr>
            <a:lvl7pPr>
              <a:defRPr sz="1800"/>
            </a:lvl7pPr>
            <a:lvl8pPr>
              <a:defRPr sz="1800"/>
            </a:lvl8pPr>
            <a:lvl9pPr>
              <a:defRPr sz="1800"/>
            </a:lvl9pPr>
          </a:lstStyle>
          <a:p>
            <a:pPr lvl="0"/>
            <a:r>
              <a:rPr lang="en-US" dirty="0" smtClean="0"/>
              <a:t>Click to edit Master text styles</a:t>
            </a:r>
          </a:p>
        </p:txBody>
      </p:sp>
      <p:sp>
        <p:nvSpPr>
          <p:cNvPr id="6" name="Footer Placeholder 5"/>
          <p:cNvSpPr>
            <a:spLocks noGrp="1"/>
          </p:cNvSpPr>
          <p:nvPr>
            <p:ph type="ftr" sz="quarter" idx="15"/>
          </p:nvPr>
        </p:nvSpPr>
        <p:spPr/>
        <p:txBody>
          <a:bodyPr/>
          <a:lstStyle>
            <a:lvl1pPr>
              <a:defRPr/>
            </a:lvl1pPr>
          </a:lstStyle>
          <a:p>
            <a:pPr>
              <a:defRPr/>
            </a:pPr>
            <a:r>
              <a:rPr lang="en-US">
                <a:solidFill>
                  <a:srgbClr val="005CB9"/>
                </a:solidFill>
              </a:rPr>
              <a:t>Basic facts about </a:t>
            </a:r>
            <a:r>
              <a:rPr lang="en-US" err="1">
                <a:solidFill>
                  <a:srgbClr val="005CB9"/>
                </a:solidFill>
              </a:rPr>
              <a:t>Gavi</a:t>
            </a:r>
            <a:r>
              <a:rPr lang="en-US">
                <a:solidFill>
                  <a:srgbClr val="005CB9"/>
                </a:solidFill>
              </a:rPr>
              <a:t> the Vaccine Alliance</a:t>
            </a:r>
          </a:p>
        </p:txBody>
      </p:sp>
      <p:sp>
        <p:nvSpPr>
          <p:cNvPr id="7" name="Slide Number Placeholder 6"/>
          <p:cNvSpPr>
            <a:spLocks noGrp="1"/>
          </p:cNvSpPr>
          <p:nvPr>
            <p:ph type="sldNum" sz="quarter" idx="16"/>
          </p:nvPr>
        </p:nvSpPr>
        <p:spPr/>
        <p:txBody>
          <a:bodyPr/>
          <a:lstStyle>
            <a:lvl1pPr algn="ctr">
              <a:defRPr/>
            </a:lvl1pPr>
          </a:lstStyle>
          <a:p>
            <a:pPr>
              <a:defRPr/>
            </a:pPr>
            <a:fld id="{FFE8DD00-E6C1-42A5-A44D-4115350A5429}" type="slidenum">
              <a:rPr lang="en-US">
                <a:solidFill>
                  <a:srgbClr val="343434"/>
                </a:solidFill>
              </a:rPr>
              <a:pPr>
                <a:defRPr/>
              </a:pPr>
              <a:t>‹#›</a:t>
            </a:fld>
            <a:endParaRPr lang="en-US">
              <a:solidFill>
                <a:srgbClr val="343434"/>
              </a:solidFill>
            </a:endParaRPr>
          </a:p>
        </p:txBody>
      </p:sp>
    </p:spTree>
    <p:extLst>
      <p:ext uri="{BB962C8B-B14F-4D97-AF65-F5344CB8AC3E}">
        <p14:creationId xmlns:p14="http://schemas.microsoft.com/office/powerpoint/2010/main" val="268508436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over_Picture_2">
    <p:spTree>
      <p:nvGrpSpPr>
        <p:cNvPr id="1" name=""/>
        <p:cNvGrpSpPr/>
        <p:nvPr/>
      </p:nvGrpSpPr>
      <p:grpSpPr>
        <a:xfrm>
          <a:off x="0" y="0"/>
          <a:ext cx="0" cy="0"/>
          <a:chOff x="0" y="0"/>
          <a:chExt cx="0" cy="0"/>
        </a:xfrm>
      </p:grpSpPr>
      <p:pic>
        <p:nvPicPr>
          <p:cNvPr id="21" name="Image 20" descr="FD_1_L254.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gray">
          <a:xfrm>
            <a:off x="1" y="0"/>
            <a:ext cx="9144000" cy="5157788"/>
          </a:xfrm>
          <a:prstGeom prst="rect">
            <a:avLst/>
          </a:prstGeom>
        </p:spPr>
      </p:pic>
      <p:sp>
        <p:nvSpPr>
          <p:cNvPr id="22" name="Rectangle 21"/>
          <p:cNvSpPr/>
          <p:nvPr userDrawn="1"/>
        </p:nvSpPr>
        <p:spPr bwMode="gray">
          <a:xfrm>
            <a:off x="3635375" y="5265204"/>
            <a:ext cx="5508625" cy="15927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pic>
        <p:nvPicPr>
          <p:cNvPr id="20" name="Image 19" descr="Bas_couv.png"/>
          <p:cNvPicPr>
            <a:picLocks noChangeAspect="1"/>
          </p:cNvPicPr>
          <p:nvPr userDrawn="1"/>
        </p:nvPicPr>
        <p:blipFill>
          <a:blip r:embed="rId3" cstate="screen">
            <a:extLst>
              <a:ext uri="{28A0092B-C50C-407E-A947-70E740481C1C}">
                <a14:useLocalDpi xmlns:a14="http://schemas.microsoft.com/office/drawing/2010/main"/>
              </a:ext>
            </a:extLst>
          </a:blip>
          <a:srcRect/>
          <a:stretch>
            <a:fillRect/>
          </a:stretch>
        </p:blipFill>
        <p:spPr bwMode="gray">
          <a:xfrm>
            <a:off x="0" y="5172520"/>
            <a:ext cx="3635375" cy="1685480"/>
          </a:xfrm>
          <a:prstGeom prst="rect">
            <a:avLst/>
          </a:prstGeom>
        </p:spPr>
      </p:pic>
      <p:sp>
        <p:nvSpPr>
          <p:cNvPr id="9" name="Espace réservé du texte 8"/>
          <p:cNvSpPr>
            <a:spLocks noGrp="1"/>
          </p:cNvSpPr>
          <p:nvPr>
            <p:ph type="body" sz="quarter" idx="13" hasCustomPrompt="1"/>
          </p:nvPr>
        </p:nvSpPr>
        <p:spPr bwMode="gray">
          <a:xfrm>
            <a:off x="468000" y="1036800"/>
            <a:ext cx="4824412" cy="2232000"/>
          </a:xfrm>
        </p:spPr>
        <p:txBody>
          <a:bodyPr anchor="b" anchorCtr="0"/>
          <a:lstStyle>
            <a:lvl1pPr marL="0" indent="0" algn="l">
              <a:lnSpc>
                <a:spcPct val="90000"/>
              </a:lnSpc>
              <a:buNone/>
              <a:defRPr sz="2800" b="1" cap="none" baseline="0">
                <a:solidFill>
                  <a:schemeClr val="bg1"/>
                </a:solidFill>
              </a:defRPr>
            </a:lvl1pPr>
            <a:lvl2pPr marL="0" algn="ctr">
              <a:lnSpc>
                <a:spcPct val="100000"/>
              </a:lnSpc>
              <a:spcBef>
                <a:spcPts val="6900"/>
              </a:spcBef>
              <a:defRPr sz="2000" b="1">
                <a:solidFill>
                  <a:schemeClr val="bg1"/>
                </a:solidFill>
              </a:defRPr>
            </a:lvl2pPr>
          </a:lstStyle>
          <a:p>
            <a:pPr lvl="0"/>
            <a:r>
              <a:rPr lang="en-US" noProof="0"/>
              <a:t>TITLE</a:t>
            </a:r>
          </a:p>
        </p:txBody>
      </p:sp>
      <p:sp>
        <p:nvSpPr>
          <p:cNvPr id="8" name="Espace réservé du texte 8"/>
          <p:cNvSpPr>
            <a:spLocks noGrp="1"/>
          </p:cNvSpPr>
          <p:nvPr>
            <p:ph type="body" sz="quarter" idx="14" hasCustomPrompt="1"/>
          </p:nvPr>
        </p:nvSpPr>
        <p:spPr bwMode="gray">
          <a:xfrm>
            <a:off x="468314" y="3585600"/>
            <a:ext cx="3592800" cy="1479600"/>
          </a:xfrm>
        </p:spPr>
        <p:txBody>
          <a:bodyPr anchor="t" anchorCtr="0"/>
          <a:lstStyle>
            <a:lvl1pPr marL="0" indent="0" algn="l">
              <a:lnSpc>
                <a:spcPct val="90000"/>
              </a:lnSpc>
              <a:buNone/>
              <a:defRPr sz="2000" b="0" baseline="0">
                <a:solidFill>
                  <a:schemeClr val="bg1"/>
                </a:solidFill>
              </a:defRPr>
            </a:lvl1pPr>
            <a:lvl2pPr marL="0" algn="ctr">
              <a:lnSpc>
                <a:spcPct val="100000"/>
              </a:lnSpc>
              <a:spcBef>
                <a:spcPts val="6900"/>
              </a:spcBef>
              <a:defRPr sz="2000" b="1">
                <a:solidFill>
                  <a:schemeClr val="bg1"/>
                </a:solidFill>
              </a:defRPr>
            </a:lvl2pPr>
          </a:lstStyle>
          <a:p>
            <a:pPr lvl="0"/>
            <a:r>
              <a:rPr lang="en-US" noProof="0"/>
              <a:t>SUBTITLE</a:t>
            </a:r>
          </a:p>
        </p:txBody>
      </p:sp>
      <p:sp>
        <p:nvSpPr>
          <p:cNvPr id="10" name="Espace réservé de la date 9"/>
          <p:cNvSpPr>
            <a:spLocks noGrp="1"/>
          </p:cNvSpPr>
          <p:nvPr>
            <p:ph type="dt" sz="half" idx="15"/>
          </p:nvPr>
        </p:nvSpPr>
        <p:spPr bwMode="gray"/>
        <p:txBody>
          <a:bodyPr/>
          <a:lstStyle/>
          <a:p>
            <a:r>
              <a:rPr lang="en-US">
                <a:solidFill>
                  <a:prstClr val="white">
                    <a:alpha val="0"/>
                  </a:prstClr>
                </a:solidFill>
              </a:rPr>
              <a:t>Date</a:t>
            </a:r>
          </a:p>
        </p:txBody>
      </p:sp>
      <p:sp>
        <p:nvSpPr>
          <p:cNvPr id="11" name="Espace réservé du numéro de diapositive 10"/>
          <p:cNvSpPr>
            <a:spLocks noGrp="1"/>
          </p:cNvSpPr>
          <p:nvPr>
            <p:ph type="sldNum" sz="quarter" idx="16"/>
          </p:nvPr>
        </p:nvSpPr>
        <p:spPr bwMode="gray"/>
        <p:txBody>
          <a:bodyPr/>
          <a:lstStyle>
            <a:lvl1pPr>
              <a:defRPr sz="100">
                <a:solidFill>
                  <a:schemeClr val="bg1">
                    <a:alpha val="0"/>
                  </a:schemeClr>
                </a:solidFill>
              </a:defRPr>
            </a:lvl1pPr>
          </a:lstStyle>
          <a:p>
            <a:pPr algn="l"/>
            <a:r>
              <a:rPr lang="en-US">
                <a:solidFill>
                  <a:prstClr val="white">
                    <a:alpha val="0"/>
                  </a:prstClr>
                </a:solidFill>
              </a:rPr>
              <a:t>Page: </a:t>
            </a:r>
            <a:fld id="{733122C9-A0B9-462F-8757-0847AD287B63}" type="slidenum">
              <a:rPr lang="en-US" smtClean="0">
                <a:solidFill>
                  <a:prstClr val="white">
                    <a:alpha val="0"/>
                  </a:prstClr>
                </a:solidFill>
              </a:rPr>
              <a:pPr algn="l"/>
              <a:t>‹#›</a:t>
            </a:fld>
            <a:endParaRPr lang="en-US">
              <a:solidFill>
                <a:prstClr val="white">
                  <a:alpha val="0"/>
                </a:prstClr>
              </a:solidFill>
            </a:endParaRPr>
          </a:p>
        </p:txBody>
      </p:sp>
      <p:sp>
        <p:nvSpPr>
          <p:cNvPr id="12" name="Espace réservé du pied de page 11"/>
          <p:cNvSpPr>
            <a:spLocks noGrp="1"/>
          </p:cNvSpPr>
          <p:nvPr>
            <p:ph type="ftr" sz="quarter" idx="17"/>
          </p:nvPr>
        </p:nvSpPr>
        <p:spPr bwMode="gray">
          <a:xfrm>
            <a:off x="468312" y="524188"/>
            <a:ext cx="4824413" cy="360000"/>
          </a:xfrm>
        </p:spPr>
        <p:txBody>
          <a:bodyPr/>
          <a:lstStyle>
            <a:lvl1pPr algn="l">
              <a:defRPr sz="1800" b="0">
                <a:solidFill>
                  <a:schemeClr val="bg1"/>
                </a:solidFill>
              </a:defRPr>
            </a:lvl1pPr>
          </a:lstStyle>
          <a:p>
            <a:r>
              <a:rPr lang="en-US">
                <a:solidFill>
                  <a:prstClr val="white"/>
                </a:solidFill>
              </a:rPr>
              <a:t>#</a:t>
            </a:r>
            <a:r>
              <a:rPr lang="en-US" err="1">
                <a:solidFill>
                  <a:prstClr val="white"/>
                </a:solidFill>
              </a:rPr>
              <a:t>vaccineswork</a:t>
            </a:r>
            <a:endParaRPr lang="en-US">
              <a:solidFill>
                <a:prstClr val="white"/>
              </a:solidFill>
            </a:endParaRPr>
          </a:p>
        </p:txBody>
      </p:sp>
      <p:sp>
        <p:nvSpPr>
          <p:cNvPr id="15" name="Espace réservé du texte 14"/>
          <p:cNvSpPr>
            <a:spLocks noGrp="1"/>
          </p:cNvSpPr>
          <p:nvPr>
            <p:ph type="body" sz="quarter" idx="19" hasCustomPrompt="1"/>
          </p:nvPr>
        </p:nvSpPr>
        <p:spPr bwMode="gray">
          <a:xfrm>
            <a:off x="3635376" y="6021388"/>
            <a:ext cx="5113338" cy="324000"/>
          </a:xfrm>
        </p:spPr>
        <p:txBody>
          <a:bodyPr anchor="b" anchorCtr="0"/>
          <a:lstStyle>
            <a:lvl1pPr algn="r">
              <a:lnSpc>
                <a:spcPct val="100000"/>
              </a:lnSpc>
              <a:defRPr sz="1000" b="1">
                <a:solidFill>
                  <a:schemeClr val="accent3"/>
                </a:solidFill>
              </a:defRPr>
            </a:lvl1pPr>
          </a:lstStyle>
          <a:p>
            <a:pPr lvl="0"/>
            <a:r>
              <a:rPr lang="en-US" noProof="0"/>
              <a:t>Write your claim here</a:t>
            </a:r>
          </a:p>
        </p:txBody>
      </p:sp>
      <p:sp>
        <p:nvSpPr>
          <p:cNvPr id="16" name="Rectangle 15"/>
          <p:cNvSpPr/>
          <p:nvPr userDrawn="1"/>
        </p:nvSpPr>
        <p:spPr bwMode="gray">
          <a:xfrm>
            <a:off x="3635375" y="6354202"/>
            <a:ext cx="5113338" cy="2872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r"/>
            <a:r>
              <a:rPr lang="en-US" sz="1000" err="1">
                <a:solidFill>
                  <a:srgbClr val="95D600"/>
                </a:solidFill>
              </a:rPr>
              <a:t>www.gavi.org</a:t>
            </a:r>
            <a:endParaRPr lang="en-US" sz="1000">
              <a:solidFill>
                <a:srgbClr val="95D600"/>
              </a:solidFill>
            </a:endParaRPr>
          </a:p>
        </p:txBody>
      </p:sp>
      <p:cxnSp>
        <p:nvCxnSpPr>
          <p:cNvPr id="14" name="Connecteur droit 13"/>
          <p:cNvCxnSpPr/>
          <p:nvPr userDrawn="1"/>
        </p:nvCxnSpPr>
        <p:spPr bwMode="gray">
          <a:xfrm flipH="1">
            <a:off x="468313" y="3402000"/>
            <a:ext cx="2448000" cy="0"/>
          </a:xfrm>
          <a:prstGeom prst="line">
            <a:avLst/>
          </a:prstGeom>
          <a:ln w="24130">
            <a:solidFill>
              <a:schemeClr val="accent1"/>
            </a:solidFill>
          </a:ln>
        </p:spPr>
        <p:style>
          <a:lnRef idx="1">
            <a:schemeClr val="accent1"/>
          </a:lnRef>
          <a:fillRef idx="0">
            <a:schemeClr val="accent1"/>
          </a:fillRef>
          <a:effectRef idx="0">
            <a:schemeClr val="accent1"/>
          </a:effectRef>
          <a:fontRef idx="minor">
            <a:schemeClr val="tx1"/>
          </a:fontRef>
        </p:style>
      </p:cxnSp>
      <p:sp>
        <p:nvSpPr>
          <p:cNvPr id="17" name="Espace réservé du texte 16"/>
          <p:cNvSpPr>
            <a:spLocks noGrp="1"/>
          </p:cNvSpPr>
          <p:nvPr>
            <p:ph type="body" sz="quarter" idx="20" hasCustomPrompt="1"/>
          </p:nvPr>
        </p:nvSpPr>
        <p:spPr bwMode="gray">
          <a:xfrm>
            <a:off x="0" y="5157788"/>
            <a:ext cx="9144000" cy="287337"/>
          </a:xfrm>
          <a:solidFill>
            <a:schemeClr val="bg1"/>
          </a:solidFill>
        </p:spPr>
        <p:txBody>
          <a:bodyPr/>
          <a:lstStyle>
            <a:lvl1pPr>
              <a:defRPr sz="100" b="0">
                <a:solidFill>
                  <a:schemeClr val="bg1">
                    <a:alpha val="0"/>
                  </a:schemeClr>
                </a:solidFill>
              </a:defRPr>
            </a:lvl1pPr>
          </a:lstStyle>
          <a:p>
            <a:pPr lvl="0"/>
            <a:r>
              <a:rPr lang="en-US" noProof="0"/>
              <a:t> </a:t>
            </a:r>
          </a:p>
        </p:txBody>
      </p:sp>
      <p:sp>
        <p:nvSpPr>
          <p:cNvPr id="18" name="Espace réservé pour une image  17"/>
          <p:cNvSpPr>
            <a:spLocks noGrp="1"/>
          </p:cNvSpPr>
          <p:nvPr>
            <p:ph type="pic" sz="quarter" idx="18" hasCustomPrompt="1"/>
          </p:nvPr>
        </p:nvSpPr>
        <p:spPr bwMode="gray">
          <a:xfrm>
            <a:off x="4192588" y="0"/>
            <a:ext cx="4951412" cy="5162400"/>
          </a:xfrm>
          <a:custGeom>
            <a:avLst/>
            <a:gdLst>
              <a:gd name="connsiteX0" fmla="*/ 0 w 3851275"/>
              <a:gd name="connsiteY0" fmla="*/ 0 h 5157788"/>
              <a:gd name="connsiteX1" fmla="*/ 3851275 w 3851275"/>
              <a:gd name="connsiteY1" fmla="*/ 0 h 5157788"/>
              <a:gd name="connsiteX2" fmla="*/ 3851275 w 3851275"/>
              <a:gd name="connsiteY2" fmla="*/ 5157788 h 5157788"/>
              <a:gd name="connsiteX3" fmla="*/ 0 w 3851275"/>
              <a:gd name="connsiteY3" fmla="*/ 5157788 h 5157788"/>
              <a:gd name="connsiteX4" fmla="*/ 0 w 3851275"/>
              <a:gd name="connsiteY4"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0 w 3851275"/>
              <a:gd name="connsiteY3" fmla="*/ 5157788 h 5157788"/>
              <a:gd name="connsiteX4" fmla="*/ 1692275 w 3851275"/>
              <a:gd name="connsiteY4" fmla="*/ 0 h 5157788"/>
              <a:gd name="connsiteX0" fmla="*/ 0 w 2159000"/>
              <a:gd name="connsiteY0" fmla="*/ 0 h 5157788"/>
              <a:gd name="connsiteX1" fmla="*/ 2159000 w 2159000"/>
              <a:gd name="connsiteY1" fmla="*/ 0 h 5157788"/>
              <a:gd name="connsiteX2" fmla="*/ 2159000 w 2159000"/>
              <a:gd name="connsiteY2" fmla="*/ 5157788 h 5157788"/>
              <a:gd name="connsiteX3" fmla="*/ 0 w 2159000"/>
              <a:gd name="connsiteY3" fmla="*/ 5157788 h 5157788"/>
              <a:gd name="connsiteX4" fmla="*/ 0 w 2159000"/>
              <a:gd name="connsiteY4" fmla="*/ 0 h 5157788"/>
              <a:gd name="connsiteX0" fmla="*/ 2625271 w 4784271"/>
              <a:gd name="connsiteY0" fmla="*/ 0 h 5157788"/>
              <a:gd name="connsiteX1" fmla="*/ 4784271 w 4784271"/>
              <a:gd name="connsiteY1" fmla="*/ 0 h 5157788"/>
              <a:gd name="connsiteX2" fmla="*/ 4784271 w 4784271"/>
              <a:gd name="connsiteY2" fmla="*/ 5157788 h 5157788"/>
              <a:gd name="connsiteX3" fmla="*/ 2625271 w 4784271"/>
              <a:gd name="connsiteY3" fmla="*/ 5157788 h 5157788"/>
              <a:gd name="connsiteX4" fmla="*/ 2625271 w 4784271"/>
              <a:gd name="connsiteY4" fmla="*/ 0 h 5157788"/>
              <a:gd name="connsiteX0" fmla="*/ 2625271 w 4784271"/>
              <a:gd name="connsiteY0" fmla="*/ 0 h 5157788"/>
              <a:gd name="connsiteX1" fmla="*/ 4784271 w 4784271"/>
              <a:gd name="connsiteY1" fmla="*/ 0 h 5157788"/>
              <a:gd name="connsiteX2" fmla="*/ 4784271 w 4784271"/>
              <a:gd name="connsiteY2" fmla="*/ 5157788 h 5157788"/>
              <a:gd name="connsiteX3" fmla="*/ 2625271 w 4784271"/>
              <a:gd name="connsiteY3" fmla="*/ 5157788 h 5157788"/>
              <a:gd name="connsiteX4" fmla="*/ 2625271 w 4784271"/>
              <a:gd name="connsiteY4" fmla="*/ 0 h 5157788"/>
              <a:gd name="connsiteX0" fmla="*/ 3568576 w 5727576"/>
              <a:gd name="connsiteY0" fmla="*/ 0 h 5157788"/>
              <a:gd name="connsiteX1" fmla="*/ 5727576 w 5727576"/>
              <a:gd name="connsiteY1" fmla="*/ 0 h 5157788"/>
              <a:gd name="connsiteX2" fmla="*/ 5727576 w 5727576"/>
              <a:gd name="connsiteY2" fmla="*/ 5157788 h 5157788"/>
              <a:gd name="connsiteX3" fmla="*/ 3568576 w 5727576"/>
              <a:gd name="connsiteY3" fmla="*/ 5157788 h 5157788"/>
              <a:gd name="connsiteX4" fmla="*/ 3568576 w 5727576"/>
              <a:gd name="connsiteY4" fmla="*/ 0 h 5157788"/>
              <a:gd name="connsiteX0" fmla="*/ 3306355 w 5465355"/>
              <a:gd name="connsiteY0" fmla="*/ 0 h 5157788"/>
              <a:gd name="connsiteX1" fmla="*/ 5465355 w 5465355"/>
              <a:gd name="connsiteY1" fmla="*/ 0 h 5157788"/>
              <a:gd name="connsiteX2" fmla="*/ 5465355 w 5465355"/>
              <a:gd name="connsiteY2" fmla="*/ 5157788 h 5157788"/>
              <a:gd name="connsiteX3" fmla="*/ 3306355 w 5465355"/>
              <a:gd name="connsiteY3" fmla="*/ 5157788 h 5157788"/>
              <a:gd name="connsiteX4" fmla="*/ 3306355 w 5465355"/>
              <a:gd name="connsiteY4" fmla="*/ 0 h 5157788"/>
              <a:gd name="connsiteX0" fmla="*/ 1416957 w 3575957"/>
              <a:gd name="connsiteY0" fmla="*/ 0 h 5157788"/>
              <a:gd name="connsiteX1" fmla="*/ 3575957 w 3575957"/>
              <a:gd name="connsiteY1" fmla="*/ 0 h 5157788"/>
              <a:gd name="connsiteX2" fmla="*/ 3575957 w 3575957"/>
              <a:gd name="connsiteY2" fmla="*/ 5157788 h 5157788"/>
              <a:gd name="connsiteX3" fmla="*/ 1416957 w 3575957"/>
              <a:gd name="connsiteY3" fmla="*/ 5157788 h 5157788"/>
              <a:gd name="connsiteX4" fmla="*/ 0 w 3575957"/>
              <a:gd name="connsiteY4" fmla="*/ 3339193 h 5157788"/>
              <a:gd name="connsiteX5" fmla="*/ 1416957 w 3575957"/>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6017419"/>
              <a:gd name="connsiteX1" fmla="*/ 3851275 w 3851275"/>
              <a:gd name="connsiteY1" fmla="*/ 0 h 6017419"/>
              <a:gd name="connsiteX2" fmla="*/ 3851275 w 3851275"/>
              <a:gd name="connsiteY2" fmla="*/ 5157788 h 6017419"/>
              <a:gd name="connsiteX3" fmla="*/ 1692275 w 3851275"/>
              <a:gd name="connsiteY3" fmla="*/ 5157788 h 6017419"/>
              <a:gd name="connsiteX4" fmla="*/ 0 w 3851275"/>
              <a:gd name="connsiteY4" fmla="*/ 3284984 h 6017419"/>
              <a:gd name="connsiteX5" fmla="*/ 1692275 w 3851275"/>
              <a:gd name="connsiteY5" fmla="*/ 0 h 6017419"/>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429000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429000 h 5157788"/>
              <a:gd name="connsiteX5" fmla="*/ 1710871 w 3869871"/>
              <a:gd name="connsiteY5" fmla="*/ 0 h 5157788"/>
              <a:gd name="connsiteX0" fmla="*/ 1704975 w 3863975"/>
              <a:gd name="connsiteY0" fmla="*/ 0 h 5157788"/>
              <a:gd name="connsiteX1" fmla="*/ 3863975 w 3863975"/>
              <a:gd name="connsiteY1" fmla="*/ 0 h 5157788"/>
              <a:gd name="connsiteX2" fmla="*/ 3863975 w 3863975"/>
              <a:gd name="connsiteY2" fmla="*/ 5157788 h 5157788"/>
              <a:gd name="connsiteX3" fmla="*/ 1704975 w 3863975"/>
              <a:gd name="connsiteY3" fmla="*/ 5157788 h 5157788"/>
              <a:gd name="connsiteX4" fmla="*/ 12700 w 3863975"/>
              <a:gd name="connsiteY4" fmla="*/ 3429000 h 5157788"/>
              <a:gd name="connsiteX5" fmla="*/ 1704975 w 3863975"/>
              <a:gd name="connsiteY5" fmla="*/ 0 h 5157788"/>
              <a:gd name="connsiteX0" fmla="*/ 1707243 w 3866243"/>
              <a:gd name="connsiteY0" fmla="*/ 0 h 5157788"/>
              <a:gd name="connsiteX1" fmla="*/ 3866243 w 3866243"/>
              <a:gd name="connsiteY1" fmla="*/ 0 h 5157788"/>
              <a:gd name="connsiteX2" fmla="*/ 3866243 w 3866243"/>
              <a:gd name="connsiteY2" fmla="*/ 5157788 h 5157788"/>
              <a:gd name="connsiteX3" fmla="*/ 1707243 w 3866243"/>
              <a:gd name="connsiteY3" fmla="*/ 5157788 h 5157788"/>
              <a:gd name="connsiteX4" fmla="*/ 14968 w 3866243"/>
              <a:gd name="connsiteY4" fmla="*/ 3429000 h 5157788"/>
              <a:gd name="connsiteX5" fmla="*/ 1707243 w 3866243"/>
              <a:gd name="connsiteY5" fmla="*/ 0 h 5157788"/>
              <a:gd name="connsiteX0" fmla="*/ 1130447 w 3866243"/>
              <a:gd name="connsiteY0" fmla="*/ 0 h 5157788"/>
              <a:gd name="connsiteX1" fmla="*/ 3866243 w 3866243"/>
              <a:gd name="connsiteY1" fmla="*/ 0 h 5157788"/>
              <a:gd name="connsiteX2" fmla="*/ 3866243 w 3866243"/>
              <a:gd name="connsiteY2" fmla="*/ 5157788 h 5157788"/>
              <a:gd name="connsiteX3" fmla="*/ 1707243 w 3866243"/>
              <a:gd name="connsiteY3" fmla="*/ 5157788 h 5157788"/>
              <a:gd name="connsiteX4" fmla="*/ 14968 w 3866243"/>
              <a:gd name="connsiteY4" fmla="*/ 3429000 h 5157788"/>
              <a:gd name="connsiteX5" fmla="*/ 1130447 w 3866243"/>
              <a:gd name="connsiteY5" fmla="*/ 0 h 5157788"/>
              <a:gd name="connsiteX0" fmla="*/ 2746143 w 5481939"/>
              <a:gd name="connsiteY0" fmla="*/ 0 h 5157788"/>
              <a:gd name="connsiteX1" fmla="*/ 5481939 w 5481939"/>
              <a:gd name="connsiteY1" fmla="*/ 0 h 5157788"/>
              <a:gd name="connsiteX2" fmla="*/ 5481939 w 5481939"/>
              <a:gd name="connsiteY2" fmla="*/ 5157788 h 5157788"/>
              <a:gd name="connsiteX3" fmla="*/ 585903 w 5481939"/>
              <a:gd name="connsiteY3" fmla="*/ 5153180 h 5157788"/>
              <a:gd name="connsiteX4" fmla="*/ 1630664 w 5481939"/>
              <a:gd name="connsiteY4" fmla="*/ 3429000 h 5157788"/>
              <a:gd name="connsiteX5" fmla="*/ 2746143 w 5481939"/>
              <a:gd name="connsiteY5" fmla="*/ 0 h 5157788"/>
              <a:gd name="connsiteX0" fmla="*/ 2746143 w 5481939"/>
              <a:gd name="connsiteY0" fmla="*/ 0 h 5157788"/>
              <a:gd name="connsiteX1" fmla="*/ 5481939 w 5481939"/>
              <a:gd name="connsiteY1" fmla="*/ 0 h 5157788"/>
              <a:gd name="connsiteX2" fmla="*/ 5481939 w 5481939"/>
              <a:gd name="connsiteY2" fmla="*/ 5157788 h 5157788"/>
              <a:gd name="connsiteX3" fmla="*/ 585903 w 5481939"/>
              <a:gd name="connsiteY3" fmla="*/ 5153180 h 5157788"/>
              <a:gd name="connsiteX4" fmla="*/ 1630664 w 5481939"/>
              <a:gd name="connsiteY4" fmla="*/ 3429000 h 5157788"/>
              <a:gd name="connsiteX5" fmla="*/ 2746143 w 548193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3574235 w 6310031"/>
              <a:gd name="connsiteY0" fmla="*/ 0 h 5157788"/>
              <a:gd name="connsiteX1" fmla="*/ 6310031 w 6310031"/>
              <a:gd name="connsiteY1" fmla="*/ 0 h 5157788"/>
              <a:gd name="connsiteX2" fmla="*/ 6310031 w 6310031"/>
              <a:gd name="connsiteY2" fmla="*/ 5157788 h 5157788"/>
              <a:gd name="connsiteX3" fmla="*/ 585903 w 6310031"/>
              <a:gd name="connsiteY3" fmla="*/ 5153180 h 5157788"/>
              <a:gd name="connsiteX4" fmla="*/ 1738031 w 6310031"/>
              <a:gd name="connsiteY4" fmla="*/ 3389965 h 5157788"/>
              <a:gd name="connsiteX5" fmla="*/ 3574235 w 6310031"/>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296143 w 5724128"/>
              <a:gd name="connsiteY4" fmla="*/ 3461908 h 5157788"/>
              <a:gd name="connsiteX5" fmla="*/ 2988332 w 5724128"/>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1188132 w 5760132"/>
              <a:gd name="connsiteY4" fmla="*/ 3425937 h 5157788"/>
              <a:gd name="connsiteX5" fmla="*/ 3024336 w 5760132"/>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2736304 w 5760132"/>
              <a:gd name="connsiteY4" fmla="*/ 3461908 h 5157788"/>
              <a:gd name="connsiteX5" fmla="*/ 3024336 w 5760132"/>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2736304 w 5760132"/>
              <a:gd name="connsiteY4" fmla="*/ 3461908 h 5157788"/>
              <a:gd name="connsiteX5" fmla="*/ 3024336 w 5760132"/>
              <a:gd name="connsiteY5" fmla="*/ 0 h 5157788"/>
              <a:gd name="connsiteX0" fmla="*/ 2160240 w 4896036"/>
              <a:gd name="connsiteY0" fmla="*/ 0 h 5157788"/>
              <a:gd name="connsiteX1" fmla="*/ 4896036 w 4896036"/>
              <a:gd name="connsiteY1" fmla="*/ 0 h 5157788"/>
              <a:gd name="connsiteX2" fmla="*/ 4896036 w 4896036"/>
              <a:gd name="connsiteY2" fmla="*/ 5157788 h 5157788"/>
              <a:gd name="connsiteX3" fmla="*/ 0 w 4896036"/>
              <a:gd name="connsiteY3" fmla="*/ 5153180 h 5157788"/>
              <a:gd name="connsiteX4" fmla="*/ 1872208 w 4896036"/>
              <a:gd name="connsiteY4" fmla="*/ 3461908 h 5157788"/>
              <a:gd name="connsiteX5" fmla="*/ 2160240 w 4896036"/>
              <a:gd name="connsiteY5" fmla="*/ 0 h 5157788"/>
              <a:gd name="connsiteX0" fmla="*/ 2232248 w 4968044"/>
              <a:gd name="connsiteY0" fmla="*/ 0 h 5157788"/>
              <a:gd name="connsiteX1" fmla="*/ 4968044 w 4968044"/>
              <a:gd name="connsiteY1" fmla="*/ 0 h 5157788"/>
              <a:gd name="connsiteX2" fmla="*/ 4968044 w 4968044"/>
              <a:gd name="connsiteY2" fmla="*/ 5157788 h 5157788"/>
              <a:gd name="connsiteX3" fmla="*/ 0 w 4968044"/>
              <a:gd name="connsiteY3" fmla="*/ 5153180 h 5157788"/>
              <a:gd name="connsiteX4" fmla="*/ 1944216 w 4968044"/>
              <a:gd name="connsiteY4" fmla="*/ 3461908 h 5157788"/>
              <a:gd name="connsiteX5" fmla="*/ 2232248 w 4968044"/>
              <a:gd name="connsiteY5" fmla="*/ 0 h 5157788"/>
              <a:gd name="connsiteX0" fmla="*/ 2207679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207679 w 4943475"/>
              <a:gd name="connsiteY5" fmla="*/ 0 h 5157788"/>
              <a:gd name="connsiteX0" fmla="*/ 2963763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963763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092200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71575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343583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675731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675731 w 4943475"/>
              <a:gd name="connsiteY5" fmla="*/ 0 h 5157788"/>
              <a:gd name="connsiteX0" fmla="*/ 2675731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675731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9672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19672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51412" h="5157788">
                <a:moveTo>
                  <a:pt x="2706687" y="0"/>
                </a:moveTo>
                <a:lnTo>
                  <a:pt x="4951412" y="0"/>
                </a:lnTo>
                <a:lnTo>
                  <a:pt x="4951412" y="5157788"/>
                </a:lnTo>
                <a:lnTo>
                  <a:pt x="0" y="5153180"/>
                </a:lnTo>
                <a:cubicBezTo>
                  <a:pt x="84411" y="4542509"/>
                  <a:pt x="183041" y="4024723"/>
                  <a:pt x="1243508" y="2562613"/>
                </a:cubicBezTo>
                <a:cubicBezTo>
                  <a:pt x="1867447" y="1704780"/>
                  <a:pt x="2665955" y="709265"/>
                  <a:pt x="2706687" y="0"/>
                </a:cubicBezTo>
                <a:close/>
              </a:path>
            </a:pathLst>
          </a:custGeom>
          <a:solidFill>
            <a:schemeClr val="bg2"/>
          </a:solidFill>
          <a:ln w="3175">
            <a:noFill/>
          </a:ln>
        </p:spPr>
        <p:txBody>
          <a:bodyPr tIns="720000" anchor="ctr" anchorCtr="0"/>
          <a:lstStyle>
            <a:lvl1pPr algn="ctr">
              <a:defRPr sz="1500">
                <a:solidFill>
                  <a:schemeClr val="bg1"/>
                </a:solidFill>
              </a:defRPr>
            </a:lvl1pPr>
          </a:lstStyle>
          <a:p>
            <a:r>
              <a:rPr lang="en-US" noProof="0"/>
              <a:t>Select your own photo</a:t>
            </a:r>
          </a:p>
        </p:txBody>
      </p:sp>
    </p:spTree>
    <p:extLst>
      <p:ext uri="{BB962C8B-B14F-4D97-AF65-F5344CB8AC3E}">
        <p14:creationId xmlns:p14="http://schemas.microsoft.com/office/powerpoint/2010/main" val="1713470617"/>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userDrawn="1">
  <p:cSld name="Text&amp;4_Blocks_Layout">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p:txBody>
          <a:bodyPr/>
          <a:lstStyle/>
          <a:p>
            <a:r>
              <a:rPr lang="en-GB" noProof="0" dirty="0" smtClean="0"/>
              <a:t>TITLE</a:t>
            </a:r>
            <a:endParaRPr lang="en-GB" noProof="0" dirty="0"/>
          </a:p>
        </p:txBody>
      </p:sp>
      <p:sp>
        <p:nvSpPr>
          <p:cNvPr id="10" name="Espace réservé du texte 9"/>
          <p:cNvSpPr>
            <a:spLocks noGrp="1"/>
          </p:cNvSpPr>
          <p:nvPr>
            <p:ph type="body" sz="quarter" idx="13" hasCustomPrompt="1"/>
          </p:nvPr>
        </p:nvSpPr>
        <p:spPr bwMode="gray">
          <a:xfrm>
            <a:off x="935038" y="1304924"/>
            <a:ext cx="7345362" cy="936626"/>
          </a:xfrm>
        </p:spPr>
        <p:txBody>
          <a:bodyPr/>
          <a:lstStyle/>
          <a:p>
            <a:pPr lvl="0"/>
            <a:r>
              <a:rPr lang="en-GB" noProof="0" dirty="0" smtClean="0"/>
              <a:t>Text level 1</a:t>
            </a:r>
          </a:p>
          <a:p>
            <a:pPr lvl="1"/>
            <a:r>
              <a:rPr lang="en-GB" noProof="0" dirty="0" smtClean="0"/>
              <a:t>Text level 2</a:t>
            </a:r>
          </a:p>
          <a:p>
            <a:pPr lvl="2"/>
            <a:r>
              <a:rPr lang="en-GB" noProof="0" dirty="0" smtClean="0"/>
              <a:t>Text level 3</a:t>
            </a:r>
          </a:p>
          <a:p>
            <a:pPr lvl="3"/>
            <a:r>
              <a:rPr lang="en-GB" noProof="0" dirty="0" smtClean="0"/>
              <a:t>Text level 4</a:t>
            </a:r>
          </a:p>
          <a:p>
            <a:pPr lvl="4"/>
            <a:r>
              <a:rPr lang="en-GB" noProof="0" dirty="0" smtClean="0"/>
              <a:t>Text level 5</a:t>
            </a:r>
            <a:endParaRPr lang="en-GB" noProof="0" dirty="0"/>
          </a:p>
        </p:txBody>
      </p:sp>
      <p:sp>
        <p:nvSpPr>
          <p:cNvPr id="8" name="Espace réservé de la date 7"/>
          <p:cNvSpPr>
            <a:spLocks noGrp="1"/>
          </p:cNvSpPr>
          <p:nvPr>
            <p:ph type="dt" sz="half" idx="14"/>
          </p:nvPr>
        </p:nvSpPr>
        <p:spPr bwMode="gray"/>
        <p:txBody>
          <a:bodyPr/>
          <a:lstStyle/>
          <a:p>
            <a:r>
              <a:rPr lang="en-US" smtClean="0">
                <a:solidFill>
                  <a:prstClr val="white">
                    <a:alpha val="0"/>
                  </a:prstClr>
                </a:solidFill>
              </a:rPr>
              <a:t>Date</a:t>
            </a:r>
            <a:endParaRPr lang="en-GB" dirty="0">
              <a:solidFill>
                <a:prstClr val="white">
                  <a:alpha val="0"/>
                </a:prstClr>
              </a:solidFill>
            </a:endParaRPr>
          </a:p>
        </p:txBody>
      </p:sp>
      <p:sp>
        <p:nvSpPr>
          <p:cNvPr id="9" name="Espace réservé du numéro de diapositive 8"/>
          <p:cNvSpPr>
            <a:spLocks noGrp="1"/>
          </p:cNvSpPr>
          <p:nvPr>
            <p:ph type="sldNum" sz="quarter" idx="15"/>
          </p:nvPr>
        </p:nvSpPr>
        <p:spPr bwMode="gray"/>
        <p:txBody>
          <a:bodyPr/>
          <a:lstStyle/>
          <a:p>
            <a:fld id="{733122C9-A0B9-462F-8757-0847AD287B63}" type="slidenum">
              <a:rPr lang="en-GB" smtClean="0">
                <a:solidFill>
                  <a:srgbClr val="343434"/>
                </a:solidFill>
              </a:rPr>
              <a:pPr/>
              <a:t>‹#›</a:t>
            </a:fld>
            <a:endParaRPr lang="en-GB" dirty="0">
              <a:solidFill>
                <a:srgbClr val="343434"/>
              </a:solidFill>
            </a:endParaRPr>
          </a:p>
        </p:txBody>
      </p:sp>
      <p:sp>
        <p:nvSpPr>
          <p:cNvPr id="11" name="Espace réservé du pied de page 10"/>
          <p:cNvSpPr>
            <a:spLocks noGrp="1"/>
          </p:cNvSpPr>
          <p:nvPr>
            <p:ph type="ftr" sz="quarter" idx="16"/>
          </p:nvPr>
        </p:nvSpPr>
        <p:spPr bwMode="gray"/>
        <p:txBody>
          <a:bodyPr/>
          <a:lstStyle/>
          <a:p>
            <a:r>
              <a:rPr lang="en-GB" smtClean="0">
                <a:solidFill>
                  <a:srgbClr val="005CB9"/>
                </a:solidFill>
              </a:rPr>
              <a:t>#vaccineswork</a:t>
            </a:r>
            <a:endParaRPr lang="en-GB" dirty="0">
              <a:solidFill>
                <a:srgbClr val="005CB9"/>
              </a:solidFill>
            </a:endParaRPr>
          </a:p>
        </p:txBody>
      </p:sp>
      <p:sp>
        <p:nvSpPr>
          <p:cNvPr id="21" name="Espace réservé du texte 9"/>
          <p:cNvSpPr>
            <a:spLocks noGrp="1"/>
          </p:cNvSpPr>
          <p:nvPr>
            <p:ph type="body" sz="quarter" idx="19" hasCustomPrompt="1"/>
          </p:nvPr>
        </p:nvSpPr>
        <p:spPr bwMode="gray">
          <a:xfrm>
            <a:off x="935038" y="2241550"/>
            <a:ext cx="3564000" cy="324000"/>
          </a:xfrm>
          <a:solidFill>
            <a:schemeClr val="accent1"/>
          </a:solidFill>
          <a:ln w="9525">
            <a:solidFill>
              <a:schemeClr val="accent1"/>
            </a:solidFill>
          </a:ln>
        </p:spPr>
        <p:txBody>
          <a:bodyPr anchor="ctr" anchorCtr="0"/>
          <a:lstStyle>
            <a:lvl1pPr algn="ctr">
              <a:lnSpc>
                <a:spcPct val="100000"/>
              </a:lnSpc>
              <a:defRPr>
                <a:solidFill>
                  <a:schemeClr val="bg1"/>
                </a:solidFill>
              </a:defRPr>
            </a:lvl1pPr>
          </a:lstStyle>
          <a:p>
            <a:pPr lvl="0"/>
            <a:r>
              <a:rPr lang="en-GB" noProof="0" dirty="0" smtClean="0"/>
              <a:t>Text level 1</a:t>
            </a:r>
          </a:p>
        </p:txBody>
      </p:sp>
      <p:sp>
        <p:nvSpPr>
          <p:cNvPr id="22" name="Espace réservé du texte 9"/>
          <p:cNvSpPr>
            <a:spLocks noGrp="1"/>
          </p:cNvSpPr>
          <p:nvPr>
            <p:ph type="body" sz="quarter" idx="20" hasCustomPrompt="1"/>
          </p:nvPr>
        </p:nvSpPr>
        <p:spPr bwMode="gray">
          <a:xfrm>
            <a:off x="935038" y="2565550"/>
            <a:ext cx="3564000" cy="1350000"/>
          </a:xfrm>
          <a:ln w="9525">
            <a:solidFill>
              <a:schemeClr val="accent1"/>
            </a:solidFill>
          </a:ln>
        </p:spPr>
        <p:txBody>
          <a:bodyPr tIns="72000"/>
          <a:lstStyle>
            <a:lvl1pPr marL="324000" indent="-180000">
              <a:lnSpc>
                <a:spcPct val="100000"/>
              </a:lnSpc>
              <a:spcBef>
                <a:spcPts val="300"/>
              </a:spcBef>
              <a:buClr>
                <a:schemeClr val="accent3"/>
              </a:buClr>
              <a:buFont typeface="Arial" pitchFamily="34" charset="0"/>
              <a:buChar char="•"/>
              <a:defRPr sz="1800">
                <a:solidFill>
                  <a:schemeClr val="tx1"/>
                </a:solidFill>
              </a:defRPr>
            </a:lvl1pPr>
            <a:lvl2pPr marL="504000">
              <a:buClr>
                <a:schemeClr val="tx1"/>
              </a:buClr>
              <a:defRPr sz="1600" b="0"/>
            </a:lvl2pPr>
            <a:lvl3pPr indent="0">
              <a:buNone/>
              <a:defRPr/>
            </a:lvl3pPr>
            <a:lvl4pPr marL="684000" indent="-180000">
              <a:buClr>
                <a:schemeClr val="tx1"/>
              </a:buClr>
              <a:buFont typeface="Arial" pitchFamily="34" charset="0"/>
              <a:buChar char="•"/>
              <a:defRPr sz="1400"/>
            </a:lvl4pPr>
          </a:lstStyle>
          <a:p>
            <a:pPr lvl="0"/>
            <a:r>
              <a:rPr lang="en-GB" noProof="0" dirty="0" smtClean="0"/>
              <a:t>Text level 2</a:t>
            </a:r>
          </a:p>
          <a:p>
            <a:pPr lvl="1"/>
            <a:r>
              <a:rPr lang="en-GB" noProof="0" dirty="0" smtClean="0"/>
              <a:t>Text level 3</a:t>
            </a:r>
          </a:p>
          <a:p>
            <a:pPr lvl="2"/>
            <a:r>
              <a:rPr lang="en-GB" noProof="0" dirty="0" smtClean="0"/>
              <a:t>Text level 4</a:t>
            </a:r>
          </a:p>
          <a:p>
            <a:pPr lvl="3"/>
            <a:r>
              <a:rPr lang="en-GB" noProof="0" dirty="0" smtClean="0"/>
              <a:t>Text level 5</a:t>
            </a:r>
          </a:p>
        </p:txBody>
      </p:sp>
      <p:sp>
        <p:nvSpPr>
          <p:cNvPr id="23" name="Espace réservé du texte 9"/>
          <p:cNvSpPr>
            <a:spLocks noGrp="1"/>
          </p:cNvSpPr>
          <p:nvPr>
            <p:ph type="body" sz="quarter" idx="21" hasCustomPrompt="1"/>
          </p:nvPr>
        </p:nvSpPr>
        <p:spPr bwMode="gray">
          <a:xfrm>
            <a:off x="4716400" y="2241550"/>
            <a:ext cx="3564000" cy="324000"/>
          </a:xfrm>
          <a:solidFill>
            <a:schemeClr val="accent2"/>
          </a:solidFill>
          <a:ln w="9525">
            <a:solidFill>
              <a:schemeClr val="accent2"/>
            </a:solidFill>
          </a:ln>
        </p:spPr>
        <p:txBody>
          <a:bodyPr anchor="ctr" anchorCtr="0"/>
          <a:lstStyle>
            <a:lvl1pPr algn="ctr">
              <a:lnSpc>
                <a:spcPct val="100000"/>
              </a:lnSpc>
              <a:defRPr>
                <a:solidFill>
                  <a:schemeClr val="bg1"/>
                </a:solidFill>
              </a:defRPr>
            </a:lvl1pPr>
          </a:lstStyle>
          <a:p>
            <a:pPr lvl="0"/>
            <a:r>
              <a:rPr lang="en-GB" noProof="0" dirty="0" smtClean="0"/>
              <a:t>Text level 1</a:t>
            </a:r>
          </a:p>
        </p:txBody>
      </p:sp>
      <p:sp>
        <p:nvSpPr>
          <p:cNvPr id="24" name="Espace réservé du texte 9"/>
          <p:cNvSpPr>
            <a:spLocks noGrp="1"/>
          </p:cNvSpPr>
          <p:nvPr>
            <p:ph type="body" sz="quarter" idx="22" hasCustomPrompt="1"/>
          </p:nvPr>
        </p:nvSpPr>
        <p:spPr bwMode="gray">
          <a:xfrm>
            <a:off x="4716400" y="2565550"/>
            <a:ext cx="3564000" cy="1350000"/>
          </a:xfrm>
          <a:ln w="9525">
            <a:solidFill>
              <a:schemeClr val="accent2"/>
            </a:solidFill>
          </a:ln>
        </p:spPr>
        <p:txBody>
          <a:bodyPr tIns="72000"/>
          <a:lstStyle>
            <a:lvl1pPr marL="324000" indent="-180000">
              <a:lnSpc>
                <a:spcPct val="100000"/>
              </a:lnSpc>
              <a:spcBef>
                <a:spcPts val="300"/>
              </a:spcBef>
              <a:buClr>
                <a:schemeClr val="accent3"/>
              </a:buClr>
              <a:buFont typeface="Arial" pitchFamily="34" charset="0"/>
              <a:buChar char="•"/>
              <a:defRPr sz="1800">
                <a:solidFill>
                  <a:schemeClr val="tx1"/>
                </a:solidFill>
              </a:defRPr>
            </a:lvl1pPr>
            <a:lvl2pPr marL="504000">
              <a:buClr>
                <a:schemeClr val="tx1"/>
              </a:buClr>
              <a:defRPr sz="1600" b="0"/>
            </a:lvl2pPr>
            <a:lvl3pPr indent="0">
              <a:buNone/>
              <a:defRPr/>
            </a:lvl3pPr>
            <a:lvl4pPr marL="684000" indent="-180000">
              <a:buClr>
                <a:schemeClr val="tx1"/>
              </a:buClr>
              <a:buFont typeface="Arial" pitchFamily="34" charset="0"/>
              <a:buChar char="•"/>
              <a:defRPr sz="1400"/>
            </a:lvl4pPr>
          </a:lstStyle>
          <a:p>
            <a:pPr lvl="0"/>
            <a:r>
              <a:rPr lang="en-GB" noProof="0" dirty="0" smtClean="0"/>
              <a:t>Text level 2</a:t>
            </a:r>
          </a:p>
          <a:p>
            <a:pPr lvl="1"/>
            <a:r>
              <a:rPr lang="en-GB" noProof="0" dirty="0" smtClean="0"/>
              <a:t>Text level 3</a:t>
            </a:r>
          </a:p>
          <a:p>
            <a:pPr lvl="2"/>
            <a:r>
              <a:rPr lang="en-GB" noProof="0" dirty="0" smtClean="0"/>
              <a:t>Text level 4</a:t>
            </a:r>
          </a:p>
          <a:p>
            <a:pPr lvl="3"/>
            <a:r>
              <a:rPr lang="en-GB" noProof="0" dirty="0" smtClean="0"/>
              <a:t>Text level 5</a:t>
            </a:r>
          </a:p>
        </p:txBody>
      </p:sp>
      <p:sp>
        <p:nvSpPr>
          <p:cNvPr id="25" name="Espace réservé du texte 9"/>
          <p:cNvSpPr>
            <a:spLocks noGrp="1"/>
          </p:cNvSpPr>
          <p:nvPr>
            <p:ph type="body" sz="quarter" idx="23" hasCustomPrompt="1"/>
          </p:nvPr>
        </p:nvSpPr>
        <p:spPr bwMode="gray">
          <a:xfrm>
            <a:off x="935038" y="4131488"/>
            <a:ext cx="3564000" cy="324000"/>
          </a:xfrm>
          <a:solidFill>
            <a:schemeClr val="accent3"/>
          </a:solidFill>
          <a:ln w="9525">
            <a:solidFill>
              <a:schemeClr val="accent3"/>
            </a:solidFill>
          </a:ln>
        </p:spPr>
        <p:txBody>
          <a:bodyPr anchor="ctr" anchorCtr="0"/>
          <a:lstStyle>
            <a:lvl1pPr algn="ctr">
              <a:lnSpc>
                <a:spcPct val="100000"/>
              </a:lnSpc>
              <a:defRPr>
                <a:solidFill>
                  <a:schemeClr val="bg1"/>
                </a:solidFill>
              </a:defRPr>
            </a:lvl1pPr>
          </a:lstStyle>
          <a:p>
            <a:pPr lvl="0"/>
            <a:r>
              <a:rPr lang="en-GB" noProof="0" dirty="0" smtClean="0"/>
              <a:t>Text level 1</a:t>
            </a:r>
          </a:p>
        </p:txBody>
      </p:sp>
      <p:sp>
        <p:nvSpPr>
          <p:cNvPr id="26" name="Espace réservé du texte 9"/>
          <p:cNvSpPr>
            <a:spLocks noGrp="1"/>
          </p:cNvSpPr>
          <p:nvPr>
            <p:ph type="body" sz="quarter" idx="24" hasCustomPrompt="1"/>
          </p:nvPr>
        </p:nvSpPr>
        <p:spPr bwMode="gray">
          <a:xfrm>
            <a:off x="935038" y="4455488"/>
            <a:ext cx="3564000" cy="1350000"/>
          </a:xfrm>
          <a:ln w="9525">
            <a:solidFill>
              <a:schemeClr val="accent3"/>
            </a:solidFill>
          </a:ln>
        </p:spPr>
        <p:txBody>
          <a:bodyPr tIns="72000"/>
          <a:lstStyle>
            <a:lvl1pPr marL="324000" indent="-180000">
              <a:lnSpc>
                <a:spcPct val="100000"/>
              </a:lnSpc>
              <a:spcBef>
                <a:spcPts val="300"/>
              </a:spcBef>
              <a:buClr>
                <a:schemeClr val="accent3"/>
              </a:buClr>
              <a:buFont typeface="Arial" pitchFamily="34" charset="0"/>
              <a:buChar char="•"/>
              <a:defRPr sz="1800">
                <a:solidFill>
                  <a:schemeClr val="tx1"/>
                </a:solidFill>
              </a:defRPr>
            </a:lvl1pPr>
            <a:lvl2pPr marL="504000">
              <a:buClr>
                <a:schemeClr val="tx1"/>
              </a:buClr>
              <a:defRPr sz="1600" b="0"/>
            </a:lvl2pPr>
            <a:lvl3pPr indent="0">
              <a:buNone/>
              <a:defRPr/>
            </a:lvl3pPr>
            <a:lvl4pPr marL="684000" indent="-180000">
              <a:buClr>
                <a:schemeClr val="tx1"/>
              </a:buClr>
              <a:buFont typeface="Arial" pitchFamily="34" charset="0"/>
              <a:buChar char="•"/>
              <a:defRPr sz="1400"/>
            </a:lvl4pPr>
          </a:lstStyle>
          <a:p>
            <a:pPr lvl="0"/>
            <a:r>
              <a:rPr lang="en-GB" noProof="0" dirty="0" smtClean="0"/>
              <a:t>Text level 2</a:t>
            </a:r>
          </a:p>
          <a:p>
            <a:pPr lvl="1"/>
            <a:r>
              <a:rPr lang="en-GB" noProof="0" dirty="0" smtClean="0"/>
              <a:t>Text level 3</a:t>
            </a:r>
          </a:p>
          <a:p>
            <a:pPr lvl="2"/>
            <a:r>
              <a:rPr lang="en-GB" noProof="0" dirty="0" smtClean="0"/>
              <a:t>Text level 4</a:t>
            </a:r>
          </a:p>
          <a:p>
            <a:pPr lvl="3"/>
            <a:r>
              <a:rPr lang="en-GB" noProof="0" dirty="0" smtClean="0"/>
              <a:t>Text level 5</a:t>
            </a:r>
          </a:p>
        </p:txBody>
      </p:sp>
      <p:sp>
        <p:nvSpPr>
          <p:cNvPr id="27" name="Espace réservé du texte 9"/>
          <p:cNvSpPr>
            <a:spLocks noGrp="1"/>
          </p:cNvSpPr>
          <p:nvPr>
            <p:ph type="body" sz="quarter" idx="25" hasCustomPrompt="1"/>
          </p:nvPr>
        </p:nvSpPr>
        <p:spPr bwMode="gray">
          <a:xfrm>
            <a:off x="4716400" y="4131488"/>
            <a:ext cx="3564000" cy="324000"/>
          </a:xfrm>
          <a:solidFill>
            <a:schemeClr val="bg2"/>
          </a:solidFill>
          <a:ln w="9525">
            <a:solidFill>
              <a:schemeClr val="bg2"/>
            </a:solidFill>
          </a:ln>
        </p:spPr>
        <p:txBody>
          <a:bodyPr anchor="ctr" anchorCtr="0"/>
          <a:lstStyle>
            <a:lvl1pPr algn="ctr">
              <a:lnSpc>
                <a:spcPct val="100000"/>
              </a:lnSpc>
              <a:defRPr>
                <a:solidFill>
                  <a:schemeClr val="bg1"/>
                </a:solidFill>
              </a:defRPr>
            </a:lvl1pPr>
          </a:lstStyle>
          <a:p>
            <a:pPr lvl="0"/>
            <a:r>
              <a:rPr lang="en-GB" noProof="0" dirty="0" smtClean="0"/>
              <a:t>Text level 1</a:t>
            </a:r>
          </a:p>
        </p:txBody>
      </p:sp>
      <p:sp>
        <p:nvSpPr>
          <p:cNvPr id="28" name="Espace réservé du texte 9"/>
          <p:cNvSpPr>
            <a:spLocks noGrp="1"/>
          </p:cNvSpPr>
          <p:nvPr>
            <p:ph type="body" sz="quarter" idx="26" hasCustomPrompt="1"/>
          </p:nvPr>
        </p:nvSpPr>
        <p:spPr bwMode="gray">
          <a:xfrm>
            <a:off x="4716400" y="4455488"/>
            <a:ext cx="3564000" cy="1350000"/>
          </a:xfrm>
          <a:ln w="9525">
            <a:solidFill>
              <a:schemeClr val="bg2"/>
            </a:solidFill>
          </a:ln>
        </p:spPr>
        <p:txBody>
          <a:bodyPr tIns="72000"/>
          <a:lstStyle>
            <a:lvl1pPr marL="324000" indent="-180000">
              <a:lnSpc>
                <a:spcPct val="100000"/>
              </a:lnSpc>
              <a:spcBef>
                <a:spcPts val="300"/>
              </a:spcBef>
              <a:buClr>
                <a:schemeClr val="accent3"/>
              </a:buClr>
              <a:buFont typeface="Arial" pitchFamily="34" charset="0"/>
              <a:buChar char="•"/>
              <a:defRPr sz="1800">
                <a:solidFill>
                  <a:schemeClr val="tx1"/>
                </a:solidFill>
              </a:defRPr>
            </a:lvl1pPr>
            <a:lvl2pPr marL="504000">
              <a:buClr>
                <a:schemeClr val="tx1"/>
              </a:buClr>
              <a:defRPr sz="1600" b="0"/>
            </a:lvl2pPr>
            <a:lvl3pPr indent="0">
              <a:buNone/>
              <a:defRPr/>
            </a:lvl3pPr>
            <a:lvl4pPr marL="684000" indent="-180000">
              <a:buClr>
                <a:schemeClr val="tx1"/>
              </a:buClr>
              <a:buFont typeface="Arial" pitchFamily="34" charset="0"/>
              <a:buChar char="•"/>
              <a:defRPr sz="1400"/>
            </a:lvl4pPr>
          </a:lstStyle>
          <a:p>
            <a:pPr lvl="0"/>
            <a:r>
              <a:rPr lang="en-GB" noProof="0" dirty="0" smtClean="0"/>
              <a:t>Text level 2</a:t>
            </a:r>
          </a:p>
          <a:p>
            <a:pPr lvl="1"/>
            <a:r>
              <a:rPr lang="en-GB" noProof="0" dirty="0" smtClean="0"/>
              <a:t>Text level 3</a:t>
            </a:r>
          </a:p>
          <a:p>
            <a:pPr lvl="2"/>
            <a:r>
              <a:rPr lang="en-GB" noProof="0" dirty="0" smtClean="0"/>
              <a:t>Text level 4</a:t>
            </a:r>
          </a:p>
          <a:p>
            <a:pPr lvl="3"/>
            <a:r>
              <a:rPr lang="en-GB" noProof="0" dirty="0" smtClean="0"/>
              <a:t>Text level 5</a:t>
            </a:r>
          </a:p>
        </p:txBody>
      </p:sp>
    </p:spTree>
    <p:extLst>
      <p:ext uri="{BB962C8B-B14F-4D97-AF65-F5344CB8AC3E}">
        <p14:creationId xmlns:p14="http://schemas.microsoft.com/office/powerpoint/2010/main" val="324357419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hapter_Layout">
    <p:spTree>
      <p:nvGrpSpPr>
        <p:cNvPr id="1" name=""/>
        <p:cNvGrpSpPr/>
        <p:nvPr/>
      </p:nvGrpSpPr>
      <p:grpSpPr>
        <a:xfrm>
          <a:off x="0" y="0"/>
          <a:ext cx="0" cy="0"/>
          <a:chOff x="0" y="0"/>
          <a:chExt cx="0" cy="0"/>
        </a:xfrm>
      </p:grpSpPr>
      <p:pic>
        <p:nvPicPr>
          <p:cNvPr id="16" name="Image 17" descr="FD_03_chap_110x190,5.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gray">
          <a:xfrm>
            <a:off x="0" y="0"/>
            <a:ext cx="3959352" cy="6858000"/>
          </a:xfrm>
          <a:prstGeom prst="rect">
            <a:avLst/>
          </a:prstGeom>
        </p:spPr>
      </p:pic>
      <p:sp>
        <p:nvSpPr>
          <p:cNvPr id="2" name="Titre 1"/>
          <p:cNvSpPr>
            <a:spLocks noGrp="1"/>
          </p:cNvSpPr>
          <p:nvPr>
            <p:ph type="title" hasCustomPrompt="1"/>
          </p:nvPr>
        </p:nvSpPr>
        <p:spPr bwMode="gray">
          <a:xfrm>
            <a:off x="3635374" y="1036638"/>
            <a:ext cx="3263901" cy="1268759"/>
          </a:xfrm>
        </p:spPr>
        <p:txBody>
          <a:bodyPr/>
          <a:lstStyle/>
          <a:p>
            <a:r>
              <a:rPr lang="en-US" noProof="0"/>
              <a:t>TITLE</a:t>
            </a:r>
          </a:p>
        </p:txBody>
      </p:sp>
      <p:sp>
        <p:nvSpPr>
          <p:cNvPr id="10" name="Espace réservé du texte 9"/>
          <p:cNvSpPr>
            <a:spLocks noGrp="1"/>
          </p:cNvSpPr>
          <p:nvPr>
            <p:ph type="body" sz="quarter" idx="13" hasCustomPrompt="1"/>
          </p:nvPr>
        </p:nvSpPr>
        <p:spPr bwMode="gray">
          <a:xfrm>
            <a:off x="3635376" y="2574000"/>
            <a:ext cx="3263900" cy="3447388"/>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noProof="0"/>
              <a:t>Text level 1</a:t>
            </a:r>
          </a:p>
          <a:p>
            <a:pPr lvl="1"/>
            <a:r>
              <a:rPr lang="en-US" noProof="0"/>
              <a:t>Text level 2</a:t>
            </a:r>
          </a:p>
          <a:p>
            <a:pPr lvl="2"/>
            <a:r>
              <a:rPr lang="en-US" noProof="0"/>
              <a:t>Text level 3</a:t>
            </a:r>
          </a:p>
          <a:p>
            <a:pPr lvl="3"/>
            <a:r>
              <a:rPr lang="en-US" noProof="0"/>
              <a:t>Text level 4</a:t>
            </a:r>
          </a:p>
          <a:p>
            <a:pPr lvl="4"/>
            <a:r>
              <a:rPr lang="en-US" noProof="0"/>
              <a:t>Text level 5</a:t>
            </a:r>
          </a:p>
        </p:txBody>
      </p:sp>
      <p:sp>
        <p:nvSpPr>
          <p:cNvPr id="14" name="Espace réservé du texte 9"/>
          <p:cNvSpPr>
            <a:spLocks noGrp="1"/>
          </p:cNvSpPr>
          <p:nvPr>
            <p:ph type="body" sz="quarter" idx="14" hasCustomPrompt="1"/>
          </p:nvPr>
        </p:nvSpPr>
        <p:spPr bwMode="gray">
          <a:xfrm>
            <a:off x="0" y="139974"/>
            <a:ext cx="2628000" cy="5017814"/>
          </a:xfrm>
        </p:spPr>
        <p:txBody>
          <a:bodyPr/>
          <a:lstStyle>
            <a:lvl1pPr algn="r">
              <a:defRPr sz="16600" b="1">
                <a:solidFill>
                  <a:schemeClr val="bg1"/>
                </a:solidFill>
              </a:defRPr>
            </a:lvl1pPr>
          </a:lstStyle>
          <a:p>
            <a:pPr lvl="0"/>
            <a:r>
              <a:rPr lang="en-US" noProof="0"/>
              <a:t>0</a:t>
            </a:r>
          </a:p>
        </p:txBody>
      </p:sp>
      <p:sp>
        <p:nvSpPr>
          <p:cNvPr id="11" name="Espace réservé de la date 10"/>
          <p:cNvSpPr>
            <a:spLocks noGrp="1"/>
          </p:cNvSpPr>
          <p:nvPr>
            <p:ph type="dt" sz="half" idx="15"/>
          </p:nvPr>
        </p:nvSpPr>
        <p:spPr bwMode="gray"/>
        <p:txBody>
          <a:bodyPr/>
          <a:lstStyle/>
          <a:p>
            <a:r>
              <a:rPr lang="en-US">
                <a:solidFill>
                  <a:prstClr val="white">
                    <a:alpha val="0"/>
                  </a:prstClr>
                </a:solidFill>
              </a:rPr>
              <a:t>Date</a:t>
            </a:r>
          </a:p>
        </p:txBody>
      </p:sp>
      <p:sp>
        <p:nvSpPr>
          <p:cNvPr id="12" name="Espace réservé du numéro de diapositive 11"/>
          <p:cNvSpPr>
            <a:spLocks noGrp="1"/>
          </p:cNvSpPr>
          <p:nvPr>
            <p:ph type="sldNum" sz="quarter" idx="16"/>
          </p:nvPr>
        </p:nvSpPr>
        <p:spPr bwMode="gray"/>
        <p:txBody>
          <a:bodyPr/>
          <a:lstStyle/>
          <a:p>
            <a:pPr algn="l"/>
            <a:fld id="{733122C9-A0B9-462F-8757-0847AD287B63}" type="slidenum">
              <a:rPr lang="en-US" smtClean="0">
                <a:solidFill>
                  <a:srgbClr val="343434"/>
                </a:solidFill>
              </a:rPr>
              <a:pPr algn="l"/>
              <a:t>‹#›</a:t>
            </a:fld>
            <a:endParaRPr lang="en-US">
              <a:solidFill>
                <a:srgbClr val="343434"/>
              </a:solidFill>
            </a:endParaRPr>
          </a:p>
        </p:txBody>
      </p:sp>
      <p:sp>
        <p:nvSpPr>
          <p:cNvPr id="13" name="Espace réservé du pied de page 12"/>
          <p:cNvSpPr>
            <a:spLocks noGrp="1"/>
          </p:cNvSpPr>
          <p:nvPr>
            <p:ph type="ftr" sz="quarter" idx="17"/>
          </p:nvPr>
        </p:nvSpPr>
        <p:spPr bwMode="gray"/>
        <p:txBody>
          <a:bodyPr/>
          <a:lstStyle/>
          <a:p>
            <a:r>
              <a:rPr lang="en-US">
                <a:solidFill>
                  <a:srgbClr val="005CB9"/>
                </a:solidFill>
              </a:rPr>
              <a:t>#</a:t>
            </a:r>
            <a:r>
              <a:rPr lang="en-US" err="1">
                <a:solidFill>
                  <a:srgbClr val="005CB9"/>
                </a:solidFill>
              </a:rPr>
              <a:t>vaccineswork</a:t>
            </a:r>
            <a:endParaRPr lang="en-US">
              <a:solidFill>
                <a:srgbClr val="005CB9"/>
              </a:solidFill>
            </a:endParaRPr>
          </a:p>
        </p:txBody>
      </p:sp>
      <p:cxnSp>
        <p:nvCxnSpPr>
          <p:cNvPr id="15" name="Connecteur droit 14"/>
          <p:cNvCxnSpPr/>
          <p:nvPr userDrawn="1"/>
        </p:nvCxnSpPr>
        <p:spPr bwMode="gray">
          <a:xfrm flipH="1">
            <a:off x="3635375" y="2389356"/>
            <a:ext cx="1584000" cy="0"/>
          </a:xfrm>
          <a:prstGeom prst="line">
            <a:avLst/>
          </a:prstGeom>
          <a:ln w="24130">
            <a:solidFill>
              <a:schemeClr val="accent1"/>
            </a:solidFill>
          </a:ln>
        </p:spPr>
        <p:style>
          <a:lnRef idx="1">
            <a:schemeClr val="accent1"/>
          </a:lnRef>
          <a:fillRef idx="0">
            <a:schemeClr val="accent1"/>
          </a:fillRef>
          <a:effectRef idx="0">
            <a:schemeClr val="accent1"/>
          </a:effectRef>
          <a:fontRef idx="minor">
            <a:schemeClr val="tx1"/>
          </a:fontRef>
        </p:style>
      </p:cxnSp>
      <p:sp>
        <p:nvSpPr>
          <p:cNvPr id="19" name="Espace réservé pour une image  17"/>
          <p:cNvSpPr>
            <a:spLocks noGrp="1"/>
          </p:cNvSpPr>
          <p:nvPr>
            <p:ph type="pic" sz="quarter" idx="18" hasCustomPrompt="1"/>
          </p:nvPr>
        </p:nvSpPr>
        <p:spPr bwMode="gray">
          <a:xfrm>
            <a:off x="7254332" y="132082"/>
            <a:ext cx="1899827" cy="5812641"/>
          </a:xfrm>
          <a:custGeom>
            <a:avLst/>
            <a:gdLst>
              <a:gd name="connsiteX0" fmla="*/ 0 w 3851275"/>
              <a:gd name="connsiteY0" fmla="*/ 0 h 5157788"/>
              <a:gd name="connsiteX1" fmla="*/ 3851275 w 3851275"/>
              <a:gd name="connsiteY1" fmla="*/ 0 h 5157788"/>
              <a:gd name="connsiteX2" fmla="*/ 3851275 w 3851275"/>
              <a:gd name="connsiteY2" fmla="*/ 5157788 h 5157788"/>
              <a:gd name="connsiteX3" fmla="*/ 0 w 3851275"/>
              <a:gd name="connsiteY3" fmla="*/ 5157788 h 5157788"/>
              <a:gd name="connsiteX4" fmla="*/ 0 w 3851275"/>
              <a:gd name="connsiteY4"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0 w 3851275"/>
              <a:gd name="connsiteY3" fmla="*/ 5157788 h 5157788"/>
              <a:gd name="connsiteX4" fmla="*/ 1692275 w 3851275"/>
              <a:gd name="connsiteY4" fmla="*/ 0 h 5157788"/>
              <a:gd name="connsiteX0" fmla="*/ 0 w 2159000"/>
              <a:gd name="connsiteY0" fmla="*/ 0 h 5157788"/>
              <a:gd name="connsiteX1" fmla="*/ 2159000 w 2159000"/>
              <a:gd name="connsiteY1" fmla="*/ 0 h 5157788"/>
              <a:gd name="connsiteX2" fmla="*/ 2159000 w 2159000"/>
              <a:gd name="connsiteY2" fmla="*/ 5157788 h 5157788"/>
              <a:gd name="connsiteX3" fmla="*/ 0 w 2159000"/>
              <a:gd name="connsiteY3" fmla="*/ 5157788 h 5157788"/>
              <a:gd name="connsiteX4" fmla="*/ 0 w 2159000"/>
              <a:gd name="connsiteY4" fmla="*/ 0 h 5157788"/>
              <a:gd name="connsiteX0" fmla="*/ 2625271 w 4784271"/>
              <a:gd name="connsiteY0" fmla="*/ 0 h 5157788"/>
              <a:gd name="connsiteX1" fmla="*/ 4784271 w 4784271"/>
              <a:gd name="connsiteY1" fmla="*/ 0 h 5157788"/>
              <a:gd name="connsiteX2" fmla="*/ 4784271 w 4784271"/>
              <a:gd name="connsiteY2" fmla="*/ 5157788 h 5157788"/>
              <a:gd name="connsiteX3" fmla="*/ 2625271 w 4784271"/>
              <a:gd name="connsiteY3" fmla="*/ 5157788 h 5157788"/>
              <a:gd name="connsiteX4" fmla="*/ 2625271 w 4784271"/>
              <a:gd name="connsiteY4" fmla="*/ 0 h 5157788"/>
              <a:gd name="connsiteX0" fmla="*/ 2625271 w 4784271"/>
              <a:gd name="connsiteY0" fmla="*/ 0 h 5157788"/>
              <a:gd name="connsiteX1" fmla="*/ 4784271 w 4784271"/>
              <a:gd name="connsiteY1" fmla="*/ 0 h 5157788"/>
              <a:gd name="connsiteX2" fmla="*/ 4784271 w 4784271"/>
              <a:gd name="connsiteY2" fmla="*/ 5157788 h 5157788"/>
              <a:gd name="connsiteX3" fmla="*/ 2625271 w 4784271"/>
              <a:gd name="connsiteY3" fmla="*/ 5157788 h 5157788"/>
              <a:gd name="connsiteX4" fmla="*/ 2625271 w 4784271"/>
              <a:gd name="connsiteY4" fmla="*/ 0 h 5157788"/>
              <a:gd name="connsiteX0" fmla="*/ 3568576 w 5727576"/>
              <a:gd name="connsiteY0" fmla="*/ 0 h 5157788"/>
              <a:gd name="connsiteX1" fmla="*/ 5727576 w 5727576"/>
              <a:gd name="connsiteY1" fmla="*/ 0 h 5157788"/>
              <a:gd name="connsiteX2" fmla="*/ 5727576 w 5727576"/>
              <a:gd name="connsiteY2" fmla="*/ 5157788 h 5157788"/>
              <a:gd name="connsiteX3" fmla="*/ 3568576 w 5727576"/>
              <a:gd name="connsiteY3" fmla="*/ 5157788 h 5157788"/>
              <a:gd name="connsiteX4" fmla="*/ 3568576 w 5727576"/>
              <a:gd name="connsiteY4" fmla="*/ 0 h 5157788"/>
              <a:gd name="connsiteX0" fmla="*/ 3306355 w 5465355"/>
              <a:gd name="connsiteY0" fmla="*/ 0 h 5157788"/>
              <a:gd name="connsiteX1" fmla="*/ 5465355 w 5465355"/>
              <a:gd name="connsiteY1" fmla="*/ 0 h 5157788"/>
              <a:gd name="connsiteX2" fmla="*/ 5465355 w 5465355"/>
              <a:gd name="connsiteY2" fmla="*/ 5157788 h 5157788"/>
              <a:gd name="connsiteX3" fmla="*/ 3306355 w 5465355"/>
              <a:gd name="connsiteY3" fmla="*/ 5157788 h 5157788"/>
              <a:gd name="connsiteX4" fmla="*/ 3306355 w 5465355"/>
              <a:gd name="connsiteY4" fmla="*/ 0 h 5157788"/>
              <a:gd name="connsiteX0" fmla="*/ 1416957 w 3575957"/>
              <a:gd name="connsiteY0" fmla="*/ 0 h 5157788"/>
              <a:gd name="connsiteX1" fmla="*/ 3575957 w 3575957"/>
              <a:gd name="connsiteY1" fmla="*/ 0 h 5157788"/>
              <a:gd name="connsiteX2" fmla="*/ 3575957 w 3575957"/>
              <a:gd name="connsiteY2" fmla="*/ 5157788 h 5157788"/>
              <a:gd name="connsiteX3" fmla="*/ 1416957 w 3575957"/>
              <a:gd name="connsiteY3" fmla="*/ 5157788 h 5157788"/>
              <a:gd name="connsiteX4" fmla="*/ 0 w 3575957"/>
              <a:gd name="connsiteY4" fmla="*/ 3339193 h 5157788"/>
              <a:gd name="connsiteX5" fmla="*/ 1416957 w 3575957"/>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6017419"/>
              <a:gd name="connsiteX1" fmla="*/ 3851275 w 3851275"/>
              <a:gd name="connsiteY1" fmla="*/ 0 h 6017419"/>
              <a:gd name="connsiteX2" fmla="*/ 3851275 w 3851275"/>
              <a:gd name="connsiteY2" fmla="*/ 5157788 h 6017419"/>
              <a:gd name="connsiteX3" fmla="*/ 1692275 w 3851275"/>
              <a:gd name="connsiteY3" fmla="*/ 5157788 h 6017419"/>
              <a:gd name="connsiteX4" fmla="*/ 0 w 3851275"/>
              <a:gd name="connsiteY4" fmla="*/ 3284984 h 6017419"/>
              <a:gd name="connsiteX5" fmla="*/ 1692275 w 3851275"/>
              <a:gd name="connsiteY5" fmla="*/ 0 h 6017419"/>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429000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429000 h 5157788"/>
              <a:gd name="connsiteX5" fmla="*/ 1710871 w 3869871"/>
              <a:gd name="connsiteY5" fmla="*/ 0 h 5157788"/>
              <a:gd name="connsiteX0" fmla="*/ 1704975 w 3863975"/>
              <a:gd name="connsiteY0" fmla="*/ 0 h 5157788"/>
              <a:gd name="connsiteX1" fmla="*/ 3863975 w 3863975"/>
              <a:gd name="connsiteY1" fmla="*/ 0 h 5157788"/>
              <a:gd name="connsiteX2" fmla="*/ 3863975 w 3863975"/>
              <a:gd name="connsiteY2" fmla="*/ 5157788 h 5157788"/>
              <a:gd name="connsiteX3" fmla="*/ 1704975 w 3863975"/>
              <a:gd name="connsiteY3" fmla="*/ 5157788 h 5157788"/>
              <a:gd name="connsiteX4" fmla="*/ 12700 w 3863975"/>
              <a:gd name="connsiteY4" fmla="*/ 3429000 h 5157788"/>
              <a:gd name="connsiteX5" fmla="*/ 1704975 w 3863975"/>
              <a:gd name="connsiteY5" fmla="*/ 0 h 5157788"/>
              <a:gd name="connsiteX0" fmla="*/ 1707243 w 3866243"/>
              <a:gd name="connsiteY0" fmla="*/ 0 h 5157788"/>
              <a:gd name="connsiteX1" fmla="*/ 3866243 w 3866243"/>
              <a:gd name="connsiteY1" fmla="*/ 0 h 5157788"/>
              <a:gd name="connsiteX2" fmla="*/ 3866243 w 3866243"/>
              <a:gd name="connsiteY2" fmla="*/ 5157788 h 5157788"/>
              <a:gd name="connsiteX3" fmla="*/ 1707243 w 3866243"/>
              <a:gd name="connsiteY3" fmla="*/ 5157788 h 5157788"/>
              <a:gd name="connsiteX4" fmla="*/ 14968 w 3866243"/>
              <a:gd name="connsiteY4" fmla="*/ 3429000 h 5157788"/>
              <a:gd name="connsiteX5" fmla="*/ 1707243 w 3866243"/>
              <a:gd name="connsiteY5" fmla="*/ 0 h 5157788"/>
              <a:gd name="connsiteX0" fmla="*/ 1130447 w 3866243"/>
              <a:gd name="connsiteY0" fmla="*/ 0 h 5157788"/>
              <a:gd name="connsiteX1" fmla="*/ 3866243 w 3866243"/>
              <a:gd name="connsiteY1" fmla="*/ 0 h 5157788"/>
              <a:gd name="connsiteX2" fmla="*/ 3866243 w 3866243"/>
              <a:gd name="connsiteY2" fmla="*/ 5157788 h 5157788"/>
              <a:gd name="connsiteX3" fmla="*/ 1707243 w 3866243"/>
              <a:gd name="connsiteY3" fmla="*/ 5157788 h 5157788"/>
              <a:gd name="connsiteX4" fmla="*/ 14968 w 3866243"/>
              <a:gd name="connsiteY4" fmla="*/ 3429000 h 5157788"/>
              <a:gd name="connsiteX5" fmla="*/ 1130447 w 3866243"/>
              <a:gd name="connsiteY5" fmla="*/ 0 h 5157788"/>
              <a:gd name="connsiteX0" fmla="*/ 2746143 w 5481939"/>
              <a:gd name="connsiteY0" fmla="*/ 0 h 5157788"/>
              <a:gd name="connsiteX1" fmla="*/ 5481939 w 5481939"/>
              <a:gd name="connsiteY1" fmla="*/ 0 h 5157788"/>
              <a:gd name="connsiteX2" fmla="*/ 5481939 w 5481939"/>
              <a:gd name="connsiteY2" fmla="*/ 5157788 h 5157788"/>
              <a:gd name="connsiteX3" fmla="*/ 585903 w 5481939"/>
              <a:gd name="connsiteY3" fmla="*/ 5153180 h 5157788"/>
              <a:gd name="connsiteX4" fmla="*/ 1630664 w 5481939"/>
              <a:gd name="connsiteY4" fmla="*/ 3429000 h 5157788"/>
              <a:gd name="connsiteX5" fmla="*/ 2746143 w 5481939"/>
              <a:gd name="connsiteY5" fmla="*/ 0 h 5157788"/>
              <a:gd name="connsiteX0" fmla="*/ 2746143 w 5481939"/>
              <a:gd name="connsiteY0" fmla="*/ 0 h 5157788"/>
              <a:gd name="connsiteX1" fmla="*/ 5481939 w 5481939"/>
              <a:gd name="connsiteY1" fmla="*/ 0 h 5157788"/>
              <a:gd name="connsiteX2" fmla="*/ 5481939 w 5481939"/>
              <a:gd name="connsiteY2" fmla="*/ 5157788 h 5157788"/>
              <a:gd name="connsiteX3" fmla="*/ 585903 w 5481939"/>
              <a:gd name="connsiteY3" fmla="*/ 5153180 h 5157788"/>
              <a:gd name="connsiteX4" fmla="*/ 1630664 w 5481939"/>
              <a:gd name="connsiteY4" fmla="*/ 3429000 h 5157788"/>
              <a:gd name="connsiteX5" fmla="*/ 2746143 w 548193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3574235 w 6310031"/>
              <a:gd name="connsiteY0" fmla="*/ 0 h 5157788"/>
              <a:gd name="connsiteX1" fmla="*/ 6310031 w 6310031"/>
              <a:gd name="connsiteY1" fmla="*/ 0 h 5157788"/>
              <a:gd name="connsiteX2" fmla="*/ 6310031 w 6310031"/>
              <a:gd name="connsiteY2" fmla="*/ 5157788 h 5157788"/>
              <a:gd name="connsiteX3" fmla="*/ 585903 w 6310031"/>
              <a:gd name="connsiteY3" fmla="*/ 5153180 h 5157788"/>
              <a:gd name="connsiteX4" fmla="*/ 1738031 w 6310031"/>
              <a:gd name="connsiteY4" fmla="*/ 3389965 h 5157788"/>
              <a:gd name="connsiteX5" fmla="*/ 3574235 w 6310031"/>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296143 w 5724128"/>
              <a:gd name="connsiteY4" fmla="*/ 3461908 h 5157788"/>
              <a:gd name="connsiteX5" fmla="*/ 2988332 w 5724128"/>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1188132 w 5760132"/>
              <a:gd name="connsiteY4" fmla="*/ 3425937 h 5157788"/>
              <a:gd name="connsiteX5" fmla="*/ 3024336 w 5760132"/>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2736304 w 5760132"/>
              <a:gd name="connsiteY4" fmla="*/ 3461908 h 5157788"/>
              <a:gd name="connsiteX5" fmla="*/ 3024336 w 5760132"/>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2736304 w 5760132"/>
              <a:gd name="connsiteY4" fmla="*/ 3461908 h 5157788"/>
              <a:gd name="connsiteX5" fmla="*/ 3024336 w 5760132"/>
              <a:gd name="connsiteY5" fmla="*/ 0 h 5157788"/>
              <a:gd name="connsiteX0" fmla="*/ 2160240 w 4896036"/>
              <a:gd name="connsiteY0" fmla="*/ 0 h 5157788"/>
              <a:gd name="connsiteX1" fmla="*/ 4896036 w 4896036"/>
              <a:gd name="connsiteY1" fmla="*/ 0 h 5157788"/>
              <a:gd name="connsiteX2" fmla="*/ 4896036 w 4896036"/>
              <a:gd name="connsiteY2" fmla="*/ 5157788 h 5157788"/>
              <a:gd name="connsiteX3" fmla="*/ 0 w 4896036"/>
              <a:gd name="connsiteY3" fmla="*/ 5153180 h 5157788"/>
              <a:gd name="connsiteX4" fmla="*/ 1872208 w 4896036"/>
              <a:gd name="connsiteY4" fmla="*/ 3461908 h 5157788"/>
              <a:gd name="connsiteX5" fmla="*/ 2160240 w 4896036"/>
              <a:gd name="connsiteY5" fmla="*/ 0 h 5157788"/>
              <a:gd name="connsiteX0" fmla="*/ 2232248 w 4968044"/>
              <a:gd name="connsiteY0" fmla="*/ 0 h 5157788"/>
              <a:gd name="connsiteX1" fmla="*/ 4968044 w 4968044"/>
              <a:gd name="connsiteY1" fmla="*/ 0 h 5157788"/>
              <a:gd name="connsiteX2" fmla="*/ 4968044 w 4968044"/>
              <a:gd name="connsiteY2" fmla="*/ 5157788 h 5157788"/>
              <a:gd name="connsiteX3" fmla="*/ 0 w 4968044"/>
              <a:gd name="connsiteY3" fmla="*/ 5153180 h 5157788"/>
              <a:gd name="connsiteX4" fmla="*/ 1944216 w 4968044"/>
              <a:gd name="connsiteY4" fmla="*/ 3461908 h 5157788"/>
              <a:gd name="connsiteX5" fmla="*/ 2232248 w 4968044"/>
              <a:gd name="connsiteY5" fmla="*/ 0 h 5157788"/>
              <a:gd name="connsiteX0" fmla="*/ 2207679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207679 w 4943475"/>
              <a:gd name="connsiteY5" fmla="*/ 0 h 5157788"/>
              <a:gd name="connsiteX0" fmla="*/ 2963763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963763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092200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71575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343583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675731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675731 w 4943475"/>
              <a:gd name="connsiteY5" fmla="*/ 0 h 5157788"/>
              <a:gd name="connsiteX0" fmla="*/ 2675731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675731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9672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19672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1668519 w 3913244"/>
              <a:gd name="connsiteY0" fmla="*/ 0 h 5183692"/>
              <a:gd name="connsiteX1" fmla="*/ 3913244 w 3913244"/>
              <a:gd name="connsiteY1" fmla="*/ 0 h 5183692"/>
              <a:gd name="connsiteX2" fmla="*/ 3913244 w 3913244"/>
              <a:gd name="connsiteY2" fmla="*/ 5157788 h 5183692"/>
              <a:gd name="connsiteX3" fmla="*/ 2456872 w 3913244"/>
              <a:gd name="connsiteY3" fmla="*/ 5183633 h 5183692"/>
              <a:gd name="connsiteX4" fmla="*/ 205340 w 3913244"/>
              <a:gd name="connsiteY4" fmla="*/ 2562613 h 5183692"/>
              <a:gd name="connsiteX5" fmla="*/ 1668519 w 3913244"/>
              <a:gd name="connsiteY5" fmla="*/ 0 h 5183692"/>
              <a:gd name="connsiteX0" fmla="*/ 1668519 w 3923404"/>
              <a:gd name="connsiteY0" fmla="*/ 0 h 5939409"/>
              <a:gd name="connsiteX1" fmla="*/ 3913244 w 3923404"/>
              <a:gd name="connsiteY1" fmla="*/ 0 h 5939409"/>
              <a:gd name="connsiteX2" fmla="*/ 3923404 w 3923404"/>
              <a:gd name="connsiteY2" fmla="*/ 5939409 h 5939409"/>
              <a:gd name="connsiteX3" fmla="*/ 2456872 w 3923404"/>
              <a:gd name="connsiteY3" fmla="*/ 5183633 h 5939409"/>
              <a:gd name="connsiteX4" fmla="*/ 205340 w 3923404"/>
              <a:gd name="connsiteY4" fmla="*/ 2562613 h 5939409"/>
              <a:gd name="connsiteX5" fmla="*/ 1668519 w 3923404"/>
              <a:gd name="connsiteY5" fmla="*/ 0 h 5939409"/>
              <a:gd name="connsiteX0" fmla="*/ 1668519 w 3923404"/>
              <a:gd name="connsiteY0" fmla="*/ 0 h 5939409"/>
              <a:gd name="connsiteX1" fmla="*/ 3913244 w 3923404"/>
              <a:gd name="connsiteY1" fmla="*/ 0 h 5939409"/>
              <a:gd name="connsiteX2" fmla="*/ 3923404 w 3923404"/>
              <a:gd name="connsiteY2" fmla="*/ 5939409 h 5939409"/>
              <a:gd name="connsiteX3" fmla="*/ 2456872 w 3923404"/>
              <a:gd name="connsiteY3" fmla="*/ 5183633 h 5939409"/>
              <a:gd name="connsiteX4" fmla="*/ 205340 w 3923404"/>
              <a:gd name="connsiteY4" fmla="*/ 2562613 h 5939409"/>
              <a:gd name="connsiteX5" fmla="*/ 1668519 w 3923404"/>
              <a:gd name="connsiteY5" fmla="*/ 0 h 5939409"/>
              <a:gd name="connsiteX0" fmla="*/ 1696047 w 3950932"/>
              <a:gd name="connsiteY0" fmla="*/ 0 h 5939409"/>
              <a:gd name="connsiteX1" fmla="*/ 3940772 w 3950932"/>
              <a:gd name="connsiteY1" fmla="*/ 0 h 5939409"/>
              <a:gd name="connsiteX2" fmla="*/ 3950932 w 3950932"/>
              <a:gd name="connsiteY2" fmla="*/ 5939409 h 5939409"/>
              <a:gd name="connsiteX3" fmla="*/ 2484400 w 3950932"/>
              <a:gd name="connsiteY3" fmla="*/ 5183633 h 5939409"/>
              <a:gd name="connsiteX4" fmla="*/ 232868 w 3950932"/>
              <a:gd name="connsiteY4" fmla="*/ 2562613 h 5939409"/>
              <a:gd name="connsiteX5" fmla="*/ 1696047 w 3950932"/>
              <a:gd name="connsiteY5" fmla="*/ 0 h 5939409"/>
              <a:gd name="connsiteX0" fmla="*/ 1463179 w 3718064"/>
              <a:gd name="connsiteY0" fmla="*/ 0 h 5983194"/>
              <a:gd name="connsiteX1" fmla="*/ 3707904 w 3718064"/>
              <a:gd name="connsiteY1" fmla="*/ 0 h 5983194"/>
              <a:gd name="connsiteX2" fmla="*/ 3718064 w 3718064"/>
              <a:gd name="connsiteY2" fmla="*/ 5939409 h 5983194"/>
              <a:gd name="connsiteX3" fmla="*/ 0 w 3718064"/>
              <a:gd name="connsiteY3" fmla="*/ 2562613 h 5983194"/>
              <a:gd name="connsiteX4" fmla="*/ 1463179 w 3718064"/>
              <a:gd name="connsiteY4" fmla="*/ 0 h 5983194"/>
              <a:gd name="connsiteX0" fmla="*/ 1464005 w 3718890"/>
              <a:gd name="connsiteY0" fmla="*/ 0 h 5987401"/>
              <a:gd name="connsiteX1" fmla="*/ 3708730 w 3718890"/>
              <a:gd name="connsiteY1" fmla="*/ 0 h 5987401"/>
              <a:gd name="connsiteX2" fmla="*/ 3718890 w 3718890"/>
              <a:gd name="connsiteY2" fmla="*/ 5939409 h 5987401"/>
              <a:gd name="connsiteX3" fmla="*/ 826 w 3718890"/>
              <a:gd name="connsiteY3" fmla="*/ 2562613 h 5987401"/>
              <a:gd name="connsiteX4" fmla="*/ 1464005 w 3718890"/>
              <a:gd name="connsiteY4" fmla="*/ 0 h 5987401"/>
              <a:gd name="connsiteX0" fmla="*/ 1267 w 2256152"/>
              <a:gd name="connsiteY0" fmla="*/ 0 h 6002954"/>
              <a:gd name="connsiteX1" fmla="*/ 2245992 w 2256152"/>
              <a:gd name="connsiteY1" fmla="*/ 0 h 6002954"/>
              <a:gd name="connsiteX2" fmla="*/ 2256152 w 2256152"/>
              <a:gd name="connsiteY2" fmla="*/ 5939409 h 6002954"/>
              <a:gd name="connsiteX3" fmla="*/ 956168 w 2256152"/>
              <a:gd name="connsiteY3" fmla="*/ 3273178 h 6002954"/>
              <a:gd name="connsiteX4" fmla="*/ 1267 w 2256152"/>
              <a:gd name="connsiteY4" fmla="*/ 0 h 6002954"/>
              <a:gd name="connsiteX0" fmla="*/ 2 w 1299986"/>
              <a:gd name="connsiteY0" fmla="*/ 3321709 h 6044422"/>
              <a:gd name="connsiteX1" fmla="*/ 1289826 w 1299986"/>
              <a:gd name="connsiteY1" fmla="*/ 48531 h 6044422"/>
              <a:gd name="connsiteX2" fmla="*/ 1299986 w 1299986"/>
              <a:gd name="connsiteY2" fmla="*/ 5987940 h 6044422"/>
              <a:gd name="connsiteX3" fmla="*/ 2 w 1299986"/>
              <a:gd name="connsiteY3" fmla="*/ 3321709 h 6044422"/>
              <a:gd name="connsiteX0" fmla="*/ 2 w 1299986"/>
              <a:gd name="connsiteY0" fmla="*/ 3273178 h 5995891"/>
              <a:gd name="connsiteX1" fmla="*/ 1289826 w 1299986"/>
              <a:gd name="connsiteY1" fmla="*/ 0 h 5995891"/>
              <a:gd name="connsiteX2" fmla="*/ 1299986 w 1299986"/>
              <a:gd name="connsiteY2" fmla="*/ 5939409 h 5995891"/>
              <a:gd name="connsiteX3" fmla="*/ 2 w 1299986"/>
              <a:gd name="connsiteY3" fmla="*/ 3273178 h 5995891"/>
              <a:gd name="connsiteX0" fmla="*/ 2 w 1299986"/>
              <a:gd name="connsiteY0" fmla="*/ 3273178 h 5995891"/>
              <a:gd name="connsiteX1" fmla="*/ 1289826 w 1299986"/>
              <a:gd name="connsiteY1" fmla="*/ 0 h 5995891"/>
              <a:gd name="connsiteX2" fmla="*/ 1299986 w 1299986"/>
              <a:gd name="connsiteY2" fmla="*/ 5939409 h 5995891"/>
              <a:gd name="connsiteX3" fmla="*/ 2 w 1299986"/>
              <a:gd name="connsiteY3" fmla="*/ 3273178 h 5995891"/>
              <a:gd name="connsiteX0" fmla="*/ 2 w 1299986"/>
              <a:gd name="connsiteY0" fmla="*/ 3273178 h 5995891"/>
              <a:gd name="connsiteX1" fmla="*/ 1289826 w 1299986"/>
              <a:gd name="connsiteY1" fmla="*/ 0 h 5995891"/>
              <a:gd name="connsiteX2" fmla="*/ 1299986 w 1299986"/>
              <a:gd name="connsiteY2" fmla="*/ 5939409 h 5995891"/>
              <a:gd name="connsiteX3" fmla="*/ 2 w 1299986"/>
              <a:gd name="connsiteY3" fmla="*/ 3273178 h 5995891"/>
              <a:gd name="connsiteX0" fmla="*/ 2 w 1299986"/>
              <a:gd name="connsiteY0" fmla="*/ 2725028 h 5445777"/>
              <a:gd name="connsiteX1" fmla="*/ 1289826 w 1299986"/>
              <a:gd name="connsiteY1" fmla="*/ 0 h 5445777"/>
              <a:gd name="connsiteX2" fmla="*/ 1299986 w 1299986"/>
              <a:gd name="connsiteY2" fmla="*/ 5391259 h 5445777"/>
              <a:gd name="connsiteX3" fmla="*/ 2 w 1299986"/>
              <a:gd name="connsiteY3" fmla="*/ 2725028 h 5445777"/>
              <a:gd name="connsiteX0" fmla="*/ 2 w 1299986"/>
              <a:gd name="connsiteY0" fmla="*/ 3141216 h 5863443"/>
              <a:gd name="connsiteX1" fmla="*/ 1289826 w 1299986"/>
              <a:gd name="connsiteY1" fmla="*/ 0 h 5863443"/>
              <a:gd name="connsiteX2" fmla="*/ 1299986 w 1299986"/>
              <a:gd name="connsiteY2" fmla="*/ 5807447 h 5863443"/>
              <a:gd name="connsiteX3" fmla="*/ 2 w 1299986"/>
              <a:gd name="connsiteY3" fmla="*/ 3141216 h 5863443"/>
              <a:gd name="connsiteX0" fmla="*/ 2 w 1299986"/>
              <a:gd name="connsiteY0" fmla="*/ 3141216 h 5863444"/>
              <a:gd name="connsiteX1" fmla="*/ 1289826 w 1299986"/>
              <a:gd name="connsiteY1" fmla="*/ 0 h 5863444"/>
              <a:gd name="connsiteX2" fmla="*/ 1299986 w 1299986"/>
              <a:gd name="connsiteY2" fmla="*/ 5807447 h 5863444"/>
              <a:gd name="connsiteX3" fmla="*/ 2 w 1299986"/>
              <a:gd name="connsiteY3" fmla="*/ 3141216 h 5863444"/>
              <a:gd name="connsiteX0" fmla="*/ 1 w 1889265"/>
              <a:gd name="connsiteY0" fmla="*/ 3851780 h 5885741"/>
              <a:gd name="connsiteX1" fmla="*/ 1879105 w 1889265"/>
              <a:gd name="connsiteY1" fmla="*/ 0 h 5885741"/>
              <a:gd name="connsiteX2" fmla="*/ 1889265 w 1889265"/>
              <a:gd name="connsiteY2" fmla="*/ 5807447 h 5885741"/>
              <a:gd name="connsiteX3" fmla="*/ 1 w 1889265"/>
              <a:gd name="connsiteY3" fmla="*/ 3851780 h 5885741"/>
              <a:gd name="connsiteX0" fmla="*/ 694 w 1889958"/>
              <a:gd name="connsiteY0" fmla="*/ 3851780 h 5898819"/>
              <a:gd name="connsiteX1" fmla="*/ 1879798 w 1889958"/>
              <a:gd name="connsiteY1" fmla="*/ 0 h 5898819"/>
              <a:gd name="connsiteX2" fmla="*/ 1889958 w 1889958"/>
              <a:gd name="connsiteY2" fmla="*/ 5807447 h 5898819"/>
              <a:gd name="connsiteX3" fmla="*/ 694 w 1889958"/>
              <a:gd name="connsiteY3" fmla="*/ 3851780 h 5898819"/>
              <a:gd name="connsiteX0" fmla="*/ 694 w 1889958"/>
              <a:gd name="connsiteY0" fmla="*/ 3740120 h 5892762"/>
              <a:gd name="connsiteX1" fmla="*/ 1879798 w 1889958"/>
              <a:gd name="connsiteY1" fmla="*/ 0 h 5892762"/>
              <a:gd name="connsiteX2" fmla="*/ 1889958 w 1889958"/>
              <a:gd name="connsiteY2" fmla="*/ 5807447 h 5892762"/>
              <a:gd name="connsiteX3" fmla="*/ 694 w 1889958"/>
              <a:gd name="connsiteY3" fmla="*/ 3740120 h 5892762"/>
              <a:gd name="connsiteX0" fmla="*/ 690 w 1900114"/>
              <a:gd name="connsiteY0" fmla="*/ 3811177 h 5896524"/>
              <a:gd name="connsiteX1" fmla="*/ 1889954 w 1900114"/>
              <a:gd name="connsiteY1" fmla="*/ 0 h 5896524"/>
              <a:gd name="connsiteX2" fmla="*/ 1900114 w 1900114"/>
              <a:gd name="connsiteY2" fmla="*/ 5807447 h 5896524"/>
              <a:gd name="connsiteX3" fmla="*/ 690 w 1900114"/>
              <a:gd name="connsiteY3" fmla="*/ 3811177 h 5896524"/>
              <a:gd name="connsiteX0" fmla="*/ 690 w 1900114"/>
              <a:gd name="connsiteY0" fmla="*/ 3811177 h 5807447"/>
              <a:gd name="connsiteX1" fmla="*/ 1889954 w 1900114"/>
              <a:gd name="connsiteY1" fmla="*/ 0 h 5807447"/>
              <a:gd name="connsiteX2" fmla="*/ 1900114 w 1900114"/>
              <a:gd name="connsiteY2" fmla="*/ 5807447 h 5807447"/>
              <a:gd name="connsiteX3" fmla="*/ 690 w 1900114"/>
              <a:gd name="connsiteY3" fmla="*/ 3811177 h 5807447"/>
              <a:gd name="connsiteX0" fmla="*/ 690 w 1900114"/>
              <a:gd name="connsiteY0" fmla="*/ 3811177 h 5807447"/>
              <a:gd name="connsiteX1" fmla="*/ 1889954 w 1900114"/>
              <a:gd name="connsiteY1" fmla="*/ 0 h 5807447"/>
              <a:gd name="connsiteX2" fmla="*/ 1900114 w 1900114"/>
              <a:gd name="connsiteY2" fmla="*/ 5807447 h 5807447"/>
              <a:gd name="connsiteX3" fmla="*/ 690 w 1900114"/>
              <a:gd name="connsiteY3" fmla="*/ 3811177 h 5807447"/>
              <a:gd name="connsiteX0" fmla="*/ 403 w 1899827"/>
              <a:gd name="connsiteY0" fmla="*/ 3811177 h 5807447"/>
              <a:gd name="connsiteX1" fmla="*/ 1889667 w 1899827"/>
              <a:gd name="connsiteY1" fmla="*/ 0 h 5807447"/>
              <a:gd name="connsiteX2" fmla="*/ 1899827 w 1899827"/>
              <a:gd name="connsiteY2" fmla="*/ 5807447 h 5807447"/>
              <a:gd name="connsiteX3" fmla="*/ 403 w 1899827"/>
              <a:gd name="connsiteY3" fmla="*/ 3811177 h 5807447"/>
            </a:gdLst>
            <a:ahLst/>
            <a:cxnLst>
              <a:cxn ang="0">
                <a:pos x="connsiteX0" y="connsiteY0"/>
              </a:cxn>
              <a:cxn ang="0">
                <a:pos x="connsiteX1" y="connsiteY1"/>
              </a:cxn>
              <a:cxn ang="0">
                <a:pos x="connsiteX2" y="connsiteY2"/>
              </a:cxn>
              <a:cxn ang="0">
                <a:pos x="connsiteX3" y="connsiteY3"/>
              </a:cxn>
            </a:cxnLst>
            <a:rect l="l" t="t" r="r" b="b"/>
            <a:pathLst>
              <a:path w="1899827" h="5807447">
                <a:moveTo>
                  <a:pt x="403" y="3811177"/>
                </a:moveTo>
                <a:cubicBezTo>
                  <a:pt x="-31770" y="2467685"/>
                  <a:pt x="1876203" y="854946"/>
                  <a:pt x="1889667" y="0"/>
                </a:cubicBezTo>
                <a:cubicBezTo>
                  <a:pt x="1893054" y="1979803"/>
                  <a:pt x="1896440" y="3827644"/>
                  <a:pt x="1899827" y="5807447"/>
                </a:cubicBezTo>
                <a:cubicBezTo>
                  <a:pt x="1007523" y="5706703"/>
                  <a:pt x="32576" y="5154669"/>
                  <a:pt x="403" y="3811177"/>
                </a:cubicBezTo>
                <a:close/>
              </a:path>
            </a:pathLst>
          </a:custGeom>
          <a:solidFill>
            <a:schemeClr val="bg2"/>
          </a:solidFill>
          <a:ln w="3175">
            <a:noFill/>
          </a:ln>
        </p:spPr>
        <p:txBody>
          <a:bodyPr tIns="720000" anchor="ctr" anchorCtr="0"/>
          <a:lstStyle>
            <a:lvl1pPr algn="ctr">
              <a:defRPr sz="1500">
                <a:solidFill>
                  <a:schemeClr val="bg1"/>
                </a:solidFill>
              </a:defRPr>
            </a:lvl1pPr>
          </a:lstStyle>
          <a:p>
            <a:r>
              <a:rPr lang="en-US" noProof="0"/>
              <a:t>Select your own photo</a:t>
            </a:r>
          </a:p>
        </p:txBody>
      </p:sp>
    </p:spTree>
    <p:extLst>
      <p:ext uri="{BB962C8B-B14F-4D97-AF65-F5344CB8AC3E}">
        <p14:creationId xmlns:p14="http://schemas.microsoft.com/office/powerpoint/2010/main" val="345305558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obj">
  <p:cSld name="Content_Layout">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p:txBody>
          <a:bodyPr/>
          <a:lstStyle/>
          <a:p>
            <a:r>
              <a:rPr lang="en-US" noProof="0"/>
              <a:t>TITLE</a:t>
            </a:r>
          </a:p>
        </p:txBody>
      </p:sp>
      <p:sp>
        <p:nvSpPr>
          <p:cNvPr id="3" name="Espace réservé du contenu 2"/>
          <p:cNvSpPr>
            <a:spLocks noGrp="1"/>
          </p:cNvSpPr>
          <p:nvPr>
            <p:ph idx="1" hasCustomPrompt="1"/>
          </p:nvPr>
        </p:nvSpPr>
        <p:spPr bwMode="gray"/>
        <p:txBody>
          <a:bodyPr/>
          <a:lstStyle>
            <a:lvl2pPr>
              <a:defRPr/>
            </a:lvl2pPr>
            <a:lvl3pPr>
              <a:defRPr/>
            </a:lvl3pPr>
            <a:lvl4pPr>
              <a:defRPr baseline="0"/>
            </a:lvl4pPr>
            <a:lvl5pPr>
              <a:defRPr/>
            </a:lvl5pPr>
          </a:lstStyle>
          <a:p>
            <a:pPr lvl="0"/>
            <a:r>
              <a:rPr lang="en-US" noProof="0"/>
              <a:t>Text level 1</a:t>
            </a:r>
          </a:p>
          <a:p>
            <a:pPr lvl="1"/>
            <a:r>
              <a:rPr lang="en-US" noProof="0"/>
              <a:t>Text level 2</a:t>
            </a:r>
          </a:p>
          <a:p>
            <a:pPr lvl="2"/>
            <a:r>
              <a:rPr lang="en-US" noProof="0"/>
              <a:t>Text level 3</a:t>
            </a:r>
          </a:p>
          <a:p>
            <a:pPr lvl="3"/>
            <a:r>
              <a:rPr lang="en-US" noProof="0"/>
              <a:t>Text level 4</a:t>
            </a:r>
          </a:p>
          <a:p>
            <a:pPr lvl="4"/>
            <a:r>
              <a:rPr lang="en-US" noProof="0"/>
              <a:t>Text level 5</a:t>
            </a:r>
          </a:p>
        </p:txBody>
      </p:sp>
      <p:sp>
        <p:nvSpPr>
          <p:cNvPr id="7" name="Espace réservé de la date 6"/>
          <p:cNvSpPr>
            <a:spLocks noGrp="1"/>
          </p:cNvSpPr>
          <p:nvPr>
            <p:ph type="dt" sz="half" idx="10"/>
          </p:nvPr>
        </p:nvSpPr>
        <p:spPr bwMode="gray"/>
        <p:txBody>
          <a:bodyPr/>
          <a:lstStyle/>
          <a:p>
            <a:r>
              <a:rPr lang="en-US">
                <a:solidFill>
                  <a:prstClr val="white">
                    <a:alpha val="0"/>
                  </a:prstClr>
                </a:solidFill>
              </a:rPr>
              <a:t>Date</a:t>
            </a:r>
          </a:p>
        </p:txBody>
      </p:sp>
      <p:sp>
        <p:nvSpPr>
          <p:cNvPr id="8" name="Espace réservé du numéro de diapositive 7"/>
          <p:cNvSpPr>
            <a:spLocks noGrp="1"/>
          </p:cNvSpPr>
          <p:nvPr>
            <p:ph type="sldNum" sz="quarter" idx="11"/>
          </p:nvPr>
        </p:nvSpPr>
        <p:spPr bwMode="gray"/>
        <p:txBody>
          <a:bodyPr/>
          <a:lstStyle/>
          <a:p>
            <a:pPr algn="l"/>
            <a:fld id="{733122C9-A0B9-462F-8757-0847AD287B63}" type="slidenum">
              <a:rPr lang="en-US" smtClean="0">
                <a:solidFill>
                  <a:srgbClr val="343434"/>
                </a:solidFill>
              </a:rPr>
              <a:pPr algn="l"/>
              <a:t>‹#›</a:t>
            </a:fld>
            <a:endParaRPr lang="en-US">
              <a:solidFill>
                <a:srgbClr val="343434"/>
              </a:solidFill>
            </a:endParaRPr>
          </a:p>
        </p:txBody>
      </p:sp>
      <p:sp>
        <p:nvSpPr>
          <p:cNvPr id="11" name="Espace réservé du pied de page 10"/>
          <p:cNvSpPr>
            <a:spLocks noGrp="1"/>
          </p:cNvSpPr>
          <p:nvPr>
            <p:ph type="ftr" sz="quarter" idx="12"/>
          </p:nvPr>
        </p:nvSpPr>
        <p:spPr bwMode="gray"/>
        <p:txBody>
          <a:bodyPr/>
          <a:lstStyle/>
          <a:p>
            <a:r>
              <a:rPr lang="en-US">
                <a:solidFill>
                  <a:srgbClr val="005CB9"/>
                </a:solidFill>
              </a:rPr>
              <a:t>#</a:t>
            </a:r>
            <a:r>
              <a:rPr lang="en-US" err="1">
                <a:solidFill>
                  <a:srgbClr val="005CB9"/>
                </a:solidFill>
              </a:rPr>
              <a:t>vaccineswork</a:t>
            </a:r>
            <a:endParaRPr lang="en-US">
              <a:solidFill>
                <a:srgbClr val="005CB9"/>
              </a:solidFill>
            </a:endParaRPr>
          </a:p>
        </p:txBody>
      </p:sp>
    </p:spTree>
    <p:extLst>
      <p:ext uri="{BB962C8B-B14F-4D97-AF65-F5344CB8AC3E}">
        <p14:creationId xmlns:p14="http://schemas.microsoft.com/office/powerpoint/2010/main" val="117959317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Picture_Layout">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p:txBody>
          <a:bodyPr/>
          <a:lstStyle/>
          <a:p>
            <a:r>
              <a:rPr lang="en-US" noProof="0"/>
              <a:t>TITLE</a:t>
            </a:r>
          </a:p>
        </p:txBody>
      </p:sp>
      <p:sp>
        <p:nvSpPr>
          <p:cNvPr id="3" name="Espace réservé du contenu 2"/>
          <p:cNvSpPr>
            <a:spLocks noGrp="1"/>
          </p:cNvSpPr>
          <p:nvPr>
            <p:ph idx="1" hasCustomPrompt="1"/>
          </p:nvPr>
        </p:nvSpPr>
        <p:spPr bwMode="gray">
          <a:xfrm>
            <a:off x="3635896" y="1304925"/>
            <a:ext cx="4644504" cy="4716463"/>
          </a:xfrm>
        </p:spPr>
        <p:txBody>
          <a:bodyPr/>
          <a:lstStyle>
            <a:lvl2pPr>
              <a:defRPr/>
            </a:lvl2pPr>
            <a:lvl3pPr>
              <a:defRPr/>
            </a:lvl3pPr>
            <a:lvl4pPr>
              <a:defRPr baseline="0"/>
            </a:lvl4pPr>
            <a:lvl5pPr>
              <a:defRPr/>
            </a:lvl5pPr>
          </a:lstStyle>
          <a:p>
            <a:pPr lvl="0"/>
            <a:r>
              <a:rPr lang="en-US" noProof="0"/>
              <a:t>Text level 1</a:t>
            </a:r>
          </a:p>
          <a:p>
            <a:pPr lvl="1"/>
            <a:r>
              <a:rPr lang="en-US" noProof="0"/>
              <a:t>Text level 2</a:t>
            </a:r>
          </a:p>
          <a:p>
            <a:pPr lvl="2"/>
            <a:r>
              <a:rPr lang="en-US" noProof="0"/>
              <a:t>Text level 3</a:t>
            </a:r>
          </a:p>
          <a:p>
            <a:pPr lvl="3"/>
            <a:r>
              <a:rPr lang="en-US" noProof="0"/>
              <a:t>Text level 4</a:t>
            </a:r>
          </a:p>
          <a:p>
            <a:pPr lvl="4"/>
            <a:r>
              <a:rPr lang="en-US" noProof="0"/>
              <a:t>Text level 5</a:t>
            </a:r>
          </a:p>
        </p:txBody>
      </p:sp>
      <p:sp>
        <p:nvSpPr>
          <p:cNvPr id="9" name="Espace réservé pour une image  8"/>
          <p:cNvSpPr>
            <a:spLocks noGrp="1"/>
          </p:cNvSpPr>
          <p:nvPr>
            <p:ph type="pic" sz="quarter" idx="13" hasCustomPrompt="1"/>
          </p:nvPr>
        </p:nvSpPr>
        <p:spPr bwMode="gray">
          <a:xfrm>
            <a:off x="0" y="1341438"/>
            <a:ext cx="3419038" cy="4679950"/>
          </a:xfrm>
        </p:spPr>
        <p:txBody>
          <a:bodyPr tIns="1008000" anchor="ctr" anchorCtr="0"/>
          <a:lstStyle>
            <a:lvl1pPr algn="ctr">
              <a:defRPr/>
            </a:lvl1pPr>
          </a:lstStyle>
          <a:p>
            <a:r>
              <a:rPr lang="en-US" noProof="0"/>
              <a:t>Select your own photo</a:t>
            </a:r>
          </a:p>
        </p:txBody>
      </p:sp>
      <p:sp>
        <p:nvSpPr>
          <p:cNvPr id="8" name="Espace réservé de la date 7"/>
          <p:cNvSpPr>
            <a:spLocks noGrp="1"/>
          </p:cNvSpPr>
          <p:nvPr>
            <p:ph type="dt" sz="half" idx="14"/>
          </p:nvPr>
        </p:nvSpPr>
        <p:spPr bwMode="gray"/>
        <p:txBody>
          <a:bodyPr/>
          <a:lstStyle/>
          <a:p>
            <a:r>
              <a:rPr lang="en-US">
                <a:solidFill>
                  <a:prstClr val="white">
                    <a:alpha val="0"/>
                  </a:prstClr>
                </a:solidFill>
              </a:rPr>
              <a:t>Date</a:t>
            </a:r>
          </a:p>
        </p:txBody>
      </p:sp>
      <p:sp>
        <p:nvSpPr>
          <p:cNvPr id="11" name="Espace réservé du numéro de diapositive 10"/>
          <p:cNvSpPr>
            <a:spLocks noGrp="1"/>
          </p:cNvSpPr>
          <p:nvPr>
            <p:ph type="sldNum" sz="quarter" idx="15"/>
          </p:nvPr>
        </p:nvSpPr>
        <p:spPr bwMode="gray"/>
        <p:txBody>
          <a:bodyPr/>
          <a:lstStyle/>
          <a:p>
            <a:pPr algn="l"/>
            <a:fld id="{733122C9-A0B9-462F-8757-0847AD287B63}" type="slidenum">
              <a:rPr lang="en-US" smtClean="0">
                <a:solidFill>
                  <a:srgbClr val="343434"/>
                </a:solidFill>
              </a:rPr>
              <a:pPr algn="l"/>
              <a:t>‹#›</a:t>
            </a:fld>
            <a:endParaRPr lang="en-US">
              <a:solidFill>
                <a:srgbClr val="343434"/>
              </a:solidFill>
            </a:endParaRPr>
          </a:p>
        </p:txBody>
      </p:sp>
      <p:sp>
        <p:nvSpPr>
          <p:cNvPr id="12" name="Espace réservé du pied de page 11"/>
          <p:cNvSpPr>
            <a:spLocks noGrp="1"/>
          </p:cNvSpPr>
          <p:nvPr>
            <p:ph type="ftr" sz="quarter" idx="16"/>
          </p:nvPr>
        </p:nvSpPr>
        <p:spPr bwMode="gray"/>
        <p:txBody>
          <a:bodyPr/>
          <a:lstStyle/>
          <a:p>
            <a:r>
              <a:rPr lang="en-US">
                <a:solidFill>
                  <a:srgbClr val="005CB9"/>
                </a:solidFill>
              </a:rPr>
              <a:t>#</a:t>
            </a:r>
            <a:r>
              <a:rPr lang="en-US" err="1">
                <a:solidFill>
                  <a:srgbClr val="005CB9"/>
                </a:solidFill>
              </a:rPr>
              <a:t>vaccineswork</a:t>
            </a:r>
            <a:endParaRPr lang="en-US">
              <a:solidFill>
                <a:srgbClr val="005CB9"/>
              </a:solidFill>
            </a:endParaRPr>
          </a:p>
        </p:txBody>
      </p:sp>
    </p:spTree>
    <p:extLst>
      <p:ext uri="{BB962C8B-B14F-4D97-AF65-F5344CB8AC3E}">
        <p14:creationId xmlns:p14="http://schemas.microsoft.com/office/powerpoint/2010/main" val="344737828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ext&amp;Content_Layout">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p:txBody>
          <a:bodyPr/>
          <a:lstStyle/>
          <a:p>
            <a:r>
              <a:rPr lang="en-US" noProof="0"/>
              <a:t>TITLE</a:t>
            </a:r>
          </a:p>
        </p:txBody>
      </p:sp>
      <p:sp>
        <p:nvSpPr>
          <p:cNvPr id="3" name="Espace réservé du contenu 2"/>
          <p:cNvSpPr>
            <a:spLocks noGrp="1"/>
          </p:cNvSpPr>
          <p:nvPr>
            <p:ph idx="1" hasCustomPrompt="1"/>
          </p:nvPr>
        </p:nvSpPr>
        <p:spPr bwMode="gray">
          <a:xfrm>
            <a:off x="935038" y="2781388"/>
            <a:ext cx="7345362" cy="3240000"/>
          </a:xfrm>
        </p:spPr>
        <p:txBody>
          <a:bodyPr/>
          <a:lstStyle>
            <a:lvl2pPr>
              <a:defRPr/>
            </a:lvl2pPr>
            <a:lvl3pPr>
              <a:defRPr/>
            </a:lvl3pPr>
            <a:lvl4pPr>
              <a:defRPr baseline="0"/>
            </a:lvl4pPr>
            <a:lvl5pPr>
              <a:defRPr/>
            </a:lvl5pPr>
          </a:lstStyle>
          <a:p>
            <a:pPr lvl="0"/>
            <a:r>
              <a:rPr lang="en-US" noProof="0"/>
              <a:t>Text level 1</a:t>
            </a:r>
          </a:p>
          <a:p>
            <a:pPr lvl="1"/>
            <a:r>
              <a:rPr lang="en-US" noProof="0"/>
              <a:t>Text level 2</a:t>
            </a:r>
          </a:p>
          <a:p>
            <a:pPr lvl="2"/>
            <a:r>
              <a:rPr lang="en-US" noProof="0"/>
              <a:t>Text level 3</a:t>
            </a:r>
          </a:p>
          <a:p>
            <a:pPr lvl="3"/>
            <a:r>
              <a:rPr lang="en-US" noProof="0"/>
              <a:t>Text level 4</a:t>
            </a:r>
          </a:p>
          <a:p>
            <a:pPr lvl="4"/>
            <a:r>
              <a:rPr lang="en-US" noProof="0"/>
              <a:t>Text level 5</a:t>
            </a:r>
          </a:p>
        </p:txBody>
      </p:sp>
      <p:sp>
        <p:nvSpPr>
          <p:cNvPr id="10" name="Espace réservé du texte 9"/>
          <p:cNvSpPr>
            <a:spLocks noGrp="1"/>
          </p:cNvSpPr>
          <p:nvPr>
            <p:ph type="body" sz="quarter" idx="13" hasCustomPrompt="1"/>
          </p:nvPr>
        </p:nvSpPr>
        <p:spPr bwMode="gray">
          <a:xfrm>
            <a:off x="935038" y="1304924"/>
            <a:ext cx="7345362" cy="1260000"/>
          </a:xfrm>
        </p:spPr>
        <p:txBody>
          <a:bodyPr/>
          <a:lstStyle/>
          <a:p>
            <a:pPr lvl="0"/>
            <a:r>
              <a:rPr lang="en-US" noProof="0"/>
              <a:t>Text level 1</a:t>
            </a:r>
          </a:p>
          <a:p>
            <a:pPr lvl="1"/>
            <a:r>
              <a:rPr lang="en-US" noProof="0"/>
              <a:t>Text level 2</a:t>
            </a:r>
          </a:p>
          <a:p>
            <a:pPr lvl="2"/>
            <a:r>
              <a:rPr lang="en-US" noProof="0"/>
              <a:t>Text level 3</a:t>
            </a:r>
          </a:p>
          <a:p>
            <a:pPr lvl="3"/>
            <a:r>
              <a:rPr lang="en-US" noProof="0"/>
              <a:t>Text level 4</a:t>
            </a:r>
          </a:p>
          <a:p>
            <a:pPr lvl="4"/>
            <a:r>
              <a:rPr lang="en-US" noProof="0"/>
              <a:t>Text level 5</a:t>
            </a:r>
          </a:p>
        </p:txBody>
      </p:sp>
      <p:sp>
        <p:nvSpPr>
          <p:cNvPr id="8" name="Espace réservé de la date 7"/>
          <p:cNvSpPr>
            <a:spLocks noGrp="1"/>
          </p:cNvSpPr>
          <p:nvPr>
            <p:ph type="dt" sz="half" idx="14"/>
          </p:nvPr>
        </p:nvSpPr>
        <p:spPr bwMode="gray"/>
        <p:txBody>
          <a:bodyPr/>
          <a:lstStyle/>
          <a:p>
            <a:r>
              <a:rPr lang="en-US">
                <a:solidFill>
                  <a:prstClr val="white">
                    <a:alpha val="0"/>
                  </a:prstClr>
                </a:solidFill>
              </a:rPr>
              <a:t>Date</a:t>
            </a:r>
          </a:p>
        </p:txBody>
      </p:sp>
      <p:sp>
        <p:nvSpPr>
          <p:cNvPr id="9" name="Espace réservé du numéro de diapositive 8"/>
          <p:cNvSpPr>
            <a:spLocks noGrp="1"/>
          </p:cNvSpPr>
          <p:nvPr>
            <p:ph type="sldNum" sz="quarter" idx="15"/>
          </p:nvPr>
        </p:nvSpPr>
        <p:spPr bwMode="gray"/>
        <p:txBody>
          <a:bodyPr/>
          <a:lstStyle/>
          <a:p>
            <a:pPr algn="l"/>
            <a:fld id="{733122C9-A0B9-462F-8757-0847AD287B63}" type="slidenum">
              <a:rPr lang="en-US" smtClean="0">
                <a:solidFill>
                  <a:srgbClr val="343434"/>
                </a:solidFill>
              </a:rPr>
              <a:pPr algn="l"/>
              <a:t>‹#›</a:t>
            </a:fld>
            <a:endParaRPr lang="en-US">
              <a:solidFill>
                <a:srgbClr val="343434"/>
              </a:solidFill>
            </a:endParaRPr>
          </a:p>
        </p:txBody>
      </p:sp>
      <p:sp>
        <p:nvSpPr>
          <p:cNvPr id="11" name="Espace réservé du pied de page 10"/>
          <p:cNvSpPr>
            <a:spLocks noGrp="1"/>
          </p:cNvSpPr>
          <p:nvPr>
            <p:ph type="ftr" sz="quarter" idx="16"/>
          </p:nvPr>
        </p:nvSpPr>
        <p:spPr bwMode="gray"/>
        <p:txBody>
          <a:bodyPr/>
          <a:lstStyle/>
          <a:p>
            <a:r>
              <a:rPr lang="en-US">
                <a:solidFill>
                  <a:srgbClr val="005CB9"/>
                </a:solidFill>
              </a:rPr>
              <a:t>#</a:t>
            </a:r>
            <a:r>
              <a:rPr lang="en-US" err="1">
                <a:solidFill>
                  <a:srgbClr val="005CB9"/>
                </a:solidFill>
              </a:rPr>
              <a:t>vaccineswork</a:t>
            </a:r>
            <a:endParaRPr lang="en-US">
              <a:solidFill>
                <a:srgbClr val="005CB9"/>
              </a:solidFill>
            </a:endParaRPr>
          </a:p>
        </p:txBody>
      </p:sp>
    </p:spTree>
    <p:extLst>
      <p:ext uri="{BB962C8B-B14F-4D97-AF65-F5344CB8AC3E}">
        <p14:creationId xmlns:p14="http://schemas.microsoft.com/office/powerpoint/2010/main" val="427341444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hank_you_1">
    <p:spTree>
      <p:nvGrpSpPr>
        <p:cNvPr id="1" name=""/>
        <p:cNvGrpSpPr/>
        <p:nvPr/>
      </p:nvGrpSpPr>
      <p:grpSpPr>
        <a:xfrm>
          <a:off x="0" y="0"/>
          <a:ext cx="0" cy="0"/>
          <a:chOff x="0" y="0"/>
          <a:chExt cx="0" cy="0"/>
        </a:xfrm>
      </p:grpSpPr>
      <p:pic>
        <p:nvPicPr>
          <p:cNvPr id="19" name="Image 18" descr="FD_1_L254.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gray">
          <a:xfrm>
            <a:off x="0" y="0"/>
            <a:ext cx="9144000" cy="5157788"/>
          </a:xfrm>
          <a:prstGeom prst="rect">
            <a:avLst/>
          </a:prstGeom>
        </p:spPr>
      </p:pic>
      <p:sp>
        <p:nvSpPr>
          <p:cNvPr id="22" name="Rectangle 21"/>
          <p:cNvSpPr/>
          <p:nvPr userDrawn="1"/>
        </p:nvSpPr>
        <p:spPr bwMode="gray">
          <a:xfrm>
            <a:off x="3635375" y="5265204"/>
            <a:ext cx="5508625" cy="15927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pic>
        <p:nvPicPr>
          <p:cNvPr id="20" name="Image 19" descr="Bas_couv.png"/>
          <p:cNvPicPr>
            <a:picLocks noChangeAspect="1"/>
          </p:cNvPicPr>
          <p:nvPr userDrawn="1"/>
        </p:nvPicPr>
        <p:blipFill>
          <a:blip r:embed="rId3" cstate="screen">
            <a:extLst>
              <a:ext uri="{28A0092B-C50C-407E-A947-70E740481C1C}">
                <a14:useLocalDpi xmlns:a14="http://schemas.microsoft.com/office/drawing/2010/main"/>
              </a:ext>
            </a:extLst>
          </a:blip>
          <a:srcRect/>
          <a:stretch>
            <a:fillRect/>
          </a:stretch>
        </p:blipFill>
        <p:spPr bwMode="gray">
          <a:xfrm>
            <a:off x="0" y="5172520"/>
            <a:ext cx="3635375" cy="1685480"/>
          </a:xfrm>
          <a:prstGeom prst="rect">
            <a:avLst/>
          </a:prstGeom>
        </p:spPr>
      </p:pic>
      <p:sp>
        <p:nvSpPr>
          <p:cNvPr id="9" name="Espace réservé du texte 8"/>
          <p:cNvSpPr>
            <a:spLocks noGrp="1"/>
          </p:cNvSpPr>
          <p:nvPr>
            <p:ph type="body" sz="quarter" idx="13" hasCustomPrompt="1"/>
          </p:nvPr>
        </p:nvSpPr>
        <p:spPr bwMode="gray">
          <a:xfrm>
            <a:off x="468314" y="1036638"/>
            <a:ext cx="4824412" cy="2242966"/>
          </a:xfrm>
        </p:spPr>
        <p:txBody>
          <a:bodyPr anchor="b" anchorCtr="0"/>
          <a:lstStyle>
            <a:lvl1pPr marL="0" indent="0" algn="l">
              <a:lnSpc>
                <a:spcPct val="90000"/>
              </a:lnSpc>
              <a:buNone/>
              <a:defRPr sz="2800" b="1" cap="none" baseline="0">
                <a:solidFill>
                  <a:schemeClr val="bg1"/>
                </a:solidFill>
              </a:defRPr>
            </a:lvl1pPr>
            <a:lvl2pPr marL="0" algn="ctr">
              <a:lnSpc>
                <a:spcPct val="100000"/>
              </a:lnSpc>
              <a:spcBef>
                <a:spcPts val="6900"/>
              </a:spcBef>
              <a:defRPr sz="2000" b="1">
                <a:solidFill>
                  <a:schemeClr val="bg1"/>
                </a:solidFill>
              </a:defRPr>
            </a:lvl2pPr>
          </a:lstStyle>
          <a:p>
            <a:pPr lvl="0"/>
            <a:r>
              <a:rPr lang="en-US" noProof="0"/>
              <a:t>TITLE</a:t>
            </a:r>
          </a:p>
        </p:txBody>
      </p:sp>
      <p:sp>
        <p:nvSpPr>
          <p:cNvPr id="10" name="Espace réservé de la date 9"/>
          <p:cNvSpPr>
            <a:spLocks noGrp="1"/>
          </p:cNvSpPr>
          <p:nvPr>
            <p:ph type="dt" sz="half" idx="15"/>
          </p:nvPr>
        </p:nvSpPr>
        <p:spPr bwMode="gray"/>
        <p:txBody>
          <a:bodyPr/>
          <a:lstStyle/>
          <a:p>
            <a:r>
              <a:rPr lang="en-US">
                <a:solidFill>
                  <a:prstClr val="white">
                    <a:alpha val="0"/>
                  </a:prstClr>
                </a:solidFill>
              </a:rPr>
              <a:t>Date</a:t>
            </a:r>
          </a:p>
        </p:txBody>
      </p:sp>
      <p:sp>
        <p:nvSpPr>
          <p:cNvPr id="11" name="Espace réservé du numéro de diapositive 10"/>
          <p:cNvSpPr>
            <a:spLocks noGrp="1"/>
          </p:cNvSpPr>
          <p:nvPr>
            <p:ph type="sldNum" sz="quarter" idx="16"/>
          </p:nvPr>
        </p:nvSpPr>
        <p:spPr bwMode="gray"/>
        <p:txBody>
          <a:bodyPr/>
          <a:lstStyle>
            <a:lvl1pPr>
              <a:defRPr sz="100">
                <a:solidFill>
                  <a:schemeClr val="bg1">
                    <a:alpha val="0"/>
                  </a:schemeClr>
                </a:solidFill>
              </a:defRPr>
            </a:lvl1pPr>
          </a:lstStyle>
          <a:p>
            <a:pPr algn="l"/>
            <a:r>
              <a:rPr lang="en-US">
                <a:solidFill>
                  <a:prstClr val="white">
                    <a:alpha val="0"/>
                  </a:prstClr>
                </a:solidFill>
              </a:rPr>
              <a:t>Page: </a:t>
            </a:r>
            <a:fld id="{733122C9-A0B9-462F-8757-0847AD287B63}" type="slidenum">
              <a:rPr lang="en-US" smtClean="0">
                <a:solidFill>
                  <a:prstClr val="white">
                    <a:alpha val="0"/>
                  </a:prstClr>
                </a:solidFill>
              </a:rPr>
              <a:pPr algn="l"/>
              <a:t>‹#›</a:t>
            </a:fld>
            <a:endParaRPr lang="en-US">
              <a:solidFill>
                <a:prstClr val="white">
                  <a:alpha val="0"/>
                </a:prstClr>
              </a:solidFill>
            </a:endParaRPr>
          </a:p>
        </p:txBody>
      </p:sp>
      <p:sp>
        <p:nvSpPr>
          <p:cNvPr id="12" name="Espace réservé du pied de page 11"/>
          <p:cNvSpPr>
            <a:spLocks noGrp="1"/>
          </p:cNvSpPr>
          <p:nvPr>
            <p:ph type="ftr" sz="quarter" idx="17"/>
          </p:nvPr>
        </p:nvSpPr>
        <p:spPr bwMode="gray">
          <a:xfrm>
            <a:off x="468312" y="524188"/>
            <a:ext cx="4824413" cy="360000"/>
          </a:xfrm>
        </p:spPr>
        <p:txBody>
          <a:bodyPr/>
          <a:lstStyle>
            <a:lvl1pPr algn="l">
              <a:defRPr sz="1800" b="0">
                <a:solidFill>
                  <a:schemeClr val="bg1"/>
                </a:solidFill>
              </a:defRPr>
            </a:lvl1pPr>
          </a:lstStyle>
          <a:p>
            <a:r>
              <a:rPr lang="en-US">
                <a:solidFill>
                  <a:prstClr val="white"/>
                </a:solidFill>
              </a:rPr>
              <a:t>#</a:t>
            </a:r>
            <a:r>
              <a:rPr lang="en-US" err="1">
                <a:solidFill>
                  <a:prstClr val="white"/>
                </a:solidFill>
              </a:rPr>
              <a:t>vaccineswork</a:t>
            </a:r>
            <a:endParaRPr lang="en-US">
              <a:solidFill>
                <a:prstClr val="white"/>
              </a:solidFill>
            </a:endParaRPr>
          </a:p>
        </p:txBody>
      </p:sp>
      <p:sp>
        <p:nvSpPr>
          <p:cNvPr id="15" name="Espace réservé du texte 14"/>
          <p:cNvSpPr>
            <a:spLocks noGrp="1"/>
          </p:cNvSpPr>
          <p:nvPr>
            <p:ph type="body" sz="quarter" idx="19" hasCustomPrompt="1"/>
          </p:nvPr>
        </p:nvSpPr>
        <p:spPr bwMode="gray">
          <a:xfrm>
            <a:off x="3635376" y="6021388"/>
            <a:ext cx="5113338" cy="324000"/>
          </a:xfrm>
        </p:spPr>
        <p:txBody>
          <a:bodyPr anchor="b" anchorCtr="0"/>
          <a:lstStyle>
            <a:lvl1pPr algn="r">
              <a:lnSpc>
                <a:spcPct val="100000"/>
              </a:lnSpc>
              <a:defRPr sz="1000" b="1">
                <a:solidFill>
                  <a:schemeClr val="accent3"/>
                </a:solidFill>
              </a:defRPr>
            </a:lvl1pPr>
          </a:lstStyle>
          <a:p>
            <a:pPr lvl="0"/>
            <a:r>
              <a:rPr lang="en-US" noProof="0"/>
              <a:t>Write your claim here</a:t>
            </a:r>
          </a:p>
        </p:txBody>
      </p:sp>
      <p:sp>
        <p:nvSpPr>
          <p:cNvPr id="16" name="Rectangle 15"/>
          <p:cNvSpPr/>
          <p:nvPr userDrawn="1"/>
        </p:nvSpPr>
        <p:spPr bwMode="gray">
          <a:xfrm>
            <a:off x="3635375" y="6354202"/>
            <a:ext cx="5113338" cy="2872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r"/>
            <a:r>
              <a:rPr lang="en-US" sz="1000" err="1">
                <a:solidFill>
                  <a:srgbClr val="95D600"/>
                </a:solidFill>
              </a:rPr>
              <a:t>www.gavi.org</a:t>
            </a:r>
            <a:endParaRPr lang="en-US" sz="1000">
              <a:solidFill>
                <a:srgbClr val="95D600"/>
              </a:solidFill>
            </a:endParaRPr>
          </a:p>
        </p:txBody>
      </p:sp>
      <p:cxnSp>
        <p:nvCxnSpPr>
          <p:cNvPr id="14" name="Connecteur droit 13"/>
          <p:cNvCxnSpPr/>
          <p:nvPr userDrawn="1"/>
        </p:nvCxnSpPr>
        <p:spPr bwMode="gray">
          <a:xfrm flipH="1">
            <a:off x="468313" y="3400425"/>
            <a:ext cx="2448000" cy="0"/>
          </a:xfrm>
          <a:prstGeom prst="line">
            <a:avLst/>
          </a:prstGeom>
          <a:ln w="24130">
            <a:solidFill>
              <a:schemeClr val="accent1"/>
            </a:solidFill>
          </a:ln>
        </p:spPr>
        <p:style>
          <a:lnRef idx="1">
            <a:schemeClr val="accent1"/>
          </a:lnRef>
          <a:fillRef idx="0">
            <a:schemeClr val="accent1"/>
          </a:fillRef>
          <a:effectRef idx="0">
            <a:schemeClr val="accent1"/>
          </a:effectRef>
          <a:fontRef idx="minor">
            <a:schemeClr val="tx1"/>
          </a:fontRef>
        </p:style>
      </p:cxnSp>
      <p:sp>
        <p:nvSpPr>
          <p:cNvPr id="13" name="Espace réservé pour une image  17"/>
          <p:cNvSpPr>
            <a:spLocks noGrp="1"/>
          </p:cNvSpPr>
          <p:nvPr>
            <p:ph type="pic" sz="quarter" idx="18" hasCustomPrompt="1"/>
          </p:nvPr>
        </p:nvSpPr>
        <p:spPr bwMode="gray">
          <a:xfrm>
            <a:off x="4192588" y="0"/>
            <a:ext cx="4951412" cy="5162400"/>
          </a:xfrm>
          <a:custGeom>
            <a:avLst/>
            <a:gdLst>
              <a:gd name="connsiteX0" fmla="*/ 0 w 3851275"/>
              <a:gd name="connsiteY0" fmla="*/ 0 h 5157788"/>
              <a:gd name="connsiteX1" fmla="*/ 3851275 w 3851275"/>
              <a:gd name="connsiteY1" fmla="*/ 0 h 5157788"/>
              <a:gd name="connsiteX2" fmla="*/ 3851275 w 3851275"/>
              <a:gd name="connsiteY2" fmla="*/ 5157788 h 5157788"/>
              <a:gd name="connsiteX3" fmla="*/ 0 w 3851275"/>
              <a:gd name="connsiteY3" fmla="*/ 5157788 h 5157788"/>
              <a:gd name="connsiteX4" fmla="*/ 0 w 3851275"/>
              <a:gd name="connsiteY4"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0 w 3851275"/>
              <a:gd name="connsiteY3" fmla="*/ 5157788 h 5157788"/>
              <a:gd name="connsiteX4" fmla="*/ 1692275 w 3851275"/>
              <a:gd name="connsiteY4" fmla="*/ 0 h 5157788"/>
              <a:gd name="connsiteX0" fmla="*/ 0 w 2159000"/>
              <a:gd name="connsiteY0" fmla="*/ 0 h 5157788"/>
              <a:gd name="connsiteX1" fmla="*/ 2159000 w 2159000"/>
              <a:gd name="connsiteY1" fmla="*/ 0 h 5157788"/>
              <a:gd name="connsiteX2" fmla="*/ 2159000 w 2159000"/>
              <a:gd name="connsiteY2" fmla="*/ 5157788 h 5157788"/>
              <a:gd name="connsiteX3" fmla="*/ 0 w 2159000"/>
              <a:gd name="connsiteY3" fmla="*/ 5157788 h 5157788"/>
              <a:gd name="connsiteX4" fmla="*/ 0 w 2159000"/>
              <a:gd name="connsiteY4" fmla="*/ 0 h 5157788"/>
              <a:gd name="connsiteX0" fmla="*/ 2625271 w 4784271"/>
              <a:gd name="connsiteY0" fmla="*/ 0 h 5157788"/>
              <a:gd name="connsiteX1" fmla="*/ 4784271 w 4784271"/>
              <a:gd name="connsiteY1" fmla="*/ 0 h 5157788"/>
              <a:gd name="connsiteX2" fmla="*/ 4784271 w 4784271"/>
              <a:gd name="connsiteY2" fmla="*/ 5157788 h 5157788"/>
              <a:gd name="connsiteX3" fmla="*/ 2625271 w 4784271"/>
              <a:gd name="connsiteY3" fmla="*/ 5157788 h 5157788"/>
              <a:gd name="connsiteX4" fmla="*/ 2625271 w 4784271"/>
              <a:gd name="connsiteY4" fmla="*/ 0 h 5157788"/>
              <a:gd name="connsiteX0" fmla="*/ 2625271 w 4784271"/>
              <a:gd name="connsiteY0" fmla="*/ 0 h 5157788"/>
              <a:gd name="connsiteX1" fmla="*/ 4784271 w 4784271"/>
              <a:gd name="connsiteY1" fmla="*/ 0 h 5157788"/>
              <a:gd name="connsiteX2" fmla="*/ 4784271 w 4784271"/>
              <a:gd name="connsiteY2" fmla="*/ 5157788 h 5157788"/>
              <a:gd name="connsiteX3" fmla="*/ 2625271 w 4784271"/>
              <a:gd name="connsiteY3" fmla="*/ 5157788 h 5157788"/>
              <a:gd name="connsiteX4" fmla="*/ 2625271 w 4784271"/>
              <a:gd name="connsiteY4" fmla="*/ 0 h 5157788"/>
              <a:gd name="connsiteX0" fmla="*/ 3568576 w 5727576"/>
              <a:gd name="connsiteY0" fmla="*/ 0 h 5157788"/>
              <a:gd name="connsiteX1" fmla="*/ 5727576 w 5727576"/>
              <a:gd name="connsiteY1" fmla="*/ 0 h 5157788"/>
              <a:gd name="connsiteX2" fmla="*/ 5727576 w 5727576"/>
              <a:gd name="connsiteY2" fmla="*/ 5157788 h 5157788"/>
              <a:gd name="connsiteX3" fmla="*/ 3568576 w 5727576"/>
              <a:gd name="connsiteY3" fmla="*/ 5157788 h 5157788"/>
              <a:gd name="connsiteX4" fmla="*/ 3568576 w 5727576"/>
              <a:gd name="connsiteY4" fmla="*/ 0 h 5157788"/>
              <a:gd name="connsiteX0" fmla="*/ 3306355 w 5465355"/>
              <a:gd name="connsiteY0" fmla="*/ 0 h 5157788"/>
              <a:gd name="connsiteX1" fmla="*/ 5465355 w 5465355"/>
              <a:gd name="connsiteY1" fmla="*/ 0 h 5157788"/>
              <a:gd name="connsiteX2" fmla="*/ 5465355 w 5465355"/>
              <a:gd name="connsiteY2" fmla="*/ 5157788 h 5157788"/>
              <a:gd name="connsiteX3" fmla="*/ 3306355 w 5465355"/>
              <a:gd name="connsiteY3" fmla="*/ 5157788 h 5157788"/>
              <a:gd name="connsiteX4" fmla="*/ 3306355 w 5465355"/>
              <a:gd name="connsiteY4" fmla="*/ 0 h 5157788"/>
              <a:gd name="connsiteX0" fmla="*/ 1416957 w 3575957"/>
              <a:gd name="connsiteY0" fmla="*/ 0 h 5157788"/>
              <a:gd name="connsiteX1" fmla="*/ 3575957 w 3575957"/>
              <a:gd name="connsiteY1" fmla="*/ 0 h 5157788"/>
              <a:gd name="connsiteX2" fmla="*/ 3575957 w 3575957"/>
              <a:gd name="connsiteY2" fmla="*/ 5157788 h 5157788"/>
              <a:gd name="connsiteX3" fmla="*/ 1416957 w 3575957"/>
              <a:gd name="connsiteY3" fmla="*/ 5157788 h 5157788"/>
              <a:gd name="connsiteX4" fmla="*/ 0 w 3575957"/>
              <a:gd name="connsiteY4" fmla="*/ 3339193 h 5157788"/>
              <a:gd name="connsiteX5" fmla="*/ 1416957 w 3575957"/>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6017419"/>
              <a:gd name="connsiteX1" fmla="*/ 3851275 w 3851275"/>
              <a:gd name="connsiteY1" fmla="*/ 0 h 6017419"/>
              <a:gd name="connsiteX2" fmla="*/ 3851275 w 3851275"/>
              <a:gd name="connsiteY2" fmla="*/ 5157788 h 6017419"/>
              <a:gd name="connsiteX3" fmla="*/ 1692275 w 3851275"/>
              <a:gd name="connsiteY3" fmla="*/ 5157788 h 6017419"/>
              <a:gd name="connsiteX4" fmla="*/ 0 w 3851275"/>
              <a:gd name="connsiteY4" fmla="*/ 3284984 h 6017419"/>
              <a:gd name="connsiteX5" fmla="*/ 1692275 w 3851275"/>
              <a:gd name="connsiteY5" fmla="*/ 0 h 6017419"/>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429000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429000 h 5157788"/>
              <a:gd name="connsiteX5" fmla="*/ 1710871 w 3869871"/>
              <a:gd name="connsiteY5" fmla="*/ 0 h 5157788"/>
              <a:gd name="connsiteX0" fmla="*/ 1704975 w 3863975"/>
              <a:gd name="connsiteY0" fmla="*/ 0 h 5157788"/>
              <a:gd name="connsiteX1" fmla="*/ 3863975 w 3863975"/>
              <a:gd name="connsiteY1" fmla="*/ 0 h 5157788"/>
              <a:gd name="connsiteX2" fmla="*/ 3863975 w 3863975"/>
              <a:gd name="connsiteY2" fmla="*/ 5157788 h 5157788"/>
              <a:gd name="connsiteX3" fmla="*/ 1704975 w 3863975"/>
              <a:gd name="connsiteY3" fmla="*/ 5157788 h 5157788"/>
              <a:gd name="connsiteX4" fmla="*/ 12700 w 3863975"/>
              <a:gd name="connsiteY4" fmla="*/ 3429000 h 5157788"/>
              <a:gd name="connsiteX5" fmla="*/ 1704975 w 3863975"/>
              <a:gd name="connsiteY5" fmla="*/ 0 h 5157788"/>
              <a:gd name="connsiteX0" fmla="*/ 1707243 w 3866243"/>
              <a:gd name="connsiteY0" fmla="*/ 0 h 5157788"/>
              <a:gd name="connsiteX1" fmla="*/ 3866243 w 3866243"/>
              <a:gd name="connsiteY1" fmla="*/ 0 h 5157788"/>
              <a:gd name="connsiteX2" fmla="*/ 3866243 w 3866243"/>
              <a:gd name="connsiteY2" fmla="*/ 5157788 h 5157788"/>
              <a:gd name="connsiteX3" fmla="*/ 1707243 w 3866243"/>
              <a:gd name="connsiteY3" fmla="*/ 5157788 h 5157788"/>
              <a:gd name="connsiteX4" fmla="*/ 14968 w 3866243"/>
              <a:gd name="connsiteY4" fmla="*/ 3429000 h 5157788"/>
              <a:gd name="connsiteX5" fmla="*/ 1707243 w 3866243"/>
              <a:gd name="connsiteY5" fmla="*/ 0 h 5157788"/>
              <a:gd name="connsiteX0" fmla="*/ 1130447 w 3866243"/>
              <a:gd name="connsiteY0" fmla="*/ 0 h 5157788"/>
              <a:gd name="connsiteX1" fmla="*/ 3866243 w 3866243"/>
              <a:gd name="connsiteY1" fmla="*/ 0 h 5157788"/>
              <a:gd name="connsiteX2" fmla="*/ 3866243 w 3866243"/>
              <a:gd name="connsiteY2" fmla="*/ 5157788 h 5157788"/>
              <a:gd name="connsiteX3" fmla="*/ 1707243 w 3866243"/>
              <a:gd name="connsiteY3" fmla="*/ 5157788 h 5157788"/>
              <a:gd name="connsiteX4" fmla="*/ 14968 w 3866243"/>
              <a:gd name="connsiteY4" fmla="*/ 3429000 h 5157788"/>
              <a:gd name="connsiteX5" fmla="*/ 1130447 w 3866243"/>
              <a:gd name="connsiteY5" fmla="*/ 0 h 5157788"/>
              <a:gd name="connsiteX0" fmla="*/ 2746143 w 5481939"/>
              <a:gd name="connsiteY0" fmla="*/ 0 h 5157788"/>
              <a:gd name="connsiteX1" fmla="*/ 5481939 w 5481939"/>
              <a:gd name="connsiteY1" fmla="*/ 0 h 5157788"/>
              <a:gd name="connsiteX2" fmla="*/ 5481939 w 5481939"/>
              <a:gd name="connsiteY2" fmla="*/ 5157788 h 5157788"/>
              <a:gd name="connsiteX3" fmla="*/ 585903 w 5481939"/>
              <a:gd name="connsiteY3" fmla="*/ 5153180 h 5157788"/>
              <a:gd name="connsiteX4" fmla="*/ 1630664 w 5481939"/>
              <a:gd name="connsiteY4" fmla="*/ 3429000 h 5157788"/>
              <a:gd name="connsiteX5" fmla="*/ 2746143 w 5481939"/>
              <a:gd name="connsiteY5" fmla="*/ 0 h 5157788"/>
              <a:gd name="connsiteX0" fmla="*/ 2746143 w 5481939"/>
              <a:gd name="connsiteY0" fmla="*/ 0 h 5157788"/>
              <a:gd name="connsiteX1" fmla="*/ 5481939 w 5481939"/>
              <a:gd name="connsiteY1" fmla="*/ 0 h 5157788"/>
              <a:gd name="connsiteX2" fmla="*/ 5481939 w 5481939"/>
              <a:gd name="connsiteY2" fmla="*/ 5157788 h 5157788"/>
              <a:gd name="connsiteX3" fmla="*/ 585903 w 5481939"/>
              <a:gd name="connsiteY3" fmla="*/ 5153180 h 5157788"/>
              <a:gd name="connsiteX4" fmla="*/ 1630664 w 5481939"/>
              <a:gd name="connsiteY4" fmla="*/ 3429000 h 5157788"/>
              <a:gd name="connsiteX5" fmla="*/ 2746143 w 548193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3574235 w 6310031"/>
              <a:gd name="connsiteY0" fmla="*/ 0 h 5157788"/>
              <a:gd name="connsiteX1" fmla="*/ 6310031 w 6310031"/>
              <a:gd name="connsiteY1" fmla="*/ 0 h 5157788"/>
              <a:gd name="connsiteX2" fmla="*/ 6310031 w 6310031"/>
              <a:gd name="connsiteY2" fmla="*/ 5157788 h 5157788"/>
              <a:gd name="connsiteX3" fmla="*/ 585903 w 6310031"/>
              <a:gd name="connsiteY3" fmla="*/ 5153180 h 5157788"/>
              <a:gd name="connsiteX4" fmla="*/ 1738031 w 6310031"/>
              <a:gd name="connsiteY4" fmla="*/ 3389965 h 5157788"/>
              <a:gd name="connsiteX5" fmla="*/ 3574235 w 6310031"/>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296143 w 5724128"/>
              <a:gd name="connsiteY4" fmla="*/ 3461908 h 5157788"/>
              <a:gd name="connsiteX5" fmla="*/ 2988332 w 5724128"/>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1188132 w 5760132"/>
              <a:gd name="connsiteY4" fmla="*/ 3425937 h 5157788"/>
              <a:gd name="connsiteX5" fmla="*/ 3024336 w 5760132"/>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2736304 w 5760132"/>
              <a:gd name="connsiteY4" fmla="*/ 3461908 h 5157788"/>
              <a:gd name="connsiteX5" fmla="*/ 3024336 w 5760132"/>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2736304 w 5760132"/>
              <a:gd name="connsiteY4" fmla="*/ 3461908 h 5157788"/>
              <a:gd name="connsiteX5" fmla="*/ 3024336 w 5760132"/>
              <a:gd name="connsiteY5" fmla="*/ 0 h 5157788"/>
              <a:gd name="connsiteX0" fmla="*/ 2160240 w 4896036"/>
              <a:gd name="connsiteY0" fmla="*/ 0 h 5157788"/>
              <a:gd name="connsiteX1" fmla="*/ 4896036 w 4896036"/>
              <a:gd name="connsiteY1" fmla="*/ 0 h 5157788"/>
              <a:gd name="connsiteX2" fmla="*/ 4896036 w 4896036"/>
              <a:gd name="connsiteY2" fmla="*/ 5157788 h 5157788"/>
              <a:gd name="connsiteX3" fmla="*/ 0 w 4896036"/>
              <a:gd name="connsiteY3" fmla="*/ 5153180 h 5157788"/>
              <a:gd name="connsiteX4" fmla="*/ 1872208 w 4896036"/>
              <a:gd name="connsiteY4" fmla="*/ 3461908 h 5157788"/>
              <a:gd name="connsiteX5" fmla="*/ 2160240 w 4896036"/>
              <a:gd name="connsiteY5" fmla="*/ 0 h 5157788"/>
              <a:gd name="connsiteX0" fmla="*/ 2232248 w 4968044"/>
              <a:gd name="connsiteY0" fmla="*/ 0 h 5157788"/>
              <a:gd name="connsiteX1" fmla="*/ 4968044 w 4968044"/>
              <a:gd name="connsiteY1" fmla="*/ 0 h 5157788"/>
              <a:gd name="connsiteX2" fmla="*/ 4968044 w 4968044"/>
              <a:gd name="connsiteY2" fmla="*/ 5157788 h 5157788"/>
              <a:gd name="connsiteX3" fmla="*/ 0 w 4968044"/>
              <a:gd name="connsiteY3" fmla="*/ 5153180 h 5157788"/>
              <a:gd name="connsiteX4" fmla="*/ 1944216 w 4968044"/>
              <a:gd name="connsiteY4" fmla="*/ 3461908 h 5157788"/>
              <a:gd name="connsiteX5" fmla="*/ 2232248 w 4968044"/>
              <a:gd name="connsiteY5" fmla="*/ 0 h 5157788"/>
              <a:gd name="connsiteX0" fmla="*/ 2207679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207679 w 4943475"/>
              <a:gd name="connsiteY5" fmla="*/ 0 h 5157788"/>
              <a:gd name="connsiteX0" fmla="*/ 2963763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963763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092200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71575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343583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675731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675731 w 4943475"/>
              <a:gd name="connsiteY5" fmla="*/ 0 h 5157788"/>
              <a:gd name="connsiteX0" fmla="*/ 2675731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675731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9672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19672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51412" h="5157788">
                <a:moveTo>
                  <a:pt x="2706687" y="0"/>
                </a:moveTo>
                <a:lnTo>
                  <a:pt x="4951412" y="0"/>
                </a:lnTo>
                <a:lnTo>
                  <a:pt x="4951412" y="5157788"/>
                </a:lnTo>
                <a:lnTo>
                  <a:pt x="0" y="5153180"/>
                </a:lnTo>
                <a:cubicBezTo>
                  <a:pt x="84411" y="4542509"/>
                  <a:pt x="183041" y="4024723"/>
                  <a:pt x="1243508" y="2562613"/>
                </a:cubicBezTo>
                <a:cubicBezTo>
                  <a:pt x="1867447" y="1704780"/>
                  <a:pt x="2665955" y="709265"/>
                  <a:pt x="2706687" y="0"/>
                </a:cubicBezTo>
                <a:close/>
              </a:path>
            </a:pathLst>
          </a:custGeom>
          <a:solidFill>
            <a:schemeClr val="bg2"/>
          </a:solidFill>
          <a:ln w="3175">
            <a:noFill/>
          </a:ln>
        </p:spPr>
        <p:txBody>
          <a:bodyPr tIns="720000" anchor="ctr" anchorCtr="0"/>
          <a:lstStyle>
            <a:lvl1pPr algn="ctr">
              <a:defRPr sz="1500">
                <a:solidFill>
                  <a:schemeClr val="bg1"/>
                </a:solidFill>
              </a:defRPr>
            </a:lvl1pPr>
          </a:lstStyle>
          <a:p>
            <a:r>
              <a:rPr lang="en-US" noProof="0"/>
              <a:t>Select your own photo</a:t>
            </a:r>
          </a:p>
        </p:txBody>
      </p:sp>
    </p:spTree>
    <p:extLst>
      <p:ext uri="{BB962C8B-B14F-4D97-AF65-F5344CB8AC3E}">
        <p14:creationId xmlns:p14="http://schemas.microsoft.com/office/powerpoint/2010/main" val="315712813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ver_Blue">
    <p:spTree>
      <p:nvGrpSpPr>
        <p:cNvPr id="1" name=""/>
        <p:cNvGrpSpPr/>
        <p:nvPr/>
      </p:nvGrpSpPr>
      <p:grpSpPr>
        <a:xfrm>
          <a:off x="0" y="0"/>
          <a:ext cx="0" cy="0"/>
          <a:chOff x="0" y="0"/>
          <a:chExt cx="0" cy="0"/>
        </a:xfrm>
      </p:grpSpPr>
      <p:pic>
        <p:nvPicPr>
          <p:cNvPr id="14" name="Image 13" descr="FD_02_bleu.png"/>
          <p:cNvPicPr>
            <a:picLocks noChangeAspect="1"/>
          </p:cNvPicPr>
          <p:nvPr userDrawn="1"/>
        </p:nvPicPr>
        <p:blipFill>
          <a:blip r:embed="rId2" cstate="print"/>
          <a:stretch>
            <a:fillRect/>
          </a:stretch>
        </p:blipFill>
        <p:spPr bwMode="gray">
          <a:xfrm>
            <a:off x="0" y="0"/>
            <a:ext cx="9144000" cy="5157788"/>
          </a:xfrm>
          <a:prstGeom prst="rect">
            <a:avLst/>
          </a:prstGeom>
        </p:spPr>
      </p:pic>
      <p:sp>
        <p:nvSpPr>
          <p:cNvPr id="22" name="Rectangle 21"/>
          <p:cNvSpPr/>
          <p:nvPr userDrawn="1"/>
        </p:nvSpPr>
        <p:spPr bwMode="gray">
          <a:xfrm>
            <a:off x="3635375" y="5265204"/>
            <a:ext cx="5508625" cy="15927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pic>
        <p:nvPicPr>
          <p:cNvPr id="20" name="Image 19" descr="Bas_couv.png"/>
          <p:cNvPicPr>
            <a:picLocks noChangeAspect="1"/>
          </p:cNvPicPr>
          <p:nvPr userDrawn="1"/>
        </p:nvPicPr>
        <p:blipFill>
          <a:blip r:embed="rId3" cstate="print"/>
          <a:srcRect r="60243" b="722"/>
          <a:stretch>
            <a:fillRect/>
          </a:stretch>
        </p:blipFill>
        <p:spPr bwMode="gray">
          <a:xfrm>
            <a:off x="0" y="5172520"/>
            <a:ext cx="3635375" cy="1685480"/>
          </a:xfrm>
          <a:prstGeom prst="rect">
            <a:avLst/>
          </a:prstGeom>
        </p:spPr>
      </p:pic>
      <p:sp>
        <p:nvSpPr>
          <p:cNvPr id="9" name="Espace réservé du texte 8"/>
          <p:cNvSpPr>
            <a:spLocks noGrp="1"/>
          </p:cNvSpPr>
          <p:nvPr>
            <p:ph type="body" sz="quarter" idx="13" hasCustomPrompt="1"/>
          </p:nvPr>
        </p:nvSpPr>
        <p:spPr bwMode="gray">
          <a:xfrm>
            <a:off x="468314" y="1036800"/>
            <a:ext cx="4824412" cy="2232000"/>
          </a:xfrm>
        </p:spPr>
        <p:txBody>
          <a:bodyPr anchor="b" anchorCtr="0"/>
          <a:lstStyle>
            <a:lvl1pPr marL="0" indent="0" algn="l">
              <a:lnSpc>
                <a:spcPct val="90000"/>
              </a:lnSpc>
              <a:buNone/>
              <a:defRPr sz="2800" b="1" cap="none" baseline="0">
                <a:solidFill>
                  <a:schemeClr val="bg1"/>
                </a:solidFill>
              </a:defRPr>
            </a:lvl1pPr>
            <a:lvl2pPr marL="0" algn="ctr">
              <a:lnSpc>
                <a:spcPct val="100000"/>
              </a:lnSpc>
              <a:spcBef>
                <a:spcPts val="6900"/>
              </a:spcBef>
              <a:defRPr sz="2000" b="1">
                <a:solidFill>
                  <a:schemeClr val="bg1"/>
                </a:solidFill>
              </a:defRPr>
            </a:lvl2pPr>
          </a:lstStyle>
          <a:p>
            <a:pPr lvl="0"/>
            <a:r>
              <a:rPr lang="en-US" noProof="0"/>
              <a:t>TITLE</a:t>
            </a:r>
          </a:p>
        </p:txBody>
      </p:sp>
      <p:sp>
        <p:nvSpPr>
          <p:cNvPr id="8" name="Espace réservé du texte 8"/>
          <p:cNvSpPr>
            <a:spLocks noGrp="1"/>
          </p:cNvSpPr>
          <p:nvPr>
            <p:ph type="body" sz="quarter" idx="14" hasCustomPrompt="1"/>
          </p:nvPr>
        </p:nvSpPr>
        <p:spPr bwMode="gray">
          <a:xfrm>
            <a:off x="468314" y="3585600"/>
            <a:ext cx="4824411" cy="1479600"/>
          </a:xfrm>
        </p:spPr>
        <p:txBody>
          <a:bodyPr anchor="t" anchorCtr="0"/>
          <a:lstStyle>
            <a:lvl1pPr marL="0" indent="0" algn="l">
              <a:lnSpc>
                <a:spcPct val="90000"/>
              </a:lnSpc>
              <a:buNone/>
              <a:defRPr sz="2000" b="0" baseline="0">
                <a:solidFill>
                  <a:schemeClr val="bg1"/>
                </a:solidFill>
              </a:defRPr>
            </a:lvl1pPr>
            <a:lvl2pPr marL="0" algn="ctr">
              <a:lnSpc>
                <a:spcPct val="100000"/>
              </a:lnSpc>
              <a:spcBef>
                <a:spcPts val="6900"/>
              </a:spcBef>
              <a:defRPr sz="2000" b="1">
                <a:solidFill>
                  <a:schemeClr val="bg1"/>
                </a:solidFill>
              </a:defRPr>
            </a:lvl2pPr>
          </a:lstStyle>
          <a:p>
            <a:pPr lvl="0"/>
            <a:r>
              <a:rPr lang="en-US" noProof="0"/>
              <a:t>SUBTITLE</a:t>
            </a:r>
          </a:p>
        </p:txBody>
      </p:sp>
      <p:sp>
        <p:nvSpPr>
          <p:cNvPr id="10" name="Espace réservé de la date 9"/>
          <p:cNvSpPr>
            <a:spLocks noGrp="1"/>
          </p:cNvSpPr>
          <p:nvPr>
            <p:ph type="dt" sz="half" idx="15"/>
          </p:nvPr>
        </p:nvSpPr>
        <p:spPr bwMode="gray"/>
        <p:txBody>
          <a:bodyPr/>
          <a:lstStyle/>
          <a:p>
            <a:r>
              <a:rPr lang="en-US" noProof="0"/>
              <a:t>Date</a:t>
            </a:r>
          </a:p>
        </p:txBody>
      </p:sp>
      <p:sp>
        <p:nvSpPr>
          <p:cNvPr id="11" name="Espace réservé du numéro de diapositive 10"/>
          <p:cNvSpPr>
            <a:spLocks noGrp="1"/>
          </p:cNvSpPr>
          <p:nvPr>
            <p:ph type="sldNum" sz="quarter" idx="16"/>
          </p:nvPr>
        </p:nvSpPr>
        <p:spPr bwMode="gray"/>
        <p:txBody>
          <a:bodyPr/>
          <a:lstStyle>
            <a:lvl1pPr>
              <a:defRPr sz="100">
                <a:solidFill>
                  <a:schemeClr val="bg1">
                    <a:alpha val="0"/>
                  </a:schemeClr>
                </a:solidFill>
              </a:defRPr>
            </a:lvl1pPr>
          </a:lstStyle>
          <a:p>
            <a:pPr algn="l"/>
            <a:r>
              <a:rPr lang="en-US" noProof="0"/>
              <a:t>Page: </a:t>
            </a:r>
            <a:fld id="{733122C9-A0B9-462F-8757-0847AD287B63}" type="slidenum">
              <a:rPr lang="en-US" noProof="0" smtClean="0"/>
              <a:pPr algn="l"/>
              <a:t>‹#›</a:t>
            </a:fld>
            <a:endParaRPr lang="en-US" noProof="0"/>
          </a:p>
        </p:txBody>
      </p:sp>
      <p:sp>
        <p:nvSpPr>
          <p:cNvPr id="12" name="Espace réservé du pied de page 11"/>
          <p:cNvSpPr>
            <a:spLocks noGrp="1"/>
          </p:cNvSpPr>
          <p:nvPr>
            <p:ph type="ftr" sz="quarter" idx="17"/>
          </p:nvPr>
        </p:nvSpPr>
        <p:spPr bwMode="gray">
          <a:xfrm>
            <a:off x="468312" y="524188"/>
            <a:ext cx="4824413" cy="360000"/>
          </a:xfrm>
        </p:spPr>
        <p:txBody>
          <a:bodyPr/>
          <a:lstStyle>
            <a:lvl1pPr algn="l">
              <a:defRPr sz="1800" b="0">
                <a:solidFill>
                  <a:schemeClr val="bg1"/>
                </a:solidFill>
              </a:defRPr>
            </a:lvl1pPr>
          </a:lstStyle>
          <a:p>
            <a:r>
              <a:rPr lang="en-US" noProof="0"/>
              <a:t>#add your hashtag</a:t>
            </a:r>
          </a:p>
        </p:txBody>
      </p:sp>
      <p:sp>
        <p:nvSpPr>
          <p:cNvPr id="15" name="Espace réservé du texte 14"/>
          <p:cNvSpPr>
            <a:spLocks noGrp="1"/>
          </p:cNvSpPr>
          <p:nvPr>
            <p:ph type="body" sz="quarter" idx="19" hasCustomPrompt="1"/>
          </p:nvPr>
        </p:nvSpPr>
        <p:spPr bwMode="gray">
          <a:xfrm>
            <a:off x="3635376" y="6021388"/>
            <a:ext cx="5113338" cy="324000"/>
          </a:xfrm>
        </p:spPr>
        <p:txBody>
          <a:bodyPr anchor="b" anchorCtr="0"/>
          <a:lstStyle>
            <a:lvl1pPr algn="r">
              <a:lnSpc>
                <a:spcPct val="100000"/>
              </a:lnSpc>
              <a:defRPr sz="1000" b="1">
                <a:solidFill>
                  <a:schemeClr val="accent2"/>
                </a:solidFill>
              </a:defRPr>
            </a:lvl1pPr>
          </a:lstStyle>
          <a:p>
            <a:pPr lvl="0"/>
            <a:r>
              <a:rPr lang="en-US" noProof="0"/>
              <a:t>Write your claim here</a:t>
            </a:r>
          </a:p>
        </p:txBody>
      </p:sp>
      <p:sp>
        <p:nvSpPr>
          <p:cNvPr id="16" name="Rectangle 15"/>
          <p:cNvSpPr/>
          <p:nvPr userDrawn="1"/>
        </p:nvSpPr>
        <p:spPr bwMode="gray">
          <a:xfrm>
            <a:off x="3635375" y="6354202"/>
            <a:ext cx="5113338" cy="2872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r"/>
            <a:r>
              <a:rPr lang="en-US" sz="1000" noProof="0">
                <a:solidFill>
                  <a:schemeClr val="accent3"/>
                </a:solidFill>
              </a:rPr>
              <a:t>www.gavi.org</a:t>
            </a:r>
          </a:p>
        </p:txBody>
      </p:sp>
      <p:sp>
        <p:nvSpPr>
          <p:cNvPr id="18" name="Rectangle 17"/>
          <p:cNvSpPr/>
          <p:nvPr userDrawn="1"/>
        </p:nvSpPr>
        <p:spPr bwMode="gray">
          <a:xfrm>
            <a:off x="468313" y="3391895"/>
            <a:ext cx="2448000" cy="252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hank_you_2">
    <p:spTree>
      <p:nvGrpSpPr>
        <p:cNvPr id="1" name=""/>
        <p:cNvGrpSpPr/>
        <p:nvPr/>
      </p:nvGrpSpPr>
      <p:grpSpPr>
        <a:xfrm>
          <a:off x="0" y="0"/>
          <a:ext cx="0" cy="0"/>
          <a:chOff x="0" y="0"/>
          <a:chExt cx="0" cy="0"/>
        </a:xfrm>
      </p:grpSpPr>
      <p:sp>
        <p:nvSpPr>
          <p:cNvPr id="22" name="Rectangle 21"/>
          <p:cNvSpPr/>
          <p:nvPr userDrawn="1"/>
        </p:nvSpPr>
        <p:spPr bwMode="gray">
          <a:xfrm>
            <a:off x="3635375" y="5265204"/>
            <a:ext cx="5508625" cy="15927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pic>
        <p:nvPicPr>
          <p:cNvPr id="21" name="Image 20" descr="FD_1_L254.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gray">
          <a:xfrm>
            <a:off x="1" y="0"/>
            <a:ext cx="9144000" cy="5157788"/>
          </a:xfrm>
          <a:prstGeom prst="rect">
            <a:avLst/>
          </a:prstGeom>
        </p:spPr>
      </p:pic>
      <p:pic>
        <p:nvPicPr>
          <p:cNvPr id="20" name="Image 19" descr="Bas_couv.png"/>
          <p:cNvPicPr>
            <a:picLocks noChangeAspect="1"/>
          </p:cNvPicPr>
          <p:nvPr userDrawn="1"/>
        </p:nvPicPr>
        <p:blipFill>
          <a:blip r:embed="rId3" cstate="screen">
            <a:extLst>
              <a:ext uri="{28A0092B-C50C-407E-A947-70E740481C1C}">
                <a14:useLocalDpi xmlns:a14="http://schemas.microsoft.com/office/drawing/2010/main"/>
              </a:ext>
            </a:extLst>
          </a:blip>
          <a:srcRect/>
          <a:stretch>
            <a:fillRect/>
          </a:stretch>
        </p:blipFill>
        <p:spPr bwMode="gray">
          <a:xfrm>
            <a:off x="0" y="5172520"/>
            <a:ext cx="3635375" cy="1685480"/>
          </a:xfrm>
          <a:prstGeom prst="rect">
            <a:avLst/>
          </a:prstGeom>
        </p:spPr>
      </p:pic>
      <p:sp>
        <p:nvSpPr>
          <p:cNvPr id="9" name="Espace réservé du texte 8"/>
          <p:cNvSpPr>
            <a:spLocks noGrp="1"/>
          </p:cNvSpPr>
          <p:nvPr>
            <p:ph type="body" sz="quarter" idx="13" hasCustomPrompt="1"/>
          </p:nvPr>
        </p:nvSpPr>
        <p:spPr bwMode="gray">
          <a:xfrm>
            <a:off x="468314" y="1036800"/>
            <a:ext cx="4824000" cy="2242800"/>
          </a:xfrm>
        </p:spPr>
        <p:txBody>
          <a:bodyPr anchor="b" anchorCtr="0"/>
          <a:lstStyle>
            <a:lvl1pPr marL="0" indent="0" algn="l">
              <a:lnSpc>
                <a:spcPct val="90000"/>
              </a:lnSpc>
              <a:buNone/>
              <a:defRPr sz="2800" b="1" cap="none" baseline="0">
                <a:solidFill>
                  <a:schemeClr val="bg1"/>
                </a:solidFill>
              </a:defRPr>
            </a:lvl1pPr>
            <a:lvl2pPr marL="0" algn="ctr">
              <a:lnSpc>
                <a:spcPct val="100000"/>
              </a:lnSpc>
              <a:spcBef>
                <a:spcPts val="6900"/>
              </a:spcBef>
              <a:defRPr sz="2000" b="1">
                <a:solidFill>
                  <a:schemeClr val="bg1"/>
                </a:solidFill>
              </a:defRPr>
            </a:lvl2pPr>
          </a:lstStyle>
          <a:p>
            <a:pPr lvl="0"/>
            <a:r>
              <a:rPr lang="en-US" noProof="0"/>
              <a:t>TITLE</a:t>
            </a:r>
          </a:p>
        </p:txBody>
      </p:sp>
      <p:sp>
        <p:nvSpPr>
          <p:cNvPr id="10" name="Espace réservé de la date 9"/>
          <p:cNvSpPr>
            <a:spLocks noGrp="1"/>
          </p:cNvSpPr>
          <p:nvPr>
            <p:ph type="dt" sz="half" idx="15"/>
          </p:nvPr>
        </p:nvSpPr>
        <p:spPr bwMode="gray"/>
        <p:txBody>
          <a:bodyPr/>
          <a:lstStyle/>
          <a:p>
            <a:r>
              <a:rPr lang="en-US">
                <a:solidFill>
                  <a:prstClr val="white">
                    <a:alpha val="0"/>
                  </a:prstClr>
                </a:solidFill>
              </a:rPr>
              <a:t>Date</a:t>
            </a:r>
          </a:p>
        </p:txBody>
      </p:sp>
      <p:sp>
        <p:nvSpPr>
          <p:cNvPr id="11" name="Espace réservé du numéro de diapositive 10"/>
          <p:cNvSpPr>
            <a:spLocks noGrp="1"/>
          </p:cNvSpPr>
          <p:nvPr>
            <p:ph type="sldNum" sz="quarter" idx="16"/>
          </p:nvPr>
        </p:nvSpPr>
        <p:spPr bwMode="gray"/>
        <p:txBody>
          <a:bodyPr/>
          <a:lstStyle>
            <a:lvl1pPr>
              <a:defRPr sz="100">
                <a:solidFill>
                  <a:schemeClr val="bg1">
                    <a:alpha val="0"/>
                  </a:schemeClr>
                </a:solidFill>
              </a:defRPr>
            </a:lvl1pPr>
          </a:lstStyle>
          <a:p>
            <a:pPr algn="l"/>
            <a:r>
              <a:rPr lang="en-US">
                <a:solidFill>
                  <a:prstClr val="white">
                    <a:alpha val="0"/>
                  </a:prstClr>
                </a:solidFill>
              </a:rPr>
              <a:t>Page: </a:t>
            </a:r>
            <a:fld id="{733122C9-A0B9-462F-8757-0847AD287B63}" type="slidenum">
              <a:rPr lang="en-US" smtClean="0">
                <a:solidFill>
                  <a:prstClr val="white">
                    <a:alpha val="0"/>
                  </a:prstClr>
                </a:solidFill>
              </a:rPr>
              <a:pPr algn="l"/>
              <a:t>‹#›</a:t>
            </a:fld>
            <a:endParaRPr lang="en-US">
              <a:solidFill>
                <a:prstClr val="white">
                  <a:alpha val="0"/>
                </a:prstClr>
              </a:solidFill>
            </a:endParaRPr>
          </a:p>
        </p:txBody>
      </p:sp>
      <p:sp>
        <p:nvSpPr>
          <p:cNvPr id="12" name="Espace réservé du pied de page 11"/>
          <p:cNvSpPr>
            <a:spLocks noGrp="1"/>
          </p:cNvSpPr>
          <p:nvPr>
            <p:ph type="ftr" sz="quarter" idx="17"/>
          </p:nvPr>
        </p:nvSpPr>
        <p:spPr bwMode="gray">
          <a:xfrm>
            <a:off x="468312" y="524188"/>
            <a:ext cx="4824413" cy="360000"/>
          </a:xfrm>
        </p:spPr>
        <p:txBody>
          <a:bodyPr/>
          <a:lstStyle>
            <a:lvl1pPr algn="l">
              <a:defRPr sz="1800" b="0">
                <a:solidFill>
                  <a:schemeClr val="bg1"/>
                </a:solidFill>
              </a:defRPr>
            </a:lvl1pPr>
          </a:lstStyle>
          <a:p>
            <a:r>
              <a:rPr lang="en-US">
                <a:solidFill>
                  <a:prstClr val="white"/>
                </a:solidFill>
              </a:rPr>
              <a:t>#</a:t>
            </a:r>
            <a:r>
              <a:rPr lang="en-US" err="1">
                <a:solidFill>
                  <a:prstClr val="white"/>
                </a:solidFill>
              </a:rPr>
              <a:t>vaccineswork</a:t>
            </a:r>
            <a:endParaRPr lang="en-US">
              <a:solidFill>
                <a:prstClr val="white"/>
              </a:solidFill>
            </a:endParaRPr>
          </a:p>
        </p:txBody>
      </p:sp>
      <p:sp>
        <p:nvSpPr>
          <p:cNvPr id="15" name="Espace réservé du texte 14"/>
          <p:cNvSpPr>
            <a:spLocks noGrp="1"/>
          </p:cNvSpPr>
          <p:nvPr>
            <p:ph type="body" sz="quarter" idx="19" hasCustomPrompt="1"/>
          </p:nvPr>
        </p:nvSpPr>
        <p:spPr bwMode="gray">
          <a:xfrm>
            <a:off x="3635376" y="6021388"/>
            <a:ext cx="5113338" cy="324000"/>
          </a:xfrm>
        </p:spPr>
        <p:txBody>
          <a:bodyPr anchor="b" anchorCtr="0"/>
          <a:lstStyle>
            <a:lvl1pPr algn="r">
              <a:lnSpc>
                <a:spcPct val="100000"/>
              </a:lnSpc>
              <a:defRPr sz="1000" b="1">
                <a:solidFill>
                  <a:schemeClr val="accent3"/>
                </a:solidFill>
              </a:defRPr>
            </a:lvl1pPr>
          </a:lstStyle>
          <a:p>
            <a:pPr lvl="0"/>
            <a:r>
              <a:rPr lang="en-US" noProof="0"/>
              <a:t>Write your claim here</a:t>
            </a:r>
          </a:p>
        </p:txBody>
      </p:sp>
      <p:sp>
        <p:nvSpPr>
          <p:cNvPr id="16" name="Rectangle 15"/>
          <p:cNvSpPr/>
          <p:nvPr userDrawn="1"/>
        </p:nvSpPr>
        <p:spPr bwMode="gray">
          <a:xfrm>
            <a:off x="3635375" y="6354202"/>
            <a:ext cx="5113338" cy="2872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r"/>
            <a:r>
              <a:rPr lang="en-US" sz="1000" err="1">
                <a:solidFill>
                  <a:srgbClr val="95D600"/>
                </a:solidFill>
              </a:rPr>
              <a:t>www.gavi.org</a:t>
            </a:r>
            <a:endParaRPr lang="en-US" sz="1000">
              <a:solidFill>
                <a:srgbClr val="95D600"/>
              </a:solidFill>
            </a:endParaRPr>
          </a:p>
        </p:txBody>
      </p:sp>
      <p:cxnSp>
        <p:nvCxnSpPr>
          <p:cNvPr id="14" name="Connecteur droit 13"/>
          <p:cNvCxnSpPr/>
          <p:nvPr userDrawn="1"/>
        </p:nvCxnSpPr>
        <p:spPr bwMode="gray">
          <a:xfrm flipH="1">
            <a:off x="468313" y="3402000"/>
            <a:ext cx="2448000" cy="0"/>
          </a:xfrm>
          <a:prstGeom prst="line">
            <a:avLst/>
          </a:prstGeom>
          <a:ln w="24130">
            <a:solidFill>
              <a:schemeClr val="accent1"/>
            </a:solidFill>
          </a:ln>
        </p:spPr>
        <p:style>
          <a:lnRef idx="1">
            <a:schemeClr val="accent1"/>
          </a:lnRef>
          <a:fillRef idx="0">
            <a:schemeClr val="accent1"/>
          </a:fillRef>
          <a:effectRef idx="0">
            <a:schemeClr val="accent1"/>
          </a:effectRef>
          <a:fontRef idx="minor">
            <a:schemeClr val="tx1"/>
          </a:fontRef>
        </p:style>
      </p:cxnSp>
      <p:sp>
        <p:nvSpPr>
          <p:cNvPr id="13" name="Espace réservé pour une image  17"/>
          <p:cNvSpPr>
            <a:spLocks noGrp="1"/>
          </p:cNvSpPr>
          <p:nvPr>
            <p:ph type="pic" sz="quarter" idx="18" hasCustomPrompt="1"/>
          </p:nvPr>
        </p:nvSpPr>
        <p:spPr bwMode="gray">
          <a:xfrm>
            <a:off x="4192588" y="0"/>
            <a:ext cx="4951412" cy="5162400"/>
          </a:xfrm>
          <a:custGeom>
            <a:avLst/>
            <a:gdLst>
              <a:gd name="connsiteX0" fmla="*/ 0 w 3851275"/>
              <a:gd name="connsiteY0" fmla="*/ 0 h 5157788"/>
              <a:gd name="connsiteX1" fmla="*/ 3851275 w 3851275"/>
              <a:gd name="connsiteY1" fmla="*/ 0 h 5157788"/>
              <a:gd name="connsiteX2" fmla="*/ 3851275 w 3851275"/>
              <a:gd name="connsiteY2" fmla="*/ 5157788 h 5157788"/>
              <a:gd name="connsiteX3" fmla="*/ 0 w 3851275"/>
              <a:gd name="connsiteY3" fmla="*/ 5157788 h 5157788"/>
              <a:gd name="connsiteX4" fmla="*/ 0 w 3851275"/>
              <a:gd name="connsiteY4"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0 w 3851275"/>
              <a:gd name="connsiteY3" fmla="*/ 5157788 h 5157788"/>
              <a:gd name="connsiteX4" fmla="*/ 1692275 w 3851275"/>
              <a:gd name="connsiteY4" fmla="*/ 0 h 5157788"/>
              <a:gd name="connsiteX0" fmla="*/ 0 w 2159000"/>
              <a:gd name="connsiteY0" fmla="*/ 0 h 5157788"/>
              <a:gd name="connsiteX1" fmla="*/ 2159000 w 2159000"/>
              <a:gd name="connsiteY1" fmla="*/ 0 h 5157788"/>
              <a:gd name="connsiteX2" fmla="*/ 2159000 w 2159000"/>
              <a:gd name="connsiteY2" fmla="*/ 5157788 h 5157788"/>
              <a:gd name="connsiteX3" fmla="*/ 0 w 2159000"/>
              <a:gd name="connsiteY3" fmla="*/ 5157788 h 5157788"/>
              <a:gd name="connsiteX4" fmla="*/ 0 w 2159000"/>
              <a:gd name="connsiteY4" fmla="*/ 0 h 5157788"/>
              <a:gd name="connsiteX0" fmla="*/ 2625271 w 4784271"/>
              <a:gd name="connsiteY0" fmla="*/ 0 h 5157788"/>
              <a:gd name="connsiteX1" fmla="*/ 4784271 w 4784271"/>
              <a:gd name="connsiteY1" fmla="*/ 0 h 5157788"/>
              <a:gd name="connsiteX2" fmla="*/ 4784271 w 4784271"/>
              <a:gd name="connsiteY2" fmla="*/ 5157788 h 5157788"/>
              <a:gd name="connsiteX3" fmla="*/ 2625271 w 4784271"/>
              <a:gd name="connsiteY3" fmla="*/ 5157788 h 5157788"/>
              <a:gd name="connsiteX4" fmla="*/ 2625271 w 4784271"/>
              <a:gd name="connsiteY4" fmla="*/ 0 h 5157788"/>
              <a:gd name="connsiteX0" fmla="*/ 2625271 w 4784271"/>
              <a:gd name="connsiteY0" fmla="*/ 0 h 5157788"/>
              <a:gd name="connsiteX1" fmla="*/ 4784271 w 4784271"/>
              <a:gd name="connsiteY1" fmla="*/ 0 h 5157788"/>
              <a:gd name="connsiteX2" fmla="*/ 4784271 w 4784271"/>
              <a:gd name="connsiteY2" fmla="*/ 5157788 h 5157788"/>
              <a:gd name="connsiteX3" fmla="*/ 2625271 w 4784271"/>
              <a:gd name="connsiteY3" fmla="*/ 5157788 h 5157788"/>
              <a:gd name="connsiteX4" fmla="*/ 2625271 w 4784271"/>
              <a:gd name="connsiteY4" fmla="*/ 0 h 5157788"/>
              <a:gd name="connsiteX0" fmla="*/ 3568576 w 5727576"/>
              <a:gd name="connsiteY0" fmla="*/ 0 h 5157788"/>
              <a:gd name="connsiteX1" fmla="*/ 5727576 w 5727576"/>
              <a:gd name="connsiteY1" fmla="*/ 0 h 5157788"/>
              <a:gd name="connsiteX2" fmla="*/ 5727576 w 5727576"/>
              <a:gd name="connsiteY2" fmla="*/ 5157788 h 5157788"/>
              <a:gd name="connsiteX3" fmla="*/ 3568576 w 5727576"/>
              <a:gd name="connsiteY3" fmla="*/ 5157788 h 5157788"/>
              <a:gd name="connsiteX4" fmla="*/ 3568576 w 5727576"/>
              <a:gd name="connsiteY4" fmla="*/ 0 h 5157788"/>
              <a:gd name="connsiteX0" fmla="*/ 3306355 w 5465355"/>
              <a:gd name="connsiteY0" fmla="*/ 0 h 5157788"/>
              <a:gd name="connsiteX1" fmla="*/ 5465355 w 5465355"/>
              <a:gd name="connsiteY1" fmla="*/ 0 h 5157788"/>
              <a:gd name="connsiteX2" fmla="*/ 5465355 w 5465355"/>
              <a:gd name="connsiteY2" fmla="*/ 5157788 h 5157788"/>
              <a:gd name="connsiteX3" fmla="*/ 3306355 w 5465355"/>
              <a:gd name="connsiteY3" fmla="*/ 5157788 h 5157788"/>
              <a:gd name="connsiteX4" fmla="*/ 3306355 w 5465355"/>
              <a:gd name="connsiteY4" fmla="*/ 0 h 5157788"/>
              <a:gd name="connsiteX0" fmla="*/ 1416957 w 3575957"/>
              <a:gd name="connsiteY0" fmla="*/ 0 h 5157788"/>
              <a:gd name="connsiteX1" fmla="*/ 3575957 w 3575957"/>
              <a:gd name="connsiteY1" fmla="*/ 0 h 5157788"/>
              <a:gd name="connsiteX2" fmla="*/ 3575957 w 3575957"/>
              <a:gd name="connsiteY2" fmla="*/ 5157788 h 5157788"/>
              <a:gd name="connsiteX3" fmla="*/ 1416957 w 3575957"/>
              <a:gd name="connsiteY3" fmla="*/ 5157788 h 5157788"/>
              <a:gd name="connsiteX4" fmla="*/ 0 w 3575957"/>
              <a:gd name="connsiteY4" fmla="*/ 3339193 h 5157788"/>
              <a:gd name="connsiteX5" fmla="*/ 1416957 w 3575957"/>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6017419"/>
              <a:gd name="connsiteX1" fmla="*/ 3851275 w 3851275"/>
              <a:gd name="connsiteY1" fmla="*/ 0 h 6017419"/>
              <a:gd name="connsiteX2" fmla="*/ 3851275 w 3851275"/>
              <a:gd name="connsiteY2" fmla="*/ 5157788 h 6017419"/>
              <a:gd name="connsiteX3" fmla="*/ 1692275 w 3851275"/>
              <a:gd name="connsiteY3" fmla="*/ 5157788 h 6017419"/>
              <a:gd name="connsiteX4" fmla="*/ 0 w 3851275"/>
              <a:gd name="connsiteY4" fmla="*/ 3284984 h 6017419"/>
              <a:gd name="connsiteX5" fmla="*/ 1692275 w 3851275"/>
              <a:gd name="connsiteY5" fmla="*/ 0 h 6017419"/>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429000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429000 h 5157788"/>
              <a:gd name="connsiteX5" fmla="*/ 1710871 w 3869871"/>
              <a:gd name="connsiteY5" fmla="*/ 0 h 5157788"/>
              <a:gd name="connsiteX0" fmla="*/ 1704975 w 3863975"/>
              <a:gd name="connsiteY0" fmla="*/ 0 h 5157788"/>
              <a:gd name="connsiteX1" fmla="*/ 3863975 w 3863975"/>
              <a:gd name="connsiteY1" fmla="*/ 0 h 5157788"/>
              <a:gd name="connsiteX2" fmla="*/ 3863975 w 3863975"/>
              <a:gd name="connsiteY2" fmla="*/ 5157788 h 5157788"/>
              <a:gd name="connsiteX3" fmla="*/ 1704975 w 3863975"/>
              <a:gd name="connsiteY3" fmla="*/ 5157788 h 5157788"/>
              <a:gd name="connsiteX4" fmla="*/ 12700 w 3863975"/>
              <a:gd name="connsiteY4" fmla="*/ 3429000 h 5157788"/>
              <a:gd name="connsiteX5" fmla="*/ 1704975 w 3863975"/>
              <a:gd name="connsiteY5" fmla="*/ 0 h 5157788"/>
              <a:gd name="connsiteX0" fmla="*/ 1707243 w 3866243"/>
              <a:gd name="connsiteY0" fmla="*/ 0 h 5157788"/>
              <a:gd name="connsiteX1" fmla="*/ 3866243 w 3866243"/>
              <a:gd name="connsiteY1" fmla="*/ 0 h 5157788"/>
              <a:gd name="connsiteX2" fmla="*/ 3866243 w 3866243"/>
              <a:gd name="connsiteY2" fmla="*/ 5157788 h 5157788"/>
              <a:gd name="connsiteX3" fmla="*/ 1707243 w 3866243"/>
              <a:gd name="connsiteY3" fmla="*/ 5157788 h 5157788"/>
              <a:gd name="connsiteX4" fmla="*/ 14968 w 3866243"/>
              <a:gd name="connsiteY4" fmla="*/ 3429000 h 5157788"/>
              <a:gd name="connsiteX5" fmla="*/ 1707243 w 3866243"/>
              <a:gd name="connsiteY5" fmla="*/ 0 h 5157788"/>
              <a:gd name="connsiteX0" fmla="*/ 1130447 w 3866243"/>
              <a:gd name="connsiteY0" fmla="*/ 0 h 5157788"/>
              <a:gd name="connsiteX1" fmla="*/ 3866243 w 3866243"/>
              <a:gd name="connsiteY1" fmla="*/ 0 h 5157788"/>
              <a:gd name="connsiteX2" fmla="*/ 3866243 w 3866243"/>
              <a:gd name="connsiteY2" fmla="*/ 5157788 h 5157788"/>
              <a:gd name="connsiteX3" fmla="*/ 1707243 w 3866243"/>
              <a:gd name="connsiteY3" fmla="*/ 5157788 h 5157788"/>
              <a:gd name="connsiteX4" fmla="*/ 14968 w 3866243"/>
              <a:gd name="connsiteY4" fmla="*/ 3429000 h 5157788"/>
              <a:gd name="connsiteX5" fmla="*/ 1130447 w 3866243"/>
              <a:gd name="connsiteY5" fmla="*/ 0 h 5157788"/>
              <a:gd name="connsiteX0" fmla="*/ 2746143 w 5481939"/>
              <a:gd name="connsiteY0" fmla="*/ 0 h 5157788"/>
              <a:gd name="connsiteX1" fmla="*/ 5481939 w 5481939"/>
              <a:gd name="connsiteY1" fmla="*/ 0 h 5157788"/>
              <a:gd name="connsiteX2" fmla="*/ 5481939 w 5481939"/>
              <a:gd name="connsiteY2" fmla="*/ 5157788 h 5157788"/>
              <a:gd name="connsiteX3" fmla="*/ 585903 w 5481939"/>
              <a:gd name="connsiteY3" fmla="*/ 5153180 h 5157788"/>
              <a:gd name="connsiteX4" fmla="*/ 1630664 w 5481939"/>
              <a:gd name="connsiteY4" fmla="*/ 3429000 h 5157788"/>
              <a:gd name="connsiteX5" fmla="*/ 2746143 w 5481939"/>
              <a:gd name="connsiteY5" fmla="*/ 0 h 5157788"/>
              <a:gd name="connsiteX0" fmla="*/ 2746143 w 5481939"/>
              <a:gd name="connsiteY0" fmla="*/ 0 h 5157788"/>
              <a:gd name="connsiteX1" fmla="*/ 5481939 w 5481939"/>
              <a:gd name="connsiteY1" fmla="*/ 0 h 5157788"/>
              <a:gd name="connsiteX2" fmla="*/ 5481939 w 5481939"/>
              <a:gd name="connsiteY2" fmla="*/ 5157788 h 5157788"/>
              <a:gd name="connsiteX3" fmla="*/ 585903 w 5481939"/>
              <a:gd name="connsiteY3" fmla="*/ 5153180 h 5157788"/>
              <a:gd name="connsiteX4" fmla="*/ 1630664 w 5481939"/>
              <a:gd name="connsiteY4" fmla="*/ 3429000 h 5157788"/>
              <a:gd name="connsiteX5" fmla="*/ 2746143 w 548193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3574235 w 6310031"/>
              <a:gd name="connsiteY0" fmla="*/ 0 h 5157788"/>
              <a:gd name="connsiteX1" fmla="*/ 6310031 w 6310031"/>
              <a:gd name="connsiteY1" fmla="*/ 0 h 5157788"/>
              <a:gd name="connsiteX2" fmla="*/ 6310031 w 6310031"/>
              <a:gd name="connsiteY2" fmla="*/ 5157788 h 5157788"/>
              <a:gd name="connsiteX3" fmla="*/ 585903 w 6310031"/>
              <a:gd name="connsiteY3" fmla="*/ 5153180 h 5157788"/>
              <a:gd name="connsiteX4" fmla="*/ 1738031 w 6310031"/>
              <a:gd name="connsiteY4" fmla="*/ 3389965 h 5157788"/>
              <a:gd name="connsiteX5" fmla="*/ 3574235 w 6310031"/>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296143 w 5724128"/>
              <a:gd name="connsiteY4" fmla="*/ 3461908 h 5157788"/>
              <a:gd name="connsiteX5" fmla="*/ 2988332 w 5724128"/>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1188132 w 5760132"/>
              <a:gd name="connsiteY4" fmla="*/ 3425937 h 5157788"/>
              <a:gd name="connsiteX5" fmla="*/ 3024336 w 5760132"/>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2736304 w 5760132"/>
              <a:gd name="connsiteY4" fmla="*/ 3461908 h 5157788"/>
              <a:gd name="connsiteX5" fmla="*/ 3024336 w 5760132"/>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2736304 w 5760132"/>
              <a:gd name="connsiteY4" fmla="*/ 3461908 h 5157788"/>
              <a:gd name="connsiteX5" fmla="*/ 3024336 w 5760132"/>
              <a:gd name="connsiteY5" fmla="*/ 0 h 5157788"/>
              <a:gd name="connsiteX0" fmla="*/ 2160240 w 4896036"/>
              <a:gd name="connsiteY0" fmla="*/ 0 h 5157788"/>
              <a:gd name="connsiteX1" fmla="*/ 4896036 w 4896036"/>
              <a:gd name="connsiteY1" fmla="*/ 0 h 5157788"/>
              <a:gd name="connsiteX2" fmla="*/ 4896036 w 4896036"/>
              <a:gd name="connsiteY2" fmla="*/ 5157788 h 5157788"/>
              <a:gd name="connsiteX3" fmla="*/ 0 w 4896036"/>
              <a:gd name="connsiteY3" fmla="*/ 5153180 h 5157788"/>
              <a:gd name="connsiteX4" fmla="*/ 1872208 w 4896036"/>
              <a:gd name="connsiteY4" fmla="*/ 3461908 h 5157788"/>
              <a:gd name="connsiteX5" fmla="*/ 2160240 w 4896036"/>
              <a:gd name="connsiteY5" fmla="*/ 0 h 5157788"/>
              <a:gd name="connsiteX0" fmla="*/ 2232248 w 4968044"/>
              <a:gd name="connsiteY0" fmla="*/ 0 h 5157788"/>
              <a:gd name="connsiteX1" fmla="*/ 4968044 w 4968044"/>
              <a:gd name="connsiteY1" fmla="*/ 0 h 5157788"/>
              <a:gd name="connsiteX2" fmla="*/ 4968044 w 4968044"/>
              <a:gd name="connsiteY2" fmla="*/ 5157788 h 5157788"/>
              <a:gd name="connsiteX3" fmla="*/ 0 w 4968044"/>
              <a:gd name="connsiteY3" fmla="*/ 5153180 h 5157788"/>
              <a:gd name="connsiteX4" fmla="*/ 1944216 w 4968044"/>
              <a:gd name="connsiteY4" fmla="*/ 3461908 h 5157788"/>
              <a:gd name="connsiteX5" fmla="*/ 2232248 w 4968044"/>
              <a:gd name="connsiteY5" fmla="*/ 0 h 5157788"/>
              <a:gd name="connsiteX0" fmla="*/ 2207679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207679 w 4943475"/>
              <a:gd name="connsiteY5" fmla="*/ 0 h 5157788"/>
              <a:gd name="connsiteX0" fmla="*/ 2963763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963763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092200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71575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343583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675731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675731 w 4943475"/>
              <a:gd name="connsiteY5" fmla="*/ 0 h 5157788"/>
              <a:gd name="connsiteX0" fmla="*/ 2675731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675731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9672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19672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51412" h="5157788">
                <a:moveTo>
                  <a:pt x="2706687" y="0"/>
                </a:moveTo>
                <a:lnTo>
                  <a:pt x="4951412" y="0"/>
                </a:lnTo>
                <a:lnTo>
                  <a:pt x="4951412" y="5157788"/>
                </a:lnTo>
                <a:lnTo>
                  <a:pt x="0" y="5153180"/>
                </a:lnTo>
                <a:cubicBezTo>
                  <a:pt x="84411" y="4542509"/>
                  <a:pt x="183041" y="4024723"/>
                  <a:pt x="1243508" y="2562613"/>
                </a:cubicBezTo>
                <a:cubicBezTo>
                  <a:pt x="1867447" y="1704780"/>
                  <a:pt x="2665955" y="709265"/>
                  <a:pt x="2706687" y="0"/>
                </a:cubicBezTo>
                <a:close/>
              </a:path>
            </a:pathLst>
          </a:custGeom>
          <a:solidFill>
            <a:schemeClr val="bg2"/>
          </a:solidFill>
          <a:ln w="3175">
            <a:noFill/>
          </a:ln>
        </p:spPr>
        <p:txBody>
          <a:bodyPr tIns="720000" anchor="ctr" anchorCtr="0"/>
          <a:lstStyle>
            <a:lvl1pPr algn="ctr">
              <a:defRPr sz="1500">
                <a:solidFill>
                  <a:schemeClr val="bg1"/>
                </a:solidFill>
              </a:defRPr>
            </a:lvl1pPr>
          </a:lstStyle>
          <a:p>
            <a:r>
              <a:rPr lang="en-US" noProof="0"/>
              <a:t>Select your own photo</a:t>
            </a:r>
          </a:p>
        </p:txBody>
      </p:sp>
    </p:spTree>
    <p:extLst>
      <p:ext uri="{BB962C8B-B14F-4D97-AF65-F5344CB8AC3E}">
        <p14:creationId xmlns:p14="http://schemas.microsoft.com/office/powerpoint/2010/main" val="194649489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Text and Visual">
    <p:spTree>
      <p:nvGrpSpPr>
        <p:cNvPr id="1" name=""/>
        <p:cNvGrpSpPr/>
        <p:nvPr/>
      </p:nvGrpSpPr>
      <p:grpSpPr>
        <a:xfrm>
          <a:off x="0" y="0"/>
          <a:ext cx="0" cy="0"/>
          <a:chOff x="0" y="0"/>
          <a:chExt cx="0" cy="0"/>
        </a:xfrm>
      </p:grpSpPr>
      <p:sp>
        <p:nvSpPr>
          <p:cNvPr id="2" name="Title 1"/>
          <p:cNvSpPr>
            <a:spLocks noGrp="1"/>
          </p:cNvSpPr>
          <p:nvPr>
            <p:ph type="title"/>
          </p:nvPr>
        </p:nvSpPr>
        <p:spPr>
          <a:xfrm>
            <a:off x="973138" y="225211"/>
            <a:ext cx="7207249" cy="697999"/>
          </a:xfrm>
        </p:spPr>
        <p:txBody>
          <a:bodyPr/>
          <a:lstStyle/>
          <a:p>
            <a:r>
              <a:rPr lang="en-US"/>
              <a:t>Click to edit Master title style</a:t>
            </a:r>
          </a:p>
        </p:txBody>
      </p:sp>
      <p:sp>
        <p:nvSpPr>
          <p:cNvPr id="4" name="Content Placeholder 3"/>
          <p:cNvSpPr>
            <a:spLocks noGrp="1"/>
          </p:cNvSpPr>
          <p:nvPr>
            <p:ph sz="half" idx="2"/>
          </p:nvPr>
        </p:nvSpPr>
        <p:spPr>
          <a:xfrm>
            <a:off x="3425825" y="2302159"/>
            <a:ext cx="4754564" cy="2541673"/>
          </a:xfrm>
        </p:spPr>
        <p:txBody>
          <a:bodyPr/>
          <a:lstStyle>
            <a:lvl1pPr>
              <a:defRPr sz="1600"/>
            </a:lvl1pPr>
            <a:lvl2pPr marL="457200" indent="0">
              <a:buNone/>
              <a:defRPr sz="1600"/>
            </a:lvl2pPr>
            <a:lvl3pPr marL="914400" indent="0">
              <a:buNone/>
              <a:defRPr sz="1600"/>
            </a:lvl3pPr>
            <a:lvl4pPr marL="1371600" indent="0">
              <a:buNone/>
              <a:defRPr sz="1600"/>
            </a:lvl4pPr>
            <a:lvl5pPr marL="1828800" indent="0">
              <a:buNone/>
              <a:defRPr sz="16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p:cNvSpPr>
            <a:spLocks noGrp="1"/>
          </p:cNvSpPr>
          <p:nvPr>
            <p:ph type="sldNum" sz="quarter" idx="12"/>
          </p:nvPr>
        </p:nvSpPr>
        <p:spPr/>
        <p:txBody>
          <a:bodyPr/>
          <a:lstStyle/>
          <a:p>
            <a:fld id="{4B646249-1E1C-CE4A-A075-6417A2C71991}" type="slidenum">
              <a:rPr lang="en-US" smtClean="0">
                <a:solidFill>
                  <a:srgbClr val="343434"/>
                </a:solidFill>
              </a:rPr>
              <a:pPr/>
              <a:t>‹#›</a:t>
            </a:fld>
            <a:endParaRPr lang="en-US">
              <a:solidFill>
                <a:srgbClr val="343434"/>
              </a:solidFill>
            </a:endParaRPr>
          </a:p>
        </p:txBody>
      </p:sp>
      <p:sp>
        <p:nvSpPr>
          <p:cNvPr id="9" name="Picture Placeholder 8"/>
          <p:cNvSpPr>
            <a:spLocks noGrp="1"/>
          </p:cNvSpPr>
          <p:nvPr>
            <p:ph type="pic" sz="quarter" idx="13"/>
          </p:nvPr>
        </p:nvSpPr>
        <p:spPr>
          <a:xfrm>
            <a:off x="973138" y="1247776"/>
            <a:ext cx="2300287" cy="3450384"/>
          </a:xfrm>
        </p:spPr>
        <p:txBody>
          <a:bodyPr/>
          <a:lstStyle/>
          <a:p>
            <a:endParaRPr lang="en-US"/>
          </a:p>
        </p:txBody>
      </p:sp>
      <p:sp>
        <p:nvSpPr>
          <p:cNvPr id="10" name="Content Placeholder 3"/>
          <p:cNvSpPr>
            <a:spLocks noGrp="1"/>
          </p:cNvSpPr>
          <p:nvPr>
            <p:ph sz="half" idx="14"/>
          </p:nvPr>
        </p:nvSpPr>
        <p:spPr>
          <a:xfrm>
            <a:off x="3425825" y="1241426"/>
            <a:ext cx="4754564" cy="879316"/>
          </a:xfrm>
        </p:spPr>
        <p:txBody>
          <a:bodyPr/>
          <a:lstStyle>
            <a:lvl1pPr marL="0" indent="0">
              <a:buNone/>
              <a:defRPr sz="1600">
                <a:solidFill>
                  <a:srgbClr val="005CB9"/>
                </a:solidFill>
              </a:defRPr>
            </a:lvl1pPr>
            <a:lvl2pPr marL="457200" indent="0">
              <a:buNone/>
              <a:defRPr sz="1400">
                <a:solidFill>
                  <a:srgbClr val="005CB9"/>
                </a:solidFill>
              </a:defRPr>
            </a:lvl2pPr>
            <a:lvl3pPr marL="914400" indent="0">
              <a:buNone/>
              <a:defRPr sz="1400">
                <a:solidFill>
                  <a:srgbClr val="005CB9"/>
                </a:solidFill>
              </a:defRPr>
            </a:lvl3pPr>
            <a:lvl4pPr marL="1371600" indent="0">
              <a:buNone/>
              <a:defRPr sz="1400">
                <a:solidFill>
                  <a:srgbClr val="005CB9"/>
                </a:solidFill>
              </a:defRPr>
            </a:lvl4pPr>
            <a:lvl5pPr marL="1828800" indent="0">
              <a:buNone/>
              <a:defRPr sz="1400">
                <a:solidFill>
                  <a:srgbClr val="005CB9"/>
                </a:solidFill>
              </a:defRPr>
            </a:lvl5pPr>
            <a:lvl6pPr>
              <a:defRPr sz="1800"/>
            </a:lvl6pPr>
            <a:lvl7pPr>
              <a:defRPr sz="1800"/>
            </a:lvl7pPr>
            <a:lvl8pPr>
              <a:defRPr sz="1800"/>
            </a:lvl8pPr>
            <a:lvl9pPr>
              <a:defRPr sz="1800"/>
            </a:lvl9pPr>
          </a:lstStyle>
          <a:p>
            <a:pPr lvl="0"/>
            <a:r>
              <a:rPr lang="en-US"/>
              <a:t>Click to edit Master text styles</a:t>
            </a:r>
          </a:p>
        </p:txBody>
      </p:sp>
      <p:sp>
        <p:nvSpPr>
          <p:cNvPr id="8" name="Espace réservé du pied de page 10"/>
          <p:cNvSpPr>
            <a:spLocks noGrp="1"/>
          </p:cNvSpPr>
          <p:nvPr>
            <p:ph type="ftr" sz="quarter" idx="15"/>
          </p:nvPr>
        </p:nvSpPr>
        <p:spPr bwMode="gray">
          <a:xfrm>
            <a:off x="2412000" y="6498000"/>
            <a:ext cx="4320000" cy="360000"/>
          </a:xfrm>
        </p:spPr>
        <p:txBody>
          <a:bodyPr/>
          <a:lstStyle/>
          <a:p>
            <a:r>
              <a:rPr lang="en-US">
                <a:solidFill>
                  <a:srgbClr val="005CB9"/>
                </a:solidFill>
              </a:rPr>
              <a:t>#</a:t>
            </a:r>
            <a:r>
              <a:rPr lang="en-US" err="1">
                <a:solidFill>
                  <a:srgbClr val="005CB9"/>
                </a:solidFill>
              </a:rPr>
              <a:t>vaccineswork</a:t>
            </a:r>
            <a:endParaRPr lang="en-US">
              <a:solidFill>
                <a:srgbClr val="005CB9"/>
              </a:solidFill>
            </a:endParaRPr>
          </a:p>
        </p:txBody>
      </p:sp>
    </p:spTree>
    <p:extLst>
      <p:ext uri="{BB962C8B-B14F-4D97-AF65-F5344CB8AC3E}">
        <p14:creationId xmlns:p14="http://schemas.microsoft.com/office/powerpoint/2010/main" val="375561814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pic>
        <p:nvPicPr>
          <p:cNvPr id="6" name="Image 18" descr="FD_02.pn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gray">
          <a:xfrm>
            <a:off x="0" y="0"/>
            <a:ext cx="9144000" cy="51577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7" name="Rectangle 6"/>
          <p:cNvSpPr/>
          <p:nvPr userDrawn="1"/>
        </p:nvSpPr>
        <p:spPr bwMode="gray">
          <a:xfrm>
            <a:off x="3635375" y="5265738"/>
            <a:ext cx="5508625" cy="15922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prstClr val="white"/>
              </a:solidFill>
            </a:endParaRPr>
          </a:p>
        </p:txBody>
      </p:sp>
      <p:pic>
        <p:nvPicPr>
          <p:cNvPr id="10" name="Image 19" descr="Bas_couv.png"/>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gray">
          <a:xfrm>
            <a:off x="0" y="5172075"/>
            <a:ext cx="3635375" cy="16859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1" name="Rectangle 10"/>
          <p:cNvSpPr/>
          <p:nvPr userDrawn="1"/>
        </p:nvSpPr>
        <p:spPr bwMode="gray">
          <a:xfrm>
            <a:off x="3635375" y="6354763"/>
            <a:ext cx="5113338" cy="2873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p>
            <a:pPr algn="r">
              <a:defRPr/>
            </a:pPr>
            <a:r>
              <a:rPr lang="en-US" sz="1000" err="1">
                <a:solidFill>
                  <a:srgbClr val="95D600"/>
                </a:solidFill>
              </a:rPr>
              <a:t>www.gavi.org</a:t>
            </a:r>
            <a:endParaRPr lang="en-US" sz="1000">
              <a:solidFill>
                <a:srgbClr val="95D600"/>
              </a:solidFill>
            </a:endParaRPr>
          </a:p>
        </p:txBody>
      </p:sp>
      <p:cxnSp>
        <p:nvCxnSpPr>
          <p:cNvPr id="12" name="Connecteur droit 22"/>
          <p:cNvCxnSpPr/>
          <p:nvPr userDrawn="1"/>
        </p:nvCxnSpPr>
        <p:spPr bwMode="gray">
          <a:xfrm flipH="1">
            <a:off x="468313" y="3402013"/>
            <a:ext cx="2447925" cy="0"/>
          </a:xfrm>
          <a:prstGeom prst="line">
            <a:avLst/>
          </a:prstGeom>
          <a:ln w="24130">
            <a:solidFill>
              <a:schemeClr val="accent1"/>
            </a:solidFill>
          </a:ln>
        </p:spPr>
        <p:style>
          <a:lnRef idx="1">
            <a:schemeClr val="accent1"/>
          </a:lnRef>
          <a:fillRef idx="0">
            <a:schemeClr val="accent1"/>
          </a:fillRef>
          <a:effectRef idx="0">
            <a:schemeClr val="accent1"/>
          </a:effectRef>
          <a:fontRef idx="minor">
            <a:schemeClr val="tx1"/>
          </a:fontRef>
        </p:style>
      </p:cxnSp>
      <p:sp>
        <p:nvSpPr>
          <p:cNvPr id="9" name="Espace réservé du texte 8"/>
          <p:cNvSpPr>
            <a:spLocks noGrp="1"/>
          </p:cNvSpPr>
          <p:nvPr>
            <p:ph type="body" sz="quarter" idx="13"/>
          </p:nvPr>
        </p:nvSpPr>
        <p:spPr bwMode="gray">
          <a:xfrm>
            <a:off x="468314" y="1036800"/>
            <a:ext cx="4824412" cy="2232000"/>
          </a:xfrm>
        </p:spPr>
        <p:txBody>
          <a:bodyPr anchor="b"/>
          <a:lstStyle>
            <a:lvl1pPr marL="0" indent="0" algn="l">
              <a:lnSpc>
                <a:spcPct val="90000"/>
              </a:lnSpc>
              <a:buNone/>
              <a:defRPr sz="2800" b="1" cap="none" baseline="0">
                <a:solidFill>
                  <a:schemeClr val="bg1"/>
                </a:solidFill>
              </a:defRPr>
            </a:lvl1pPr>
            <a:lvl2pPr marL="0" algn="ctr">
              <a:lnSpc>
                <a:spcPct val="100000"/>
              </a:lnSpc>
              <a:spcBef>
                <a:spcPts val="6900"/>
              </a:spcBef>
              <a:defRPr sz="2000" b="1">
                <a:solidFill>
                  <a:schemeClr val="bg1"/>
                </a:solidFill>
              </a:defRPr>
            </a:lvl2pPr>
          </a:lstStyle>
          <a:p>
            <a:pPr lvl="0"/>
            <a:r>
              <a:rPr lang="en-US" noProof="0"/>
              <a:t>Click to edit Master text styles</a:t>
            </a:r>
          </a:p>
        </p:txBody>
      </p:sp>
      <p:sp>
        <p:nvSpPr>
          <p:cNvPr id="8" name="Espace réservé du texte 8"/>
          <p:cNvSpPr>
            <a:spLocks noGrp="1"/>
          </p:cNvSpPr>
          <p:nvPr>
            <p:ph type="body" sz="quarter" idx="14"/>
          </p:nvPr>
        </p:nvSpPr>
        <p:spPr bwMode="gray">
          <a:xfrm>
            <a:off x="468314" y="3585600"/>
            <a:ext cx="4824411" cy="1479600"/>
          </a:xfrm>
        </p:spPr>
        <p:txBody>
          <a:bodyPr/>
          <a:lstStyle>
            <a:lvl1pPr marL="0" indent="0" algn="l">
              <a:lnSpc>
                <a:spcPct val="90000"/>
              </a:lnSpc>
              <a:buNone/>
              <a:defRPr sz="2000" b="0" baseline="0">
                <a:solidFill>
                  <a:schemeClr val="bg1"/>
                </a:solidFill>
              </a:defRPr>
            </a:lvl1pPr>
            <a:lvl2pPr marL="0" algn="ctr">
              <a:lnSpc>
                <a:spcPct val="100000"/>
              </a:lnSpc>
              <a:spcBef>
                <a:spcPts val="6900"/>
              </a:spcBef>
              <a:defRPr sz="2000" b="1">
                <a:solidFill>
                  <a:schemeClr val="bg1"/>
                </a:solidFill>
              </a:defRPr>
            </a:lvl2pPr>
          </a:lstStyle>
          <a:p>
            <a:pPr lvl="0"/>
            <a:r>
              <a:rPr lang="en-US" noProof="0"/>
              <a:t>Click to edit Master text styles</a:t>
            </a:r>
          </a:p>
        </p:txBody>
      </p:sp>
      <p:sp>
        <p:nvSpPr>
          <p:cNvPr id="15" name="Espace réservé du texte 14"/>
          <p:cNvSpPr>
            <a:spLocks noGrp="1"/>
          </p:cNvSpPr>
          <p:nvPr>
            <p:ph type="body" sz="quarter" idx="19"/>
          </p:nvPr>
        </p:nvSpPr>
        <p:spPr bwMode="gray">
          <a:xfrm>
            <a:off x="3635376" y="6021388"/>
            <a:ext cx="5113338" cy="324000"/>
          </a:xfrm>
        </p:spPr>
        <p:txBody>
          <a:bodyPr anchor="b"/>
          <a:lstStyle>
            <a:lvl1pPr algn="r">
              <a:lnSpc>
                <a:spcPct val="100000"/>
              </a:lnSpc>
              <a:defRPr sz="1000" b="1">
                <a:solidFill>
                  <a:schemeClr val="accent3"/>
                </a:solidFill>
              </a:defRPr>
            </a:lvl1pPr>
          </a:lstStyle>
          <a:p>
            <a:pPr lvl="0"/>
            <a:r>
              <a:rPr lang="en-US" noProof="0"/>
              <a:t>Click to edit Master text styles</a:t>
            </a:r>
          </a:p>
        </p:txBody>
      </p:sp>
      <p:sp>
        <p:nvSpPr>
          <p:cNvPr id="17" name="Espace réservé du texte 16"/>
          <p:cNvSpPr>
            <a:spLocks noGrp="1"/>
          </p:cNvSpPr>
          <p:nvPr>
            <p:ph type="body" sz="quarter" idx="20"/>
          </p:nvPr>
        </p:nvSpPr>
        <p:spPr bwMode="gray">
          <a:xfrm>
            <a:off x="0" y="5157788"/>
            <a:ext cx="9144000" cy="287337"/>
          </a:xfrm>
          <a:solidFill>
            <a:schemeClr val="bg1"/>
          </a:solidFill>
        </p:spPr>
        <p:txBody>
          <a:bodyPr/>
          <a:lstStyle>
            <a:lvl1pPr>
              <a:defRPr sz="100" b="0">
                <a:solidFill>
                  <a:schemeClr val="bg1">
                    <a:alpha val="0"/>
                  </a:schemeClr>
                </a:solidFill>
              </a:defRPr>
            </a:lvl1pPr>
          </a:lstStyle>
          <a:p>
            <a:pPr lvl="0"/>
            <a:r>
              <a:rPr lang="en-US" noProof="0"/>
              <a:t>Click to edit Master text styles</a:t>
            </a:r>
          </a:p>
        </p:txBody>
      </p:sp>
      <p:sp>
        <p:nvSpPr>
          <p:cNvPr id="13" name="Espace réservé de la date 9"/>
          <p:cNvSpPr>
            <a:spLocks noGrp="1"/>
          </p:cNvSpPr>
          <p:nvPr>
            <p:ph type="dt" sz="half" idx="21"/>
          </p:nvPr>
        </p:nvSpPr>
        <p:spPr/>
        <p:txBody>
          <a:bodyPr/>
          <a:lstStyle>
            <a:lvl1pPr>
              <a:defRPr/>
            </a:lvl1pPr>
          </a:lstStyle>
          <a:p>
            <a:pPr>
              <a:defRPr/>
            </a:pPr>
            <a:r>
              <a:rPr lang="en-US">
                <a:solidFill>
                  <a:prstClr val="white">
                    <a:alpha val="0"/>
                  </a:prstClr>
                </a:solidFill>
              </a:rPr>
              <a:t>Date</a:t>
            </a:r>
          </a:p>
        </p:txBody>
      </p:sp>
      <p:sp>
        <p:nvSpPr>
          <p:cNvPr id="14" name="Espace réservé du numéro de diapositive 10"/>
          <p:cNvSpPr>
            <a:spLocks noGrp="1"/>
          </p:cNvSpPr>
          <p:nvPr>
            <p:ph type="sldNum" sz="quarter" idx="22"/>
          </p:nvPr>
        </p:nvSpPr>
        <p:spPr/>
        <p:txBody>
          <a:bodyPr/>
          <a:lstStyle>
            <a:lvl1pPr>
              <a:defRPr sz="100">
                <a:solidFill>
                  <a:schemeClr val="bg1">
                    <a:alpha val="0"/>
                  </a:schemeClr>
                </a:solidFill>
              </a:defRPr>
            </a:lvl1pPr>
          </a:lstStyle>
          <a:p>
            <a:pPr>
              <a:defRPr/>
            </a:pPr>
            <a:r>
              <a:rPr lang="en-US">
                <a:solidFill>
                  <a:prstClr val="white">
                    <a:alpha val="0"/>
                  </a:prstClr>
                </a:solidFill>
              </a:rPr>
              <a:t>Page: </a:t>
            </a:r>
            <a:fld id="{541ADD26-9626-44B7-849C-716E619042DF}" type="slidenum">
              <a:rPr lang="en-US">
                <a:solidFill>
                  <a:prstClr val="white">
                    <a:alpha val="0"/>
                  </a:prstClr>
                </a:solidFill>
              </a:rPr>
              <a:pPr>
                <a:defRPr/>
              </a:pPr>
              <a:t>‹#›</a:t>
            </a:fld>
            <a:endParaRPr lang="en-US">
              <a:solidFill>
                <a:prstClr val="white">
                  <a:alpha val="0"/>
                </a:prstClr>
              </a:solidFill>
            </a:endParaRPr>
          </a:p>
        </p:txBody>
      </p:sp>
      <p:sp>
        <p:nvSpPr>
          <p:cNvPr id="16" name="Espace réservé du pied de page 11"/>
          <p:cNvSpPr>
            <a:spLocks noGrp="1"/>
          </p:cNvSpPr>
          <p:nvPr>
            <p:ph type="ftr" sz="quarter" idx="23"/>
          </p:nvPr>
        </p:nvSpPr>
        <p:spPr>
          <a:xfrm>
            <a:off x="468313" y="523875"/>
            <a:ext cx="4824412" cy="360363"/>
          </a:xfrm>
        </p:spPr>
        <p:txBody>
          <a:bodyPr/>
          <a:lstStyle>
            <a:lvl1pPr algn="l">
              <a:defRPr sz="1800" b="0">
                <a:solidFill>
                  <a:schemeClr val="bg1"/>
                </a:solidFill>
              </a:defRPr>
            </a:lvl1pPr>
          </a:lstStyle>
          <a:p>
            <a:pPr>
              <a:defRPr/>
            </a:pPr>
            <a:r>
              <a:rPr lang="en-US">
                <a:solidFill>
                  <a:prstClr val="white"/>
                </a:solidFill>
              </a:rPr>
              <a:t>#vaccelerate</a:t>
            </a:r>
          </a:p>
        </p:txBody>
      </p:sp>
    </p:spTree>
    <p:extLst>
      <p:ext uri="{BB962C8B-B14F-4D97-AF65-F5344CB8AC3E}">
        <p14:creationId xmlns:p14="http://schemas.microsoft.com/office/powerpoint/2010/main" val="276338270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over_Picture_1">
    <p:spTree>
      <p:nvGrpSpPr>
        <p:cNvPr id="1" name=""/>
        <p:cNvGrpSpPr/>
        <p:nvPr/>
      </p:nvGrpSpPr>
      <p:grpSpPr>
        <a:xfrm>
          <a:off x="0" y="0"/>
          <a:ext cx="0" cy="0"/>
          <a:chOff x="0" y="0"/>
          <a:chExt cx="0" cy="0"/>
        </a:xfrm>
      </p:grpSpPr>
      <p:pic>
        <p:nvPicPr>
          <p:cNvPr id="7" name="Image 20" descr="FD_1_L254.png"/>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gray">
          <a:xfrm>
            <a:off x="0" y="0"/>
            <a:ext cx="9144000" cy="51577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0" name="Rectangle 9"/>
          <p:cNvSpPr/>
          <p:nvPr userDrawn="1"/>
        </p:nvSpPr>
        <p:spPr bwMode="gray">
          <a:xfrm>
            <a:off x="3635375" y="5265738"/>
            <a:ext cx="5508625" cy="15922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prstClr val="white"/>
              </a:solidFill>
            </a:endParaRPr>
          </a:p>
        </p:txBody>
      </p:sp>
      <p:pic>
        <p:nvPicPr>
          <p:cNvPr id="11" name="Image 19" descr="Bas_couv.png"/>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gray">
          <a:xfrm>
            <a:off x="0" y="5172075"/>
            <a:ext cx="3635375" cy="16859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2" name="Rectangle 11"/>
          <p:cNvSpPr/>
          <p:nvPr userDrawn="1"/>
        </p:nvSpPr>
        <p:spPr bwMode="gray">
          <a:xfrm>
            <a:off x="3635375" y="6354763"/>
            <a:ext cx="5113338" cy="2873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p>
            <a:pPr algn="r">
              <a:defRPr/>
            </a:pPr>
            <a:r>
              <a:rPr lang="en-US" sz="1000" err="1">
                <a:solidFill>
                  <a:srgbClr val="95D600"/>
                </a:solidFill>
              </a:rPr>
              <a:t>www.gavi.org</a:t>
            </a:r>
            <a:endParaRPr lang="en-US" sz="1000">
              <a:solidFill>
                <a:srgbClr val="95D600"/>
              </a:solidFill>
            </a:endParaRPr>
          </a:p>
        </p:txBody>
      </p:sp>
      <p:cxnSp>
        <p:nvCxnSpPr>
          <p:cNvPr id="13" name="Connecteur droit 22"/>
          <p:cNvCxnSpPr/>
          <p:nvPr userDrawn="1"/>
        </p:nvCxnSpPr>
        <p:spPr bwMode="gray">
          <a:xfrm flipH="1">
            <a:off x="468313" y="3402013"/>
            <a:ext cx="2447925" cy="0"/>
          </a:xfrm>
          <a:prstGeom prst="line">
            <a:avLst/>
          </a:prstGeom>
          <a:ln w="24130">
            <a:solidFill>
              <a:schemeClr val="accent1"/>
            </a:solidFill>
          </a:ln>
        </p:spPr>
        <p:style>
          <a:lnRef idx="1">
            <a:schemeClr val="accent1"/>
          </a:lnRef>
          <a:fillRef idx="0">
            <a:schemeClr val="accent1"/>
          </a:fillRef>
          <a:effectRef idx="0">
            <a:schemeClr val="accent1"/>
          </a:effectRef>
          <a:fontRef idx="minor">
            <a:schemeClr val="tx1"/>
          </a:fontRef>
        </p:style>
      </p:cxnSp>
      <p:sp>
        <p:nvSpPr>
          <p:cNvPr id="9" name="Espace réservé du texte 8"/>
          <p:cNvSpPr>
            <a:spLocks noGrp="1"/>
          </p:cNvSpPr>
          <p:nvPr>
            <p:ph type="body" sz="quarter" idx="13"/>
          </p:nvPr>
        </p:nvSpPr>
        <p:spPr bwMode="gray">
          <a:xfrm>
            <a:off x="468314" y="1036638"/>
            <a:ext cx="4824412" cy="2231392"/>
          </a:xfrm>
        </p:spPr>
        <p:txBody>
          <a:bodyPr anchor="b"/>
          <a:lstStyle>
            <a:lvl1pPr marL="0" indent="0" algn="l">
              <a:lnSpc>
                <a:spcPct val="90000"/>
              </a:lnSpc>
              <a:buNone/>
              <a:defRPr sz="2800" b="1" cap="none" baseline="0">
                <a:solidFill>
                  <a:schemeClr val="bg1"/>
                </a:solidFill>
              </a:defRPr>
            </a:lvl1pPr>
            <a:lvl2pPr marL="0" algn="ctr">
              <a:lnSpc>
                <a:spcPct val="100000"/>
              </a:lnSpc>
              <a:spcBef>
                <a:spcPts val="6900"/>
              </a:spcBef>
              <a:defRPr sz="2000" b="1">
                <a:solidFill>
                  <a:schemeClr val="bg1"/>
                </a:solidFill>
              </a:defRPr>
            </a:lvl2pPr>
          </a:lstStyle>
          <a:p>
            <a:pPr lvl="0"/>
            <a:r>
              <a:rPr lang="en-US" noProof="0"/>
              <a:t>Click to edit Master text styles</a:t>
            </a:r>
          </a:p>
        </p:txBody>
      </p:sp>
      <p:sp>
        <p:nvSpPr>
          <p:cNvPr id="8" name="Espace réservé du texte 8"/>
          <p:cNvSpPr>
            <a:spLocks noGrp="1"/>
          </p:cNvSpPr>
          <p:nvPr>
            <p:ph type="body" sz="quarter" idx="14"/>
          </p:nvPr>
        </p:nvSpPr>
        <p:spPr bwMode="gray">
          <a:xfrm>
            <a:off x="468314" y="3584637"/>
            <a:ext cx="3592800" cy="1477788"/>
          </a:xfrm>
        </p:spPr>
        <p:txBody>
          <a:bodyPr/>
          <a:lstStyle>
            <a:lvl1pPr marL="0" indent="0" algn="l">
              <a:lnSpc>
                <a:spcPct val="90000"/>
              </a:lnSpc>
              <a:buNone/>
              <a:defRPr sz="2000" b="0" baseline="0">
                <a:solidFill>
                  <a:schemeClr val="bg1"/>
                </a:solidFill>
              </a:defRPr>
            </a:lvl1pPr>
            <a:lvl2pPr marL="0" algn="ctr">
              <a:lnSpc>
                <a:spcPct val="100000"/>
              </a:lnSpc>
              <a:spcBef>
                <a:spcPts val="6900"/>
              </a:spcBef>
              <a:defRPr sz="2000" b="1">
                <a:solidFill>
                  <a:schemeClr val="bg1"/>
                </a:solidFill>
              </a:defRPr>
            </a:lvl2pPr>
          </a:lstStyle>
          <a:p>
            <a:pPr lvl="0"/>
            <a:r>
              <a:rPr lang="en-US" noProof="0"/>
              <a:t>Click to edit Master text styles</a:t>
            </a:r>
          </a:p>
        </p:txBody>
      </p:sp>
      <p:sp>
        <p:nvSpPr>
          <p:cNvPr id="15" name="Espace réservé du texte 14"/>
          <p:cNvSpPr>
            <a:spLocks noGrp="1"/>
          </p:cNvSpPr>
          <p:nvPr>
            <p:ph type="body" sz="quarter" idx="19"/>
          </p:nvPr>
        </p:nvSpPr>
        <p:spPr bwMode="gray">
          <a:xfrm>
            <a:off x="3635376" y="6021388"/>
            <a:ext cx="5113338" cy="324000"/>
          </a:xfrm>
        </p:spPr>
        <p:txBody>
          <a:bodyPr anchor="b"/>
          <a:lstStyle>
            <a:lvl1pPr algn="r">
              <a:lnSpc>
                <a:spcPct val="100000"/>
              </a:lnSpc>
              <a:defRPr sz="1000" b="1">
                <a:solidFill>
                  <a:schemeClr val="accent3"/>
                </a:solidFill>
              </a:defRPr>
            </a:lvl1pPr>
          </a:lstStyle>
          <a:p>
            <a:pPr lvl="0"/>
            <a:r>
              <a:rPr lang="en-US" noProof="0"/>
              <a:t>Click to edit Master text styles</a:t>
            </a:r>
          </a:p>
        </p:txBody>
      </p:sp>
      <p:sp>
        <p:nvSpPr>
          <p:cNvPr id="17" name="Espace réservé du texte 16"/>
          <p:cNvSpPr>
            <a:spLocks noGrp="1"/>
          </p:cNvSpPr>
          <p:nvPr>
            <p:ph type="body" sz="quarter" idx="20"/>
          </p:nvPr>
        </p:nvSpPr>
        <p:spPr bwMode="gray">
          <a:xfrm>
            <a:off x="0" y="5157788"/>
            <a:ext cx="9144000" cy="287337"/>
          </a:xfrm>
          <a:solidFill>
            <a:schemeClr val="bg1"/>
          </a:solidFill>
        </p:spPr>
        <p:txBody>
          <a:bodyPr/>
          <a:lstStyle>
            <a:lvl1pPr>
              <a:defRPr sz="100" b="0">
                <a:solidFill>
                  <a:schemeClr val="bg1">
                    <a:alpha val="0"/>
                  </a:schemeClr>
                </a:solidFill>
              </a:defRPr>
            </a:lvl1pPr>
          </a:lstStyle>
          <a:p>
            <a:pPr lvl="0"/>
            <a:r>
              <a:rPr lang="en-US" noProof="0"/>
              <a:t>Click to edit Master text styles</a:t>
            </a:r>
          </a:p>
        </p:txBody>
      </p:sp>
      <p:sp>
        <p:nvSpPr>
          <p:cNvPr id="24" name="Espace réservé pour une image  17"/>
          <p:cNvSpPr>
            <a:spLocks noGrp="1"/>
          </p:cNvSpPr>
          <p:nvPr>
            <p:ph type="pic" sz="quarter" idx="18"/>
          </p:nvPr>
        </p:nvSpPr>
        <p:spPr bwMode="gray">
          <a:xfrm>
            <a:off x="4192588" y="0"/>
            <a:ext cx="4951412" cy="5162400"/>
          </a:xfrm>
          <a:custGeom>
            <a:avLst/>
            <a:gdLst>
              <a:gd name="connsiteX0" fmla="*/ 0 w 3851275"/>
              <a:gd name="connsiteY0" fmla="*/ 0 h 5157788"/>
              <a:gd name="connsiteX1" fmla="*/ 3851275 w 3851275"/>
              <a:gd name="connsiteY1" fmla="*/ 0 h 5157788"/>
              <a:gd name="connsiteX2" fmla="*/ 3851275 w 3851275"/>
              <a:gd name="connsiteY2" fmla="*/ 5157788 h 5157788"/>
              <a:gd name="connsiteX3" fmla="*/ 0 w 3851275"/>
              <a:gd name="connsiteY3" fmla="*/ 5157788 h 5157788"/>
              <a:gd name="connsiteX4" fmla="*/ 0 w 3851275"/>
              <a:gd name="connsiteY4"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0 w 3851275"/>
              <a:gd name="connsiteY3" fmla="*/ 5157788 h 5157788"/>
              <a:gd name="connsiteX4" fmla="*/ 1692275 w 3851275"/>
              <a:gd name="connsiteY4" fmla="*/ 0 h 5157788"/>
              <a:gd name="connsiteX0" fmla="*/ 0 w 2159000"/>
              <a:gd name="connsiteY0" fmla="*/ 0 h 5157788"/>
              <a:gd name="connsiteX1" fmla="*/ 2159000 w 2159000"/>
              <a:gd name="connsiteY1" fmla="*/ 0 h 5157788"/>
              <a:gd name="connsiteX2" fmla="*/ 2159000 w 2159000"/>
              <a:gd name="connsiteY2" fmla="*/ 5157788 h 5157788"/>
              <a:gd name="connsiteX3" fmla="*/ 0 w 2159000"/>
              <a:gd name="connsiteY3" fmla="*/ 5157788 h 5157788"/>
              <a:gd name="connsiteX4" fmla="*/ 0 w 2159000"/>
              <a:gd name="connsiteY4" fmla="*/ 0 h 5157788"/>
              <a:gd name="connsiteX0" fmla="*/ 2625271 w 4784271"/>
              <a:gd name="connsiteY0" fmla="*/ 0 h 5157788"/>
              <a:gd name="connsiteX1" fmla="*/ 4784271 w 4784271"/>
              <a:gd name="connsiteY1" fmla="*/ 0 h 5157788"/>
              <a:gd name="connsiteX2" fmla="*/ 4784271 w 4784271"/>
              <a:gd name="connsiteY2" fmla="*/ 5157788 h 5157788"/>
              <a:gd name="connsiteX3" fmla="*/ 2625271 w 4784271"/>
              <a:gd name="connsiteY3" fmla="*/ 5157788 h 5157788"/>
              <a:gd name="connsiteX4" fmla="*/ 2625271 w 4784271"/>
              <a:gd name="connsiteY4" fmla="*/ 0 h 5157788"/>
              <a:gd name="connsiteX0" fmla="*/ 2625271 w 4784271"/>
              <a:gd name="connsiteY0" fmla="*/ 0 h 5157788"/>
              <a:gd name="connsiteX1" fmla="*/ 4784271 w 4784271"/>
              <a:gd name="connsiteY1" fmla="*/ 0 h 5157788"/>
              <a:gd name="connsiteX2" fmla="*/ 4784271 w 4784271"/>
              <a:gd name="connsiteY2" fmla="*/ 5157788 h 5157788"/>
              <a:gd name="connsiteX3" fmla="*/ 2625271 w 4784271"/>
              <a:gd name="connsiteY3" fmla="*/ 5157788 h 5157788"/>
              <a:gd name="connsiteX4" fmla="*/ 2625271 w 4784271"/>
              <a:gd name="connsiteY4" fmla="*/ 0 h 5157788"/>
              <a:gd name="connsiteX0" fmla="*/ 3568576 w 5727576"/>
              <a:gd name="connsiteY0" fmla="*/ 0 h 5157788"/>
              <a:gd name="connsiteX1" fmla="*/ 5727576 w 5727576"/>
              <a:gd name="connsiteY1" fmla="*/ 0 h 5157788"/>
              <a:gd name="connsiteX2" fmla="*/ 5727576 w 5727576"/>
              <a:gd name="connsiteY2" fmla="*/ 5157788 h 5157788"/>
              <a:gd name="connsiteX3" fmla="*/ 3568576 w 5727576"/>
              <a:gd name="connsiteY3" fmla="*/ 5157788 h 5157788"/>
              <a:gd name="connsiteX4" fmla="*/ 3568576 w 5727576"/>
              <a:gd name="connsiteY4" fmla="*/ 0 h 5157788"/>
              <a:gd name="connsiteX0" fmla="*/ 3306355 w 5465355"/>
              <a:gd name="connsiteY0" fmla="*/ 0 h 5157788"/>
              <a:gd name="connsiteX1" fmla="*/ 5465355 w 5465355"/>
              <a:gd name="connsiteY1" fmla="*/ 0 h 5157788"/>
              <a:gd name="connsiteX2" fmla="*/ 5465355 w 5465355"/>
              <a:gd name="connsiteY2" fmla="*/ 5157788 h 5157788"/>
              <a:gd name="connsiteX3" fmla="*/ 3306355 w 5465355"/>
              <a:gd name="connsiteY3" fmla="*/ 5157788 h 5157788"/>
              <a:gd name="connsiteX4" fmla="*/ 3306355 w 5465355"/>
              <a:gd name="connsiteY4" fmla="*/ 0 h 5157788"/>
              <a:gd name="connsiteX0" fmla="*/ 1416957 w 3575957"/>
              <a:gd name="connsiteY0" fmla="*/ 0 h 5157788"/>
              <a:gd name="connsiteX1" fmla="*/ 3575957 w 3575957"/>
              <a:gd name="connsiteY1" fmla="*/ 0 h 5157788"/>
              <a:gd name="connsiteX2" fmla="*/ 3575957 w 3575957"/>
              <a:gd name="connsiteY2" fmla="*/ 5157788 h 5157788"/>
              <a:gd name="connsiteX3" fmla="*/ 1416957 w 3575957"/>
              <a:gd name="connsiteY3" fmla="*/ 5157788 h 5157788"/>
              <a:gd name="connsiteX4" fmla="*/ 0 w 3575957"/>
              <a:gd name="connsiteY4" fmla="*/ 3339193 h 5157788"/>
              <a:gd name="connsiteX5" fmla="*/ 1416957 w 3575957"/>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6017419"/>
              <a:gd name="connsiteX1" fmla="*/ 3851275 w 3851275"/>
              <a:gd name="connsiteY1" fmla="*/ 0 h 6017419"/>
              <a:gd name="connsiteX2" fmla="*/ 3851275 w 3851275"/>
              <a:gd name="connsiteY2" fmla="*/ 5157788 h 6017419"/>
              <a:gd name="connsiteX3" fmla="*/ 1692275 w 3851275"/>
              <a:gd name="connsiteY3" fmla="*/ 5157788 h 6017419"/>
              <a:gd name="connsiteX4" fmla="*/ 0 w 3851275"/>
              <a:gd name="connsiteY4" fmla="*/ 3284984 h 6017419"/>
              <a:gd name="connsiteX5" fmla="*/ 1692275 w 3851275"/>
              <a:gd name="connsiteY5" fmla="*/ 0 h 6017419"/>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429000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429000 h 5157788"/>
              <a:gd name="connsiteX5" fmla="*/ 1710871 w 3869871"/>
              <a:gd name="connsiteY5" fmla="*/ 0 h 5157788"/>
              <a:gd name="connsiteX0" fmla="*/ 1704975 w 3863975"/>
              <a:gd name="connsiteY0" fmla="*/ 0 h 5157788"/>
              <a:gd name="connsiteX1" fmla="*/ 3863975 w 3863975"/>
              <a:gd name="connsiteY1" fmla="*/ 0 h 5157788"/>
              <a:gd name="connsiteX2" fmla="*/ 3863975 w 3863975"/>
              <a:gd name="connsiteY2" fmla="*/ 5157788 h 5157788"/>
              <a:gd name="connsiteX3" fmla="*/ 1704975 w 3863975"/>
              <a:gd name="connsiteY3" fmla="*/ 5157788 h 5157788"/>
              <a:gd name="connsiteX4" fmla="*/ 12700 w 3863975"/>
              <a:gd name="connsiteY4" fmla="*/ 3429000 h 5157788"/>
              <a:gd name="connsiteX5" fmla="*/ 1704975 w 3863975"/>
              <a:gd name="connsiteY5" fmla="*/ 0 h 5157788"/>
              <a:gd name="connsiteX0" fmla="*/ 1707243 w 3866243"/>
              <a:gd name="connsiteY0" fmla="*/ 0 h 5157788"/>
              <a:gd name="connsiteX1" fmla="*/ 3866243 w 3866243"/>
              <a:gd name="connsiteY1" fmla="*/ 0 h 5157788"/>
              <a:gd name="connsiteX2" fmla="*/ 3866243 w 3866243"/>
              <a:gd name="connsiteY2" fmla="*/ 5157788 h 5157788"/>
              <a:gd name="connsiteX3" fmla="*/ 1707243 w 3866243"/>
              <a:gd name="connsiteY3" fmla="*/ 5157788 h 5157788"/>
              <a:gd name="connsiteX4" fmla="*/ 14968 w 3866243"/>
              <a:gd name="connsiteY4" fmla="*/ 3429000 h 5157788"/>
              <a:gd name="connsiteX5" fmla="*/ 1707243 w 3866243"/>
              <a:gd name="connsiteY5" fmla="*/ 0 h 5157788"/>
              <a:gd name="connsiteX0" fmla="*/ 1130447 w 3866243"/>
              <a:gd name="connsiteY0" fmla="*/ 0 h 5157788"/>
              <a:gd name="connsiteX1" fmla="*/ 3866243 w 3866243"/>
              <a:gd name="connsiteY1" fmla="*/ 0 h 5157788"/>
              <a:gd name="connsiteX2" fmla="*/ 3866243 w 3866243"/>
              <a:gd name="connsiteY2" fmla="*/ 5157788 h 5157788"/>
              <a:gd name="connsiteX3" fmla="*/ 1707243 w 3866243"/>
              <a:gd name="connsiteY3" fmla="*/ 5157788 h 5157788"/>
              <a:gd name="connsiteX4" fmla="*/ 14968 w 3866243"/>
              <a:gd name="connsiteY4" fmla="*/ 3429000 h 5157788"/>
              <a:gd name="connsiteX5" fmla="*/ 1130447 w 3866243"/>
              <a:gd name="connsiteY5" fmla="*/ 0 h 5157788"/>
              <a:gd name="connsiteX0" fmla="*/ 2746143 w 5481939"/>
              <a:gd name="connsiteY0" fmla="*/ 0 h 5157788"/>
              <a:gd name="connsiteX1" fmla="*/ 5481939 w 5481939"/>
              <a:gd name="connsiteY1" fmla="*/ 0 h 5157788"/>
              <a:gd name="connsiteX2" fmla="*/ 5481939 w 5481939"/>
              <a:gd name="connsiteY2" fmla="*/ 5157788 h 5157788"/>
              <a:gd name="connsiteX3" fmla="*/ 585903 w 5481939"/>
              <a:gd name="connsiteY3" fmla="*/ 5153180 h 5157788"/>
              <a:gd name="connsiteX4" fmla="*/ 1630664 w 5481939"/>
              <a:gd name="connsiteY4" fmla="*/ 3429000 h 5157788"/>
              <a:gd name="connsiteX5" fmla="*/ 2746143 w 5481939"/>
              <a:gd name="connsiteY5" fmla="*/ 0 h 5157788"/>
              <a:gd name="connsiteX0" fmla="*/ 2746143 w 5481939"/>
              <a:gd name="connsiteY0" fmla="*/ 0 h 5157788"/>
              <a:gd name="connsiteX1" fmla="*/ 5481939 w 5481939"/>
              <a:gd name="connsiteY1" fmla="*/ 0 h 5157788"/>
              <a:gd name="connsiteX2" fmla="*/ 5481939 w 5481939"/>
              <a:gd name="connsiteY2" fmla="*/ 5157788 h 5157788"/>
              <a:gd name="connsiteX3" fmla="*/ 585903 w 5481939"/>
              <a:gd name="connsiteY3" fmla="*/ 5153180 h 5157788"/>
              <a:gd name="connsiteX4" fmla="*/ 1630664 w 5481939"/>
              <a:gd name="connsiteY4" fmla="*/ 3429000 h 5157788"/>
              <a:gd name="connsiteX5" fmla="*/ 2746143 w 548193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3574235 w 6310031"/>
              <a:gd name="connsiteY0" fmla="*/ 0 h 5157788"/>
              <a:gd name="connsiteX1" fmla="*/ 6310031 w 6310031"/>
              <a:gd name="connsiteY1" fmla="*/ 0 h 5157788"/>
              <a:gd name="connsiteX2" fmla="*/ 6310031 w 6310031"/>
              <a:gd name="connsiteY2" fmla="*/ 5157788 h 5157788"/>
              <a:gd name="connsiteX3" fmla="*/ 585903 w 6310031"/>
              <a:gd name="connsiteY3" fmla="*/ 5153180 h 5157788"/>
              <a:gd name="connsiteX4" fmla="*/ 1738031 w 6310031"/>
              <a:gd name="connsiteY4" fmla="*/ 3389965 h 5157788"/>
              <a:gd name="connsiteX5" fmla="*/ 3574235 w 6310031"/>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296143 w 5724128"/>
              <a:gd name="connsiteY4" fmla="*/ 3461908 h 5157788"/>
              <a:gd name="connsiteX5" fmla="*/ 2988332 w 5724128"/>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1188132 w 5760132"/>
              <a:gd name="connsiteY4" fmla="*/ 3425937 h 5157788"/>
              <a:gd name="connsiteX5" fmla="*/ 3024336 w 5760132"/>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2736304 w 5760132"/>
              <a:gd name="connsiteY4" fmla="*/ 3461908 h 5157788"/>
              <a:gd name="connsiteX5" fmla="*/ 3024336 w 5760132"/>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2736304 w 5760132"/>
              <a:gd name="connsiteY4" fmla="*/ 3461908 h 5157788"/>
              <a:gd name="connsiteX5" fmla="*/ 3024336 w 5760132"/>
              <a:gd name="connsiteY5" fmla="*/ 0 h 5157788"/>
              <a:gd name="connsiteX0" fmla="*/ 2160240 w 4896036"/>
              <a:gd name="connsiteY0" fmla="*/ 0 h 5157788"/>
              <a:gd name="connsiteX1" fmla="*/ 4896036 w 4896036"/>
              <a:gd name="connsiteY1" fmla="*/ 0 h 5157788"/>
              <a:gd name="connsiteX2" fmla="*/ 4896036 w 4896036"/>
              <a:gd name="connsiteY2" fmla="*/ 5157788 h 5157788"/>
              <a:gd name="connsiteX3" fmla="*/ 0 w 4896036"/>
              <a:gd name="connsiteY3" fmla="*/ 5153180 h 5157788"/>
              <a:gd name="connsiteX4" fmla="*/ 1872208 w 4896036"/>
              <a:gd name="connsiteY4" fmla="*/ 3461908 h 5157788"/>
              <a:gd name="connsiteX5" fmla="*/ 2160240 w 4896036"/>
              <a:gd name="connsiteY5" fmla="*/ 0 h 5157788"/>
              <a:gd name="connsiteX0" fmla="*/ 2232248 w 4968044"/>
              <a:gd name="connsiteY0" fmla="*/ 0 h 5157788"/>
              <a:gd name="connsiteX1" fmla="*/ 4968044 w 4968044"/>
              <a:gd name="connsiteY1" fmla="*/ 0 h 5157788"/>
              <a:gd name="connsiteX2" fmla="*/ 4968044 w 4968044"/>
              <a:gd name="connsiteY2" fmla="*/ 5157788 h 5157788"/>
              <a:gd name="connsiteX3" fmla="*/ 0 w 4968044"/>
              <a:gd name="connsiteY3" fmla="*/ 5153180 h 5157788"/>
              <a:gd name="connsiteX4" fmla="*/ 1944216 w 4968044"/>
              <a:gd name="connsiteY4" fmla="*/ 3461908 h 5157788"/>
              <a:gd name="connsiteX5" fmla="*/ 2232248 w 4968044"/>
              <a:gd name="connsiteY5" fmla="*/ 0 h 5157788"/>
              <a:gd name="connsiteX0" fmla="*/ 2207679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207679 w 4943475"/>
              <a:gd name="connsiteY5" fmla="*/ 0 h 5157788"/>
              <a:gd name="connsiteX0" fmla="*/ 2963763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963763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092200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71575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343583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675731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675731 w 4943475"/>
              <a:gd name="connsiteY5" fmla="*/ 0 h 5157788"/>
              <a:gd name="connsiteX0" fmla="*/ 2675731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675731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9672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19672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51412" h="5157788">
                <a:moveTo>
                  <a:pt x="2706687" y="0"/>
                </a:moveTo>
                <a:lnTo>
                  <a:pt x="4951412" y="0"/>
                </a:lnTo>
                <a:lnTo>
                  <a:pt x="4951412" y="5157788"/>
                </a:lnTo>
                <a:lnTo>
                  <a:pt x="0" y="5153180"/>
                </a:lnTo>
                <a:cubicBezTo>
                  <a:pt x="84411" y="4542509"/>
                  <a:pt x="183041" y="4024723"/>
                  <a:pt x="1243508" y="2562613"/>
                </a:cubicBezTo>
                <a:cubicBezTo>
                  <a:pt x="1867447" y="1704780"/>
                  <a:pt x="2665955" y="709265"/>
                  <a:pt x="2706687" y="0"/>
                </a:cubicBezTo>
                <a:close/>
              </a:path>
            </a:pathLst>
          </a:custGeom>
          <a:solidFill>
            <a:schemeClr val="bg2"/>
          </a:solidFill>
          <a:ln w="3175">
            <a:noFill/>
          </a:ln>
        </p:spPr>
        <p:txBody>
          <a:bodyPr tIns="720000" rtlCol="0" anchor="ctr">
            <a:noAutofit/>
          </a:bodyPr>
          <a:lstStyle>
            <a:lvl1pPr algn="ctr">
              <a:defRPr sz="1500">
                <a:solidFill>
                  <a:schemeClr val="bg1"/>
                </a:solidFill>
              </a:defRPr>
            </a:lvl1pPr>
          </a:lstStyle>
          <a:p>
            <a:pPr lvl="0"/>
            <a:r>
              <a:rPr lang="en-US" noProof="0"/>
              <a:t>Click icon to add picture</a:t>
            </a:r>
          </a:p>
        </p:txBody>
      </p:sp>
      <p:sp>
        <p:nvSpPr>
          <p:cNvPr id="14" name="Espace réservé de la date 9"/>
          <p:cNvSpPr>
            <a:spLocks noGrp="1"/>
          </p:cNvSpPr>
          <p:nvPr>
            <p:ph type="dt" sz="half" idx="21"/>
          </p:nvPr>
        </p:nvSpPr>
        <p:spPr/>
        <p:txBody>
          <a:bodyPr/>
          <a:lstStyle>
            <a:lvl1pPr>
              <a:defRPr/>
            </a:lvl1pPr>
          </a:lstStyle>
          <a:p>
            <a:pPr>
              <a:defRPr/>
            </a:pPr>
            <a:r>
              <a:rPr lang="en-US">
                <a:solidFill>
                  <a:prstClr val="white">
                    <a:alpha val="0"/>
                  </a:prstClr>
                </a:solidFill>
              </a:rPr>
              <a:t>Date</a:t>
            </a:r>
          </a:p>
        </p:txBody>
      </p:sp>
      <p:sp>
        <p:nvSpPr>
          <p:cNvPr id="16" name="Espace réservé du numéro de diapositive 10"/>
          <p:cNvSpPr>
            <a:spLocks noGrp="1"/>
          </p:cNvSpPr>
          <p:nvPr>
            <p:ph type="sldNum" sz="quarter" idx="22"/>
          </p:nvPr>
        </p:nvSpPr>
        <p:spPr/>
        <p:txBody>
          <a:bodyPr/>
          <a:lstStyle>
            <a:lvl1pPr>
              <a:defRPr sz="100">
                <a:solidFill>
                  <a:schemeClr val="bg1">
                    <a:alpha val="0"/>
                  </a:schemeClr>
                </a:solidFill>
              </a:defRPr>
            </a:lvl1pPr>
          </a:lstStyle>
          <a:p>
            <a:pPr>
              <a:defRPr/>
            </a:pPr>
            <a:r>
              <a:rPr lang="en-US">
                <a:solidFill>
                  <a:prstClr val="white">
                    <a:alpha val="0"/>
                  </a:prstClr>
                </a:solidFill>
              </a:rPr>
              <a:t>Page: </a:t>
            </a:r>
            <a:fld id="{FBC781E1-DB0D-44EA-942B-52789A2EA6EC}" type="slidenum">
              <a:rPr lang="en-US">
                <a:solidFill>
                  <a:prstClr val="white">
                    <a:alpha val="0"/>
                  </a:prstClr>
                </a:solidFill>
              </a:rPr>
              <a:pPr>
                <a:defRPr/>
              </a:pPr>
              <a:t>‹#›</a:t>
            </a:fld>
            <a:endParaRPr lang="en-US">
              <a:solidFill>
                <a:prstClr val="white">
                  <a:alpha val="0"/>
                </a:prstClr>
              </a:solidFill>
            </a:endParaRPr>
          </a:p>
        </p:txBody>
      </p:sp>
      <p:sp>
        <p:nvSpPr>
          <p:cNvPr id="18" name="Espace réservé du pied de page 11"/>
          <p:cNvSpPr>
            <a:spLocks noGrp="1"/>
          </p:cNvSpPr>
          <p:nvPr>
            <p:ph type="ftr" sz="quarter" idx="23"/>
          </p:nvPr>
        </p:nvSpPr>
        <p:spPr>
          <a:xfrm>
            <a:off x="468313" y="523875"/>
            <a:ext cx="4824412" cy="360363"/>
          </a:xfrm>
        </p:spPr>
        <p:txBody>
          <a:bodyPr/>
          <a:lstStyle>
            <a:lvl1pPr algn="l">
              <a:defRPr sz="1800" b="0">
                <a:solidFill>
                  <a:schemeClr val="bg1"/>
                </a:solidFill>
              </a:defRPr>
            </a:lvl1pPr>
          </a:lstStyle>
          <a:p>
            <a:pPr>
              <a:defRPr/>
            </a:pPr>
            <a:r>
              <a:rPr lang="en-US">
                <a:solidFill>
                  <a:prstClr val="white"/>
                </a:solidFill>
              </a:rPr>
              <a:t>#</a:t>
            </a:r>
            <a:r>
              <a:rPr lang="en-US" err="1">
                <a:solidFill>
                  <a:prstClr val="white"/>
                </a:solidFill>
              </a:rPr>
              <a:t>vaccineswork</a:t>
            </a:r>
            <a:endParaRPr lang="en-US">
              <a:solidFill>
                <a:prstClr val="white"/>
              </a:solidFill>
            </a:endParaRPr>
          </a:p>
          <a:p>
            <a:pPr>
              <a:defRPr/>
            </a:pPr>
            <a:endParaRPr lang="en-US">
              <a:solidFill>
                <a:prstClr val="white"/>
              </a:solidFill>
            </a:endParaRPr>
          </a:p>
        </p:txBody>
      </p:sp>
    </p:spTree>
    <p:extLst>
      <p:ext uri="{BB962C8B-B14F-4D97-AF65-F5344CB8AC3E}">
        <p14:creationId xmlns:p14="http://schemas.microsoft.com/office/powerpoint/2010/main" val="66697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over_Picture_2">
    <p:spTree>
      <p:nvGrpSpPr>
        <p:cNvPr id="1" name=""/>
        <p:cNvGrpSpPr/>
        <p:nvPr/>
      </p:nvGrpSpPr>
      <p:grpSpPr>
        <a:xfrm>
          <a:off x="0" y="0"/>
          <a:ext cx="0" cy="0"/>
          <a:chOff x="0" y="0"/>
          <a:chExt cx="0" cy="0"/>
        </a:xfrm>
      </p:grpSpPr>
      <p:pic>
        <p:nvPicPr>
          <p:cNvPr id="7" name="Image 20" descr="FD_1_L254.png"/>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gray">
          <a:xfrm>
            <a:off x="0" y="0"/>
            <a:ext cx="9144000" cy="51577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0" name="Rectangle 9"/>
          <p:cNvSpPr/>
          <p:nvPr userDrawn="1"/>
        </p:nvSpPr>
        <p:spPr bwMode="gray">
          <a:xfrm>
            <a:off x="3635375" y="5265738"/>
            <a:ext cx="5508625" cy="15922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prstClr val="white"/>
              </a:solidFill>
            </a:endParaRPr>
          </a:p>
        </p:txBody>
      </p:sp>
      <p:pic>
        <p:nvPicPr>
          <p:cNvPr id="11" name="Image 19" descr="Bas_couv.png"/>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gray">
          <a:xfrm>
            <a:off x="0" y="5172075"/>
            <a:ext cx="3635375" cy="16859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2" name="Rectangle 11"/>
          <p:cNvSpPr/>
          <p:nvPr userDrawn="1"/>
        </p:nvSpPr>
        <p:spPr bwMode="gray">
          <a:xfrm>
            <a:off x="3635375" y="6354763"/>
            <a:ext cx="5113338" cy="2873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p>
            <a:pPr algn="r">
              <a:defRPr/>
            </a:pPr>
            <a:r>
              <a:rPr lang="en-US" sz="1000" err="1">
                <a:solidFill>
                  <a:srgbClr val="95D600"/>
                </a:solidFill>
              </a:rPr>
              <a:t>www.gavi.org</a:t>
            </a:r>
            <a:endParaRPr lang="en-US" sz="1000">
              <a:solidFill>
                <a:srgbClr val="95D600"/>
              </a:solidFill>
            </a:endParaRPr>
          </a:p>
        </p:txBody>
      </p:sp>
      <p:cxnSp>
        <p:nvCxnSpPr>
          <p:cNvPr id="13" name="Connecteur droit 13"/>
          <p:cNvCxnSpPr/>
          <p:nvPr userDrawn="1"/>
        </p:nvCxnSpPr>
        <p:spPr bwMode="gray">
          <a:xfrm flipH="1">
            <a:off x="468313" y="3402013"/>
            <a:ext cx="2447925" cy="0"/>
          </a:xfrm>
          <a:prstGeom prst="line">
            <a:avLst/>
          </a:prstGeom>
          <a:ln w="24130">
            <a:solidFill>
              <a:schemeClr val="accent1"/>
            </a:solidFill>
          </a:ln>
        </p:spPr>
        <p:style>
          <a:lnRef idx="1">
            <a:schemeClr val="accent1"/>
          </a:lnRef>
          <a:fillRef idx="0">
            <a:schemeClr val="accent1"/>
          </a:fillRef>
          <a:effectRef idx="0">
            <a:schemeClr val="accent1"/>
          </a:effectRef>
          <a:fontRef idx="minor">
            <a:schemeClr val="tx1"/>
          </a:fontRef>
        </p:style>
      </p:cxnSp>
      <p:sp>
        <p:nvSpPr>
          <p:cNvPr id="9" name="Espace réservé du texte 8"/>
          <p:cNvSpPr>
            <a:spLocks noGrp="1"/>
          </p:cNvSpPr>
          <p:nvPr>
            <p:ph type="body" sz="quarter" idx="13"/>
          </p:nvPr>
        </p:nvSpPr>
        <p:spPr bwMode="gray">
          <a:xfrm>
            <a:off x="468000" y="1036800"/>
            <a:ext cx="4824412" cy="2232000"/>
          </a:xfrm>
        </p:spPr>
        <p:txBody>
          <a:bodyPr anchor="b"/>
          <a:lstStyle>
            <a:lvl1pPr marL="0" indent="0" algn="l">
              <a:lnSpc>
                <a:spcPct val="90000"/>
              </a:lnSpc>
              <a:buNone/>
              <a:defRPr sz="2800" b="1" cap="none" baseline="0">
                <a:solidFill>
                  <a:schemeClr val="bg1"/>
                </a:solidFill>
              </a:defRPr>
            </a:lvl1pPr>
            <a:lvl2pPr marL="0" algn="ctr">
              <a:lnSpc>
                <a:spcPct val="100000"/>
              </a:lnSpc>
              <a:spcBef>
                <a:spcPts val="6900"/>
              </a:spcBef>
              <a:defRPr sz="2000" b="1">
                <a:solidFill>
                  <a:schemeClr val="bg1"/>
                </a:solidFill>
              </a:defRPr>
            </a:lvl2pPr>
          </a:lstStyle>
          <a:p>
            <a:pPr lvl="0"/>
            <a:r>
              <a:rPr lang="en-US" noProof="0"/>
              <a:t>Click to edit Master text styles</a:t>
            </a:r>
          </a:p>
        </p:txBody>
      </p:sp>
      <p:sp>
        <p:nvSpPr>
          <p:cNvPr id="8" name="Espace réservé du texte 8"/>
          <p:cNvSpPr>
            <a:spLocks noGrp="1"/>
          </p:cNvSpPr>
          <p:nvPr>
            <p:ph type="body" sz="quarter" idx="14"/>
          </p:nvPr>
        </p:nvSpPr>
        <p:spPr bwMode="gray">
          <a:xfrm>
            <a:off x="468314" y="3585600"/>
            <a:ext cx="3592800" cy="1479600"/>
          </a:xfrm>
        </p:spPr>
        <p:txBody>
          <a:bodyPr/>
          <a:lstStyle>
            <a:lvl1pPr marL="0" indent="0" algn="l">
              <a:lnSpc>
                <a:spcPct val="90000"/>
              </a:lnSpc>
              <a:buNone/>
              <a:defRPr sz="2000" b="0" baseline="0">
                <a:solidFill>
                  <a:schemeClr val="bg1"/>
                </a:solidFill>
              </a:defRPr>
            </a:lvl1pPr>
            <a:lvl2pPr marL="0" algn="ctr">
              <a:lnSpc>
                <a:spcPct val="100000"/>
              </a:lnSpc>
              <a:spcBef>
                <a:spcPts val="6900"/>
              </a:spcBef>
              <a:defRPr sz="2000" b="1">
                <a:solidFill>
                  <a:schemeClr val="bg1"/>
                </a:solidFill>
              </a:defRPr>
            </a:lvl2pPr>
          </a:lstStyle>
          <a:p>
            <a:pPr lvl="0"/>
            <a:r>
              <a:rPr lang="en-US" noProof="0"/>
              <a:t>Click to edit Master text styles</a:t>
            </a:r>
          </a:p>
        </p:txBody>
      </p:sp>
      <p:sp>
        <p:nvSpPr>
          <p:cNvPr id="15" name="Espace réservé du texte 14"/>
          <p:cNvSpPr>
            <a:spLocks noGrp="1"/>
          </p:cNvSpPr>
          <p:nvPr>
            <p:ph type="body" sz="quarter" idx="19"/>
          </p:nvPr>
        </p:nvSpPr>
        <p:spPr bwMode="gray">
          <a:xfrm>
            <a:off x="3635376" y="6021388"/>
            <a:ext cx="5113338" cy="324000"/>
          </a:xfrm>
        </p:spPr>
        <p:txBody>
          <a:bodyPr anchor="b"/>
          <a:lstStyle>
            <a:lvl1pPr algn="r">
              <a:lnSpc>
                <a:spcPct val="100000"/>
              </a:lnSpc>
              <a:defRPr sz="1000" b="1">
                <a:solidFill>
                  <a:schemeClr val="accent3"/>
                </a:solidFill>
              </a:defRPr>
            </a:lvl1pPr>
          </a:lstStyle>
          <a:p>
            <a:pPr lvl="0"/>
            <a:r>
              <a:rPr lang="en-US" noProof="0"/>
              <a:t>Click to edit Master text styles</a:t>
            </a:r>
          </a:p>
        </p:txBody>
      </p:sp>
      <p:sp>
        <p:nvSpPr>
          <p:cNvPr id="17" name="Espace réservé du texte 16"/>
          <p:cNvSpPr>
            <a:spLocks noGrp="1"/>
          </p:cNvSpPr>
          <p:nvPr>
            <p:ph type="body" sz="quarter" idx="20"/>
          </p:nvPr>
        </p:nvSpPr>
        <p:spPr bwMode="gray">
          <a:xfrm>
            <a:off x="0" y="5157788"/>
            <a:ext cx="9144000" cy="287337"/>
          </a:xfrm>
          <a:solidFill>
            <a:schemeClr val="bg1"/>
          </a:solidFill>
        </p:spPr>
        <p:txBody>
          <a:bodyPr/>
          <a:lstStyle>
            <a:lvl1pPr>
              <a:defRPr sz="100" b="0">
                <a:solidFill>
                  <a:schemeClr val="bg1">
                    <a:alpha val="0"/>
                  </a:schemeClr>
                </a:solidFill>
              </a:defRPr>
            </a:lvl1pPr>
          </a:lstStyle>
          <a:p>
            <a:pPr lvl="0"/>
            <a:r>
              <a:rPr lang="en-US" noProof="0"/>
              <a:t>Click to edit Master text styles</a:t>
            </a:r>
          </a:p>
        </p:txBody>
      </p:sp>
      <p:sp>
        <p:nvSpPr>
          <p:cNvPr id="18" name="Espace réservé pour une image  17"/>
          <p:cNvSpPr>
            <a:spLocks noGrp="1"/>
          </p:cNvSpPr>
          <p:nvPr>
            <p:ph type="pic" sz="quarter" idx="18"/>
          </p:nvPr>
        </p:nvSpPr>
        <p:spPr bwMode="gray">
          <a:xfrm>
            <a:off x="4192588" y="0"/>
            <a:ext cx="4951412" cy="5162400"/>
          </a:xfrm>
          <a:custGeom>
            <a:avLst/>
            <a:gdLst>
              <a:gd name="connsiteX0" fmla="*/ 0 w 3851275"/>
              <a:gd name="connsiteY0" fmla="*/ 0 h 5157788"/>
              <a:gd name="connsiteX1" fmla="*/ 3851275 w 3851275"/>
              <a:gd name="connsiteY1" fmla="*/ 0 h 5157788"/>
              <a:gd name="connsiteX2" fmla="*/ 3851275 w 3851275"/>
              <a:gd name="connsiteY2" fmla="*/ 5157788 h 5157788"/>
              <a:gd name="connsiteX3" fmla="*/ 0 w 3851275"/>
              <a:gd name="connsiteY3" fmla="*/ 5157788 h 5157788"/>
              <a:gd name="connsiteX4" fmla="*/ 0 w 3851275"/>
              <a:gd name="connsiteY4"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0 w 3851275"/>
              <a:gd name="connsiteY3" fmla="*/ 5157788 h 5157788"/>
              <a:gd name="connsiteX4" fmla="*/ 1692275 w 3851275"/>
              <a:gd name="connsiteY4" fmla="*/ 0 h 5157788"/>
              <a:gd name="connsiteX0" fmla="*/ 0 w 2159000"/>
              <a:gd name="connsiteY0" fmla="*/ 0 h 5157788"/>
              <a:gd name="connsiteX1" fmla="*/ 2159000 w 2159000"/>
              <a:gd name="connsiteY1" fmla="*/ 0 h 5157788"/>
              <a:gd name="connsiteX2" fmla="*/ 2159000 w 2159000"/>
              <a:gd name="connsiteY2" fmla="*/ 5157788 h 5157788"/>
              <a:gd name="connsiteX3" fmla="*/ 0 w 2159000"/>
              <a:gd name="connsiteY3" fmla="*/ 5157788 h 5157788"/>
              <a:gd name="connsiteX4" fmla="*/ 0 w 2159000"/>
              <a:gd name="connsiteY4" fmla="*/ 0 h 5157788"/>
              <a:gd name="connsiteX0" fmla="*/ 2625271 w 4784271"/>
              <a:gd name="connsiteY0" fmla="*/ 0 h 5157788"/>
              <a:gd name="connsiteX1" fmla="*/ 4784271 w 4784271"/>
              <a:gd name="connsiteY1" fmla="*/ 0 h 5157788"/>
              <a:gd name="connsiteX2" fmla="*/ 4784271 w 4784271"/>
              <a:gd name="connsiteY2" fmla="*/ 5157788 h 5157788"/>
              <a:gd name="connsiteX3" fmla="*/ 2625271 w 4784271"/>
              <a:gd name="connsiteY3" fmla="*/ 5157788 h 5157788"/>
              <a:gd name="connsiteX4" fmla="*/ 2625271 w 4784271"/>
              <a:gd name="connsiteY4" fmla="*/ 0 h 5157788"/>
              <a:gd name="connsiteX0" fmla="*/ 2625271 w 4784271"/>
              <a:gd name="connsiteY0" fmla="*/ 0 h 5157788"/>
              <a:gd name="connsiteX1" fmla="*/ 4784271 w 4784271"/>
              <a:gd name="connsiteY1" fmla="*/ 0 h 5157788"/>
              <a:gd name="connsiteX2" fmla="*/ 4784271 w 4784271"/>
              <a:gd name="connsiteY2" fmla="*/ 5157788 h 5157788"/>
              <a:gd name="connsiteX3" fmla="*/ 2625271 w 4784271"/>
              <a:gd name="connsiteY3" fmla="*/ 5157788 h 5157788"/>
              <a:gd name="connsiteX4" fmla="*/ 2625271 w 4784271"/>
              <a:gd name="connsiteY4" fmla="*/ 0 h 5157788"/>
              <a:gd name="connsiteX0" fmla="*/ 3568576 w 5727576"/>
              <a:gd name="connsiteY0" fmla="*/ 0 h 5157788"/>
              <a:gd name="connsiteX1" fmla="*/ 5727576 w 5727576"/>
              <a:gd name="connsiteY1" fmla="*/ 0 h 5157788"/>
              <a:gd name="connsiteX2" fmla="*/ 5727576 w 5727576"/>
              <a:gd name="connsiteY2" fmla="*/ 5157788 h 5157788"/>
              <a:gd name="connsiteX3" fmla="*/ 3568576 w 5727576"/>
              <a:gd name="connsiteY3" fmla="*/ 5157788 h 5157788"/>
              <a:gd name="connsiteX4" fmla="*/ 3568576 w 5727576"/>
              <a:gd name="connsiteY4" fmla="*/ 0 h 5157788"/>
              <a:gd name="connsiteX0" fmla="*/ 3306355 w 5465355"/>
              <a:gd name="connsiteY0" fmla="*/ 0 h 5157788"/>
              <a:gd name="connsiteX1" fmla="*/ 5465355 w 5465355"/>
              <a:gd name="connsiteY1" fmla="*/ 0 h 5157788"/>
              <a:gd name="connsiteX2" fmla="*/ 5465355 w 5465355"/>
              <a:gd name="connsiteY2" fmla="*/ 5157788 h 5157788"/>
              <a:gd name="connsiteX3" fmla="*/ 3306355 w 5465355"/>
              <a:gd name="connsiteY3" fmla="*/ 5157788 h 5157788"/>
              <a:gd name="connsiteX4" fmla="*/ 3306355 w 5465355"/>
              <a:gd name="connsiteY4" fmla="*/ 0 h 5157788"/>
              <a:gd name="connsiteX0" fmla="*/ 1416957 w 3575957"/>
              <a:gd name="connsiteY0" fmla="*/ 0 h 5157788"/>
              <a:gd name="connsiteX1" fmla="*/ 3575957 w 3575957"/>
              <a:gd name="connsiteY1" fmla="*/ 0 h 5157788"/>
              <a:gd name="connsiteX2" fmla="*/ 3575957 w 3575957"/>
              <a:gd name="connsiteY2" fmla="*/ 5157788 h 5157788"/>
              <a:gd name="connsiteX3" fmla="*/ 1416957 w 3575957"/>
              <a:gd name="connsiteY3" fmla="*/ 5157788 h 5157788"/>
              <a:gd name="connsiteX4" fmla="*/ 0 w 3575957"/>
              <a:gd name="connsiteY4" fmla="*/ 3339193 h 5157788"/>
              <a:gd name="connsiteX5" fmla="*/ 1416957 w 3575957"/>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6017419"/>
              <a:gd name="connsiteX1" fmla="*/ 3851275 w 3851275"/>
              <a:gd name="connsiteY1" fmla="*/ 0 h 6017419"/>
              <a:gd name="connsiteX2" fmla="*/ 3851275 w 3851275"/>
              <a:gd name="connsiteY2" fmla="*/ 5157788 h 6017419"/>
              <a:gd name="connsiteX3" fmla="*/ 1692275 w 3851275"/>
              <a:gd name="connsiteY3" fmla="*/ 5157788 h 6017419"/>
              <a:gd name="connsiteX4" fmla="*/ 0 w 3851275"/>
              <a:gd name="connsiteY4" fmla="*/ 3284984 h 6017419"/>
              <a:gd name="connsiteX5" fmla="*/ 1692275 w 3851275"/>
              <a:gd name="connsiteY5" fmla="*/ 0 h 6017419"/>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429000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429000 h 5157788"/>
              <a:gd name="connsiteX5" fmla="*/ 1710871 w 3869871"/>
              <a:gd name="connsiteY5" fmla="*/ 0 h 5157788"/>
              <a:gd name="connsiteX0" fmla="*/ 1704975 w 3863975"/>
              <a:gd name="connsiteY0" fmla="*/ 0 h 5157788"/>
              <a:gd name="connsiteX1" fmla="*/ 3863975 w 3863975"/>
              <a:gd name="connsiteY1" fmla="*/ 0 h 5157788"/>
              <a:gd name="connsiteX2" fmla="*/ 3863975 w 3863975"/>
              <a:gd name="connsiteY2" fmla="*/ 5157788 h 5157788"/>
              <a:gd name="connsiteX3" fmla="*/ 1704975 w 3863975"/>
              <a:gd name="connsiteY3" fmla="*/ 5157788 h 5157788"/>
              <a:gd name="connsiteX4" fmla="*/ 12700 w 3863975"/>
              <a:gd name="connsiteY4" fmla="*/ 3429000 h 5157788"/>
              <a:gd name="connsiteX5" fmla="*/ 1704975 w 3863975"/>
              <a:gd name="connsiteY5" fmla="*/ 0 h 5157788"/>
              <a:gd name="connsiteX0" fmla="*/ 1707243 w 3866243"/>
              <a:gd name="connsiteY0" fmla="*/ 0 h 5157788"/>
              <a:gd name="connsiteX1" fmla="*/ 3866243 w 3866243"/>
              <a:gd name="connsiteY1" fmla="*/ 0 h 5157788"/>
              <a:gd name="connsiteX2" fmla="*/ 3866243 w 3866243"/>
              <a:gd name="connsiteY2" fmla="*/ 5157788 h 5157788"/>
              <a:gd name="connsiteX3" fmla="*/ 1707243 w 3866243"/>
              <a:gd name="connsiteY3" fmla="*/ 5157788 h 5157788"/>
              <a:gd name="connsiteX4" fmla="*/ 14968 w 3866243"/>
              <a:gd name="connsiteY4" fmla="*/ 3429000 h 5157788"/>
              <a:gd name="connsiteX5" fmla="*/ 1707243 w 3866243"/>
              <a:gd name="connsiteY5" fmla="*/ 0 h 5157788"/>
              <a:gd name="connsiteX0" fmla="*/ 1130447 w 3866243"/>
              <a:gd name="connsiteY0" fmla="*/ 0 h 5157788"/>
              <a:gd name="connsiteX1" fmla="*/ 3866243 w 3866243"/>
              <a:gd name="connsiteY1" fmla="*/ 0 h 5157788"/>
              <a:gd name="connsiteX2" fmla="*/ 3866243 w 3866243"/>
              <a:gd name="connsiteY2" fmla="*/ 5157788 h 5157788"/>
              <a:gd name="connsiteX3" fmla="*/ 1707243 w 3866243"/>
              <a:gd name="connsiteY3" fmla="*/ 5157788 h 5157788"/>
              <a:gd name="connsiteX4" fmla="*/ 14968 w 3866243"/>
              <a:gd name="connsiteY4" fmla="*/ 3429000 h 5157788"/>
              <a:gd name="connsiteX5" fmla="*/ 1130447 w 3866243"/>
              <a:gd name="connsiteY5" fmla="*/ 0 h 5157788"/>
              <a:gd name="connsiteX0" fmla="*/ 2746143 w 5481939"/>
              <a:gd name="connsiteY0" fmla="*/ 0 h 5157788"/>
              <a:gd name="connsiteX1" fmla="*/ 5481939 w 5481939"/>
              <a:gd name="connsiteY1" fmla="*/ 0 h 5157788"/>
              <a:gd name="connsiteX2" fmla="*/ 5481939 w 5481939"/>
              <a:gd name="connsiteY2" fmla="*/ 5157788 h 5157788"/>
              <a:gd name="connsiteX3" fmla="*/ 585903 w 5481939"/>
              <a:gd name="connsiteY3" fmla="*/ 5153180 h 5157788"/>
              <a:gd name="connsiteX4" fmla="*/ 1630664 w 5481939"/>
              <a:gd name="connsiteY4" fmla="*/ 3429000 h 5157788"/>
              <a:gd name="connsiteX5" fmla="*/ 2746143 w 5481939"/>
              <a:gd name="connsiteY5" fmla="*/ 0 h 5157788"/>
              <a:gd name="connsiteX0" fmla="*/ 2746143 w 5481939"/>
              <a:gd name="connsiteY0" fmla="*/ 0 h 5157788"/>
              <a:gd name="connsiteX1" fmla="*/ 5481939 w 5481939"/>
              <a:gd name="connsiteY1" fmla="*/ 0 h 5157788"/>
              <a:gd name="connsiteX2" fmla="*/ 5481939 w 5481939"/>
              <a:gd name="connsiteY2" fmla="*/ 5157788 h 5157788"/>
              <a:gd name="connsiteX3" fmla="*/ 585903 w 5481939"/>
              <a:gd name="connsiteY3" fmla="*/ 5153180 h 5157788"/>
              <a:gd name="connsiteX4" fmla="*/ 1630664 w 5481939"/>
              <a:gd name="connsiteY4" fmla="*/ 3429000 h 5157788"/>
              <a:gd name="connsiteX5" fmla="*/ 2746143 w 548193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3574235 w 6310031"/>
              <a:gd name="connsiteY0" fmla="*/ 0 h 5157788"/>
              <a:gd name="connsiteX1" fmla="*/ 6310031 w 6310031"/>
              <a:gd name="connsiteY1" fmla="*/ 0 h 5157788"/>
              <a:gd name="connsiteX2" fmla="*/ 6310031 w 6310031"/>
              <a:gd name="connsiteY2" fmla="*/ 5157788 h 5157788"/>
              <a:gd name="connsiteX3" fmla="*/ 585903 w 6310031"/>
              <a:gd name="connsiteY3" fmla="*/ 5153180 h 5157788"/>
              <a:gd name="connsiteX4" fmla="*/ 1738031 w 6310031"/>
              <a:gd name="connsiteY4" fmla="*/ 3389965 h 5157788"/>
              <a:gd name="connsiteX5" fmla="*/ 3574235 w 6310031"/>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296143 w 5724128"/>
              <a:gd name="connsiteY4" fmla="*/ 3461908 h 5157788"/>
              <a:gd name="connsiteX5" fmla="*/ 2988332 w 5724128"/>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1188132 w 5760132"/>
              <a:gd name="connsiteY4" fmla="*/ 3425937 h 5157788"/>
              <a:gd name="connsiteX5" fmla="*/ 3024336 w 5760132"/>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2736304 w 5760132"/>
              <a:gd name="connsiteY4" fmla="*/ 3461908 h 5157788"/>
              <a:gd name="connsiteX5" fmla="*/ 3024336 w 5760132"/>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2736304 w 5760132"/>
              <a:gd name="connsiteY4" fmla="*/ 3461908 h 5157788"/>
              <a:gd name="connsiteX5" fmla="*/ 3024336 w 5760132"/>
              <a:gd name="connsiteY5" fmla="*/ 0 h 5157788"/>
              <a:gd name="connsiteX0" fmla="*/ 2160240 w 4896036"/>
              <a:gd name="connsiteY0" fmla="*/ 0 h 5157788"/>
              <a:gd name="connsiteX1" fmla="*/ 4896036 w 4896036"/>
              <a:gd name="connsiteY1" fmla="*/ 0 h 5157788"/>
              <a:gd name="connsiteX2" fmla="*/ 4896036 w 4896036"/>
              <a:gd name="connsiteY2" fmla="*/ 5157788 h 5157788"/>
              <a:gd name="connsiteX3" fmla="*/ 0 w 4896036"/>
              <a:gd name="connsiteY3" fmla="*/ 5153180 h 5157788"/>
              <a:gd name="connsiteX4" fmla="*/ 1872208 w 4896036"/>
              <a:gd name="connsiteY4" fmla="*/ 3461908 h 5157788"/>
              <a:gd name="connsiteX5" fmla="*/ 2160240 w 4896036"/>
              <a:gd name="connsiteY5" fmla="*/ 0 h 5157788"/>
              <a:gd name="connsiteX0" fmla="*/ 2232248 w 4968044"/>
              <a:gd name="connsiteY0" fmla="*/ 0 h 5157788"/>
              <a:gd name="connsiteX1" fmla="*/ 4968044 w 4968044"/>
              <a:gd name="connsiteY1" fmla="*/ 0 h 5157788"/>
              <a:gd name="connsiteX2" fmla="*/ 4968044 w 4968044"/>
              <a:gd name="connsiteY2" fmla="*/ 5157788 h 5157788"/>
              <a:gd name="connsiteX3" fmla="*/ 0 w 4968044"/>
              <a:gd name="connsiteY3" fmla="*/ 5153180 h 5157788"/>
              <a:gd name="connsiteX4" fmla="*/ 1944216 w 4968044"/>
              <a:gd name="connsiteY4" fmla="*/ 3461908 h 5157788"/>
              <a:gd name="connsiteX5" fmla="*/ 2232248 w 4968044"/>
              <a:gd name="connsiteY5" fmla="*/ 0 h 5157788"/>
              <a:gd name="connsiteX0" fmla="*/ 2207679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207679 w 4943475"/>
              <a:gd name="connsiteY5" fmla="*/ 0 h 5157788"/>
              <a:gd name="connsiteX0" fmla="*/ 2963763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963763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092200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71575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343583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675731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675731 w 4943475"/>
              <a:gd name="connsiteY5" fmla="*/ 0 h 5157788"/>
              <a:gd name="connsiteX0" fmla="*/ 2675731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675731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9672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19672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51412" h="5157788">
                <a:moveTo>
                  <a:pt x="2706687" y="0"/>
                </a:moveTo>
                <a:lnTo>
                  <a:pt x="4951412" y="0"/>
                </a:lnTo>
                <a:lnTo>
                  <a:pt x="4951412" y="5157788"/>
                </a:lnTo>
                <a:lnTo>
                  <a:pt x="0" y="5153180"/>
                </a:lnTo>
                <a:cubicBezTo>
                  <a:pt x="84411" y="4542509"/>
                  <a:pt x="183041" y="4024723"/>
                  <a:pt x="1243508" y="2562613"/>
                </a:cubicBezTo>
                <a:cubicBezTo>
                  <a:pt x="1867447" y="1704780"/>
                  <a:pt x="2665955" y="709265"/>
                  <a:pt x="2706687" y="0"/>
                </a:cubicBezTo>
                <a:close/>
              </a:path>
            </a:pathLst>
          </a:custGeom>
          <a:solidFill>
            <a:schemeClr val="bg2"/>
          </a:solidFill>
          <a:ln w="3175">
            <a:noFill/>
          </a:ln>
        </p:spPr>
        <p:txBody>
          <a:bodyPr tIns="720000" rtlCol="0" anchor="ctr">
            <a:noAutofit/>
          </a:bodyPr>
          <a:lstStyle>
            <a:lvl1pPr algn="ctr">
              <a:defRPr sz="1500">
                <a:solidFill>
                  <a:schemeClr val="bg1"/>
                </a:solidFill>
              </a:defRPr>
            </a:lvl1pPr>
          </a:lstStyle>
          <a:p>
            <a:pPr lvl="0"/>
            <a:r>
              <a:rPr lang="en-US" noProof="0"/>
              <a:t>Click icon to add picture</a:t>
            </a:r>
          </a:p>
        </p:txBody>
      </p:sp>
      <p:sp>
        <p:nvSpPr>
          <p:cNvPr id="14" name="Espace réservé de la date 9"/>
          <p:cNvSpPr>
            <a:spLocks noGrp="1"/>
          </p:cNvSpPr>
          <p:nvPr>
            <p:ph type="dt" sz="half" idx="21"/>
          </p:nvPr>
        </p:nvSpPr>
        <p:spPr/>
        <p:txBody>
          <a:bodyPr/>
          <a:lstStyle>
            <a:lvl1pPr>
              <a:defRPr/>
            </a:lvl1pPr>
          </a:lstStyle>
          <a:p>
            <a:pPr>
              <a:defRPr/>
            </a:pPr>
            <a:r>
              <a:rPr lang="en-US">
                <a:solidFill>
                  <a:prstClr val="white">
                    <a:alpha val="0"/>
                  </a:prstClr>
                </a:solidFill>
              </a:rPr>
              <a:t>Date</a:t>
            </a:r>
          </a:p>
        </p:txBody>
      </p:sp>
      <p:sp>
        <p:nvSpPr>
          <p:cNvPr id="16" name="Espace réservé du numéro de diapositive 10"/>
          <p:cNvSpPr>
            <a:spLocks noGrp="1"/>
          </p:cNvSpPr>
          <p:nvPr>
            <p:ph type="sldNum" sz="quarter" idx="22"/>
          </p:nvPr>
        </p:nvSpPr>
        <p:spPr/>
        <p:txBody>
          <a:bodyPr/>
          <a:lstStyle>
            <a:lvl1pPr>
              <a:defRPr sz="100">
                <a:solidFill>
                  <a:schemeClr val="bg1">
                    <a:alpha val="0"/>
                  </a:schemeClr>
                </a:solidFill>
              </a:defRPr>
            </a:lvl1pPr>
          </a:lstStyle>
          <a:p>
            <a:pPr>
              <a:defRPr/>
            </a:pPr>
            <a:r>
              <a:rPr lang="en-US">
                <a:solidFill>
                  <a:prstClr val="white">
                    <a:alpha val="0"/>
                  </a:prstClr>
                </a:solidFill>
              </a:rPr>
              <a:t>Page: </a:t>
            </a:r>
            <a:fld id="{A170035D-6B8C-439A-85EA-19B5ADE5A975}" type="slidenum">
              <a:rPr lang="en-US">
                <a:solidFill>
                  <a:prstClr val="white">
                    <a:alpha val="0"/>
                  </a:prstClr>
                </a:solidFill>
              </a:rPr>
              <a:pPr>
                <a:defRPr/>
              </a:pPr>
              <a:t>‹#›</a:t>
            </a:fld>
            <a:endParaRPr lang="en-US">
              <a:solidFill>
                <a:prstClr val="white">
                  <a:alpha val="0"/>
                </a:prstClr>
              </a:solidFill>
            </a:endParaRPr>
          </a:p>
        </p:txBody>
      </p:sp>
      <p:sp>
        <p:nvSpPr>
          <p:cNvPr id="19" name="Espace réservé du pied de page 11"/>
          <p:cNvSpPr>
            <a:spLocks noGrp="1"/>
          </p:cNvSpPr>
          <p:nvPr>
            <p:ph type="ftr" sz="quarter" idx="23"/>
          </p:nvPr>
        </p:nvSpPr>
        <p:spPr>
          <a:xfrm>
            <a:off x="468313" y="523875"/>
            <a:ext cx="4824412" cy="360363"/>
          </a:xfrm>
        </p:spPr>
        <p:txBody>
          <a:bodyPr/>
          <a:lstStyle>
            <a:lvl1pPr algn="l">
              <a:defRPr sz="1800" b="0">
                <a:solidFill>
                  <a:schemeClr val="bg1"/>
                </a:solidFill>
              </a:defRPr>
            </a:lvl1pPr>
          </a:lstStyle>
          <a:p>
            <a:pPr>
              <a:defRPr/>
            </a:pPr>
            <a:r>
              <a:rPr lang="en-US">
                <a:solidFill>
                  <a:prstClr val="white"/>
                </a:solidFill>
              </a:rPr>
              <a:t>#</a:t>
            </a:r>
            <a:r>
              <a:rPr lang="en-US" err="1">
                <a:solidFill>
                  <a:prstClr val="white"/>
                </a:solidFill>
              </a:rPr>
              <a:t>vaccineswork</a:t>
            </a:r>
            <a:endParaRPr lang="en-US">
              <a:solidFill>
                <a:prstClr val="white"/>
              </a:solidFill>
            </a:endParaRPr>
          </a:p>
        </p:txBody>
      </p:sp>
    </p:spTree>
    <p:extLst>
      <p:ext uri="{BB962C8B-B14F-4D97-AF65-F5344CB8AC3E}">
        <p14:creationId xmlns:p14="http://schemas.microsoft.com/office/powerpoint/2010/main" val="412137691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hapter_Layout">
    <p:spTree>
      <p:nvGrpSpPr>
        <p:cNvPr id="1" name=""/>
        <p:cNvGrpSpPr/>
        <p:nvPr/>
      </p:nvGrpSpPr>
      <p:grpSpPr>
        <a:xfrm>
          <a:off x="0" y="0"/>
          <a:ext cx="0" cy="0"/>
          <a:chOff x="0" y="0"/>
          <a:chExt cx="0" cy="0"/>
        </a:xfrm>
      </p:grpSpPr>
      <p:pic>
        <p:nvPicPr>
          <p:cNvPr id="6" name="Image 17" descr="FD_03_chap_110x190,5.pn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gray">
          <a:xfrm>
            <a:off x="0" y="0"/>
            <a:ext cx="3959225" cy="68580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cxnSp>
        <p:nvCxnSpPr>
          <p:cNvPr id="7" name="Connecteur droit 14"/>
          <p:cNvCxnSpPr/>
          <p:nvPr userDrawn="1"/>
        </p:nvCxnSpPr>
        <p:spPr bwMode="gray">
          <a:xfrm flipH="1">
            <a:off x="3635375" y="2389188"/>
            <a:ext cx="1584325" cy="0"/>
          </a:xfrm>
          <a:prstGeom prst="line">
            <a:avLst/>
          </a:prstGeom>
          <a:ln w="24130">
            <a:solidFill>
              <a:schemeClr val="accent1"/>
            </a:solidFill>
          </a:ln>
        </p:spPr>
        <p:style>
          <a:lnRef idx="1">
            <a:schemeClr val="accent1"/>
          </a:lnRef>
          <a:fillRef idx="0">
            <a:schemeClr val="accent1"/>
          </a:fillRef>
          <a:effectRef idx="0">
            <a:schemeClr val="accent1"/>
          </a:effectRef>
          <a:fontRef idx="minor">
            <a:schemeClr val="tx1"/>
          </a:fontRef>
        </p:style>
      </p:cxnSp>
      <p:sp>
        <p:nvSpPr>
          <p:cNvPr id="2" name="Titre 1"/>
          <p:cNvSpPr>
            <a:spLocks noGrp="1"/>
          </p:cNvSpPr>
          <p:nvPr>
            <p:ph type="title"/>
          </p:nvPr>
        </p:nvSpPr>
        <p:spPr bwMode="gray">
          <a:xfrm>
            <a:off x="3635374" y="1036638"/>
            <a:ext cx="3263901" cy="1268759"/>
          </a:xfrm>
        </p:spPr>
        <p:txBody>
          <a:bodyPr/>
          <a:lstStyle/>
          <a:p>
            <a:r>
              <a:rPr lang="en-US" noProof="0"/>
              <a:t>Click to edit Master title style</a:t>
            </a:r>
          </a:p>
        </p:txBody>
      </p:sp>
      <p:sp>
        <p:nvSpPr>
          <p:cNvPr id="10" name="Espace réservé du texte 9"/>
          <p:cNvSpPr>
            <a:spLocks noGrp="1"/>
          </p:cNvSpPr>
          <p:nvPr>
            <p:ph type="body" sz="quarter" idx="13"/>
          </p:nvPr>
        </p:nvSpPr>
        <p:spPr bwMode="gray">
          <a:xfrm>
            <a:off x="3635376" y="2574000"/>
            <a:ext cx="3263900" cy="3447388"/>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Espace réservé du texte 9"/>
          <p:cNvSpPr>
            <a:spLocks noGrp="1"/>
          </p:cNvSpPr>
          <p:nvPr>
            <p:ph type="body" sz="quarter" idx="14"/>
          </p:nvPr>
        </p:nvSpPr>
        <p:spPr bwMode="gray">
          <a:xfrm>
            <a:off x="0" y="139974"/>
            <a:ext cx="2628000" cy="5017814"/>
          </a:xfrm>
        </p:spPr>
        <p:txBody>
          <a:bodyPr/>
          <a:lstStyle>
            <a:lvl1pPr algn="r">
              <a:defRPr sz="16600" b="1">
                <a:solidFill>
                  <a:schemeClr val="bg1"/>
                </a:solidFill>
              </a:defRPr>
            </a:lvl1pPr>
          </a:lstStyle>
          <a:p>
            <a:pPr lvl="0"/>
            <a:r>
              <a:rPr lang="en-US" noProof="0"/>
              <a:t>Click to edit Master text styles</a:t>
            </a:r>
          </a:p>
        </p:txBody>
      </p:sp>
      <p:sp>
        <p:nvSpPr>
          <p:cNvPr id="19" name="Espace réservé pour une image  17"/>
          <p:cNvSpPr>
            <a:spLocks noGrp="1"/>
          </p:cNvSpPr>
          <p:nvPr>
            <p:ph type="pic" sz="quarter" idx="18"/>
          </p:nvPr>
        </p:nvSpPr>
        <p:spPr bwMode="gray">
          <a:xfrm>
            <a:off x="7254332" y="132082"/>
            <a:ext cx="1899827" cy="5812641"/>
          </a:xfrm>
          <a:custGeom>
            <a:avLst/>
            <a:gdLst>
              <a:gd name="connsiteX0" fmla="*/ 0 w 3851275"/>
              <a:gd name="connsiteY0" fmla="*/ 0 h 5157788"/>
              <a:gd name="connsiteX1" fmla="*/ 3851275 w 3851275"/>
              <a:gd name="connsiteY1" fmla="*/ 0 h 5157788"/>
              <a:gd name="connsiteX2" fmla="*/ 3851275 w 3851275"/>
              <a:gd name="connsiteY2" fmla="*/ 5157788 h 5157788"/>
              <a:gd name="connsiteX3" fmla="*/ 0 w 3851275"/>
              <a:gd name="connsiteY3" fmla="*/ 5157788 h 5157788"/>
              <a:gd name="connsiteX4" fmla="*/ 0 w 3851275"/>
              <a:gd name="connsiteY4"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0 w 3851275"/>
              <a:gd name="connsiteY3" fmla="*/ 5157788 h 5157788"/>
              <a:gd name="connsiteX4" fmla="*/ 1692275 w 3851275"/>
              <a:gd name="connsiteY4" fmla="*/ 0 h 5157788"/>
              <a:gd name="connsiteX0" fmla="*/ 0 w 2159000"/>
              <a:gd name="connsiteY0" fmla="*/ 0 h 5157788"/>
              <a:gd name="connsiteX1" fmla="*/ 2159000 w 2159000"/>
              <a:gd name="connsiteY1" fmla="*/ 0 h 5157788"/>
              <a:gd name="connsiteX2" fmla="*/ 2159000 w 2159000"/>
              <a:gd name="connsiteY2" fmla="*/ 5157788 h 5157788"/>
              <a:gd name="connsiteX3" fmla="*/ 0 w 2159000"/>
              <a:gd name="connsiteY3" fmla="*/ 5157788 h 5157788"/>
              <a:gd name="connsiteX4" fmla="*/ 0 w 2159000"/>
              <a:gd name="connsiteY4" fmla="*/ 0 h 5157788"/>
              <a:gd name="connsiteX0" fmla="*/ 2625271 w 4784271"/>
              <a:gd name="connsiteY0" fmla="*/ 0 h 5157788"/>
              <a:gd name="connsiteX1" fmla="*/ 4784271 w 4784271"/>
              <a:gd name="connsiteY1" fmla="*/ 0 h 5157788"/>
              <a:gd name="connsiteX2" fmla="*/ 4784271 w 4784271"/>
              <a:gd name="connsiteY2" fmla="*/ 5157788 h 5157788"/>
              <a:gd name="connsiteX3" fmla="*/ 2625271 w 4784271"/>
              <a:gd name="connsiteY3" fmla="*/ 5157788 h 5157788"/>
              <a:gd name="connsiteX4" fmla="*/ 2625271 w 4784271"/>
              <a:gd name="connsiteY4" fmla="*/ 0 h 5157788"/>
              <a:gd name="connsiteX0" fmla="*/ 2625271 w 4784271"/>
              <a:gd name="connsiteY0" fmla="*/ 0 h 5157788"/>
              <a:gd name="connsiteX1" fmla="*/ 4784271 w 4784271"/>
              <a:gd name="connsiteY1" fmla="*/ 0 h 5157788"/>
              <a:gd name="connsiteX2" fmla="*/ 4784271 w 4784271"/>
              <a:gd name="connsiteY2" fmla="*/ 5157788 h 5157788"/>
              <a:gd name="connsiteX3" fmla="*/ 2625271 w 4784271"/>
              <a:gd name="connsiteY3" fmla="*/ 5157788 h 5157788"/>
              <a:gd name="connsiteX4" fmla="*/ 2625271 w 4784271"/>
              <a:gd name="connsiteY4" fmla="*/ 0 h 5157788"/>
              <a:gd name="connsiteX0" fmla="*/ 3568576 w 5727576"/>
              <a:gd name="connsiteY0" fmla="*/ 0 h 5157788"/>
              <a:gd name="connsiteX1" fmla="*/ 5727576 w 5727576"/>
              <a:gd name="connsiteY1" fmla="*/ 0 h 5157788"/>
              <a:gd name="connsiteX2" fmla="*/ 5727576 w 5727576"/>
              <a:gd name="connsiteY2" fmla="*/ 5157788 h 5157788"/>
              <a:gd name="connsiteX3" fmla="*/ 3568576 w 5727576"/>
              <a:gd name="connsiteY3" fmla="*/ 5157788 h 5157788"/>
              <a:gd name="connsiteX4" fmla="*/ 3568576 w 5727576"/>
              <a:gd name="connsiteY4" fmla="*/ 0 h 5157788"/>
              <a:gd name="connsiteX0" fmla="*/ 3306355 w 5465355"/>
              <a:gd name="connsiteY0" fmla="*/ 0 h 5157788"/>
              <a:gd name="connsiteX1" fmla="*/ 5465355 w 5465355"/>
              <a:gd name="connsiteY1" fmla="*/ 0 h 5157788"/>
              <a:gd name="connsiteX2" fmla="*/ 5465355 w 5465355"/>
              <a:gd name="connsiteY2" fmla="*/ 5157788 h 5157788"/>
              <a:gd name="connsiteX3" fmla="*/ 3306355 w 5465355"/>
              <a:gd name="connsiteY3" fmla="*/ 5157788 h 5157788"/>
              <a:gd name="connsiteX4" fmla="*/ 3306355 w 5465355"/>
              <a:gd name="connsiteY4" fmla="*/ 0 h 5157788"/>
              <a:gd name="connsiteX0" fmla="*/ 1416957 w 3575957"/>
              <a:gd name="connsiteY0" fmla="*/ 0 h 5157788"/>
              <a:gd name="connsiteX1" fmla="*/ 3575957 w 3575957"/>
              <a:gd name="connsiteY1" fmla="*/ 0 h 5157788"/>
              <a:gd name="connsiteX2" fmla="*/ 3575957 w 3575957"/>
              <a:gd name="connsiteY2" fmla="*/ 5157788 h 5157788"/>
              <a:gd name="connsiteX3" fmla="*/ 1416957 w 3575957"/>
              <a:gd name="connsiteY3" fmla="*/ 5157788 h 5157788"/>
              <a:gd name="connsiteX4" fmla="*/ 0 w 3575957"/>
              <a:gd name="connsiteY4" fmla="*/ 3339193 h 5157788"/>
              <a:gd name="connsiteX5" fmla="*/ 1416957 w 3575957"/>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6017419"/>
              <a:gd name="connsiteX1" fmla="*/ 3851275 w 3851275"/>
              <a:gd name="connsiteY1" fmla="*/ 0 h 6017419"/>
              <a:gd name="connsiteX2" fmla="*/ 3851275 w 3851275"/>
              <a:gd name="connsiteY2" fmla="*/ 5157788 h 6017419"/>
              <a:gd name="connsiteX3" fmla="*/ 1692275 w 3851275"/>
              <a:gd name="connsiteY3" fmla="*/ 5157788 h 6017419"/>
              <a:gd name="connsiteX4" fmla="*/ 0 w 3851275"/>
              <a:gd name="connsiteY4" fmla="*/ 3284984 h 6017419"/>
              <a:gd name="connsiteX5" fmla="*/ 1692275 w 3851275"/>
              <a:gd name="connsiteY5" fmla="*/ 0 h 6017419"/>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429000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429000 h 5157788"/>
              <a:gd name="connsiteX5" fmla="*/ 1710871 w 3869871"/>
              <a:gd name="connsiteY5" fmla="*/ 0 h 5157788"/>
              <a:gd name="connsiteX0" fmla="*/ 1704975 w 3863975"/>
              <a:gd name="connsiteY0" fmla="*/ 0 h 5157788"/>
              <a:gd name="connsiteX1" fmla="*/ 3863975 w 3863975"/>
              <a:gd name="connsiteY1" fmla="*/ 0 h 5157788"/>
              <a:gd name="connsiteX2" fmla="*/ 3863975 w 3863975"/>
              <a:gd name="connsiteY2" fmla="*/ 5157788 h 5157788"/>
              <a:gd name="connsiteX3" fmla="*/ 1704975 w 3863975"/>
              <a:gd name="connsiteY3" fmla="*/ 5157788 h 5157788"/>
              <a:gd name="connsiteX4" fmla="*/ 12700 w 3863975"/>
              <a:gd name="connsiteY4" fmla="*/ 3429000 h 5157788"/>
              <a:gd name="connsiteX5" fmla="*/ 1704975 w 3863975"/>
              <a:gd name="connsiteY5" fmla="*/ 0 h 5157788"/>
              <a:gd name="connsiteX0" fmla="*/ 1707243 w 3866243"/>
              <a:gd name="connsiteY0" fmla="*/ 0 h 5157788"/>
              <a:gd name="connsiteX1" fmla="*/ 3866243 w 3866243"/>
              <a:gd name="connsiteY1" fmla="*/ 0 h 5157788"/>
              <a:gd name="connsiteX2" fmla="*/ 3866243 w 3866243"/>
              <a:gd name="connsiteY2" fmla="*/ 5157788 h 5157788"/>
              <a:gd name="connsiteX3" fmla="*/ 1707243 w 3866243"/>
              <a:gd name="connsiteY3" fmla="*/ 5157788 h 5157788"/>
              <a:gd name="connsiteX4" fmla="*/ 14968 w 3866243"/>
              <a:gd name="connsiteY4" fmla="*/ 3429000 h 5157788"/>
              <a:gd name="connsiteX5" fmla="*/ 1707243 w 3866243"/>
              <a:gd name="connsiteY5" fmla="*/ 0 h 5157788"/>
              <a:gd name="connsiteX0" fmla="*/ 1130447 w 3866243"/>
              <a:gd name="connsiteY0" fmla="*/ 0 h 5157788"/>
              <a:gd name="connsiteX1" fmla="*/ 3866243 w 3866243"/>
              <a:gd name="connsiteY1" fmla="*/ 0 h 5157788"/>
              <a:gd name="connsiteX2" fmla="*/ 3866243 w 3866243"/>
              <a:gd name="connsiteY2" fmla="*/ 5157788 h 5157788"/>
              <a:gd name="connsiteX3" fmla="*/ 1707243 w 3866243"/>
              <a:gd name="connsiteY3" fmla="*/ 5157788 h 5157788"/>
              <a:gd name="connsiteX4" fmla="*/ 14968 w 3866243"/>
              <a:gd name="connsiteY4" fmla="*/ 3429000 h 5157788"/>
              <a:gd name="connsiteX5" fmla="*/ 1130447 w 3866243"/>
              <a:gd name="connsiteY5" fmla="*/ 0 h 5157788"/>
              <a:gd name="connsiteX0" fmla="*/ 2746143 w 5481939"/>
              <a:gd name="connsiteY0" fmla="*/ 0 h 5157788"/>
              <a:gd name="connsiteX1" fmla="*/ 5481939 w 5481939"/>
              <a:gd name="connsiteY1" fmla="*/ 0 h 5157788"/>
              <a:gd name="connsiteX2" fmla="*/ 5481939 w 5481939"/>
              <a:gd name="connsiteY2" fmla="*/ 5157788 h 5157788"/>
              <a:gd name="connsiteX3" fmla="*/ 585903 w 5481939"/>
              <a:gd name="connsiteY3" fmla="*/ 5153180 h 5157788"/>
              <a:gd name="connsiteX4" fmla="*/ 1630664 w 5481939"/>
              <a:gd name="connsiteY4" fmla="*/ 3429000 h 5157788"/>
              <a:gd name="connsiteX5" fmla="*/ 2746143 w 5481939"/>
              <a:gd name="connsiteY5" fmla="*/ 0 h 5157788"/>
              <a:gd name="connsiteX0" fmla="*/ 2746143 w 5481939"/>
              <a:gd name="connsiteY0" fmla="*/ 0 h 5157788"/>
              <a:gd name="connsiteX1" fmla="*/ 5481939 w 5481939"/>
              <a:gd name="connsiteY1" fmla="*/ 0 h 5157788"/>
              <a:gd name="connsiteX2" fmla="*/ 5481939 w 5481939"/>
              <a:gd name="connsiteY2" fmla="*/ 5157788 h 5157788"/>
              <a:gd name="connsiteX3" fmla="*/ 585903 w 5481939"/>
              <a:gd name="connsiteY3" fmla="*/ 5153180 h 5157788"/>
              <a:gd name="connsiteX4" fmla="*/ 1630664 w 5481939"/>
              <a:gd name="connsiteY4" fmla="*/ 3429000 h 5157788"/>
              <a:gd name="connsiteX5" fmla="*/ 2746143 w 548193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3574235 w 6310031"/>
              <a:gd name="connsiteY0" fmla="*/ 0 h 5157788"/>
              <a:gd name="connsiteX1" fmla="*/ 6310031 w 6310031"/>
              <a:gd name="connsiteY1" fmla="*/ 0 h 5157788"/>
              <a:gd name="connsiteX2" fmla="*/ 6310031 w 6310031"/>
              <a:gd name="connsiteY2" fmla="*/ 5157788 h 5157788"/>
              <a:gd name="connsiteX3" fmla="*/ 585903 w 6310031"/>
              <a:gd name="connsiteY3" fmla="*/ 5153180 h 5157788"/>
              <a:gd name="connsiteX4" fmla="*/ 1738031 w 6310031"/>
              <a:gd name="connsiteY4" fmla="*/ 3389965 h 5157788"/>
              <a:gd name="connsiteX5" fmla="*/ 3574235 w 6310031"/>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296143 w 5724128"/>
              <a:gd name="connsiteY4" fmla="*/ 3461908 h 5157788"/>
              <a:gd name="connsiteX5" fmla="*/ 2988332 w 5724128"/>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1188132 w 5760132"/>
              <a:gd name="connsiteY4" fmla="*/ 3425937 h 5157788"/>
              <a:gd name="connsiteX5" fmla="*/ 3024336 w 5760132"/>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2736304 w 5760132"/>
              <a:gd name="connsiteY4" fmla="*/ 3461908 h 5157788"/>
              <a:gd name="connsiteX5" fmla="*/ 3024336 w 5760132"/>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2736304 w 5760132"/>
              <a:gd name="connsiteY4" fmla="*/ 3461908 h 5157788"/>
              <a:gd name="connsiteX5" fmla="*/ 3024336 w 5760132"/>
              <a:gd name="connsiteY5" fmla="*/ 0 h 5157788"/>
              <a:gd name="connsiteX0" fmla="*/ 2160240 w 4896036"/>
              <a:gd name="connsiteY0" fmla="*/ 0 h 5157788"/>
              <a:gd name="connsiteX1" fmla="*/ 4896036 w 4896036"/>
              <a:gd name="connsiteY1" fmla="*/ 0 h 5157788"/>
              <a:gd name="connsiteX2" fmla="*/ 4896036 w 4896036"/>
              <a:gd name="connsiteY2" fmla="*/ 5157788 h 5157788"/>
              <a:gd name="connsiteX3" fmla="*/ 0 w 4896036"/>
              <a:gd name="connsiteY3" fmla="*/ 5153180 h 5157788"/>
              <a:gd name="connsiteX4" fmla="*/ 1872208 w 4896036"/>
              <a:gd name="connsiteY4" fmla="*/ 3461908 h 5157788"/>
              <a:gd name="connsiteX5" fmla="*/ 2160240 w 4896036"/>
              <a:gd name="connsiteY5" fmla="*/ 0 h 5157788"/>
              <a:gd name="connsiteX0" fmla="*/ 2232248 w 4968044"/>
              <a:gd name="connsiteY0" fmla="*/ 0 h 5157788"/>
              <a:gd name="connsiteX1" fmla="*/ 4968044 w 4968044"/>
              <a:gd name="connsiteY1" fmla="*/ 0 h 5157788"/>
              <a:gd name="connsiteX2" fmla="*/ 4968044 w 4968044"/>
              <a:gd name="connsiteY2" fmla="*/ 5157788 h 5157788"/>
              <a:gd name="connsiteX3" fmla="*/ 0 w 4968044"/>
              <a:gd name="connsiteY3" fmla="*/ 5153180 h 5157788"/>
              <a:gd name="connsiteX4" fmla="*/ 1944216 w 4968044"/>
              <a:gd name="connsiteY4" fmla="*/ 3461908 h 5157788"/>
              <a:gd name="connsiteX5" fmla="*/ 2232248 w 4968044"/>
              <a:gd name="connsiteY5" fmla="*/ 0 h 5157788"/>
              <a:gd name="connsiteX0" fmla="*/ 2207679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207679 w 4943475"/>
              <a:gd name="connsiteY5" fmla="*/ 0 h 5157788"/>
              <a:gd name="connsiteX0" fmla="*/ 2963763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963763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092200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71575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343583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675731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675731 w 4943475"/>
              <a:gd name="connsiteY5" fmla="*/ 0 h 5157788"/>
              <a:gd name="connsiteX0" fmla="*/ 2675731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675731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9672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19672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1668519 w 3913244"/>
              <a:gd name="connsiteY0" fmla="*/ 0 h 5183692"/>
              <a:gd name="connsiteX1" fmla="*/ 3913244 w 3913244"/>
              <a:gd name="connsiteY1" fmla="*/ 0 h 5183692"/>
              <a:gd name="connsiteX2" fmla="*/ 3913244 w 3913244"/>
              <a:gd name="connsiteY2" fmla="*/ 5157788 h 5183692"/>
              <a:gd name="connsiteX3" fmla="*/ 2456872 w 3913244"/>
              <a:gd name="connsiteY3" fmla="*/ 5183633 h 5183692"/>
              <a:gd name="connsiteX4" fmla="*/ 205340 w 3913244"/>
              <a:gd name="connsiteY4" fmla="*/ 2562613 h 5183692"/>
              <a:gd name="connsiteX5" fmla="*/ 1668519 w 3913244"/>
              <a:gd name="connsiteY5" fmla="*/ 0 h 5183692"/>
              <a:gd name="connsiteX0" fmla="*/ 1668519 w 3923404"/>
              <a:gd name="connsiteY0" fmla="*/ 0 h 5939409"/>
              <a:gd name="connsiteX1" fmla="*/ 3913244 w 3923404"/>
              <a:gd name="connsiteY1" fmla="*/ 0 h 5939409"/>
              <a:gd name="connsiteX2" fmla="*/ 3923404 w 3923404"/>
              <a:gd name="connsiteY2" fmla="*/ 5939409 h 5939409"/>
              <a:gd name="connsiteX3" fmla="*/ 2456872 w 3923404"/>
              <a:gd name="connsiteY3" fmla="*/ 5183633 h 5939409"/>
              <a:gd name="connsiteX4" fmla="*/ 205340 w 3923404"/>
              <a:gd name="connsiteY4" fmla="*/ 2562613 h 5939409"/>
              <a:gd name="connsiteX5" fmla="*/ 1668519 w 3923404"/>
              <a:gd name="connsiteY5" fmla="*/ 0 h 5939409"/>
              <a:gd name="connsiteX0" fmla="*/ 1668519 w 3923404"/>
              <a:gd name="connsiteY0" fmla="*/ 0 h 5939409"/>
              <a:gd name="connsiteX1" fmla="*/ 3913244 w 3923404"/>
              <a:gd name="connsiteY1" fmla="*/ 0 h 5939409"/>
              <a:gd name="connsiteX2" fmla="*/ 3923404 w 3923404"/>
              <a:gd name="connsiteY2" fmla="*/ 5939409 h 5939409"/>
              <a:gd name="connsiteX3" fmla="*/ 2456872 w 3923404"/>
              <a:gd name="connsiteY3" fmla="*/ 5183633 h 5939409"/>
              <a:gd name="connsiteX4" fmla="*/ 205340 w 3923404"/>
              <a:gd name="connsiteY4" fmla="*/ 2562613 h 5939409"/>
              <a:gd name="connsiteX5" fmla="*/ 1668519 w 3923404"/>
              <a:gd name="connsiteY5" fmla="*/ 0 h 5939409"/>
              <a:gd name="connsiteX0" fmla="*/ 1696047 w 3950932"/>
              <a:gd name="connsiteY0" fmla="*/ 0 h 5939409"/>
              <a:gd name="connsiteX1" fmla="*/ 3940772 w 3950932"/>
              <a:gd name="connsiteY1" fmla="*/ 0 h 5939409"/>
              <a:gd name="connsiteX2" fmla="*/ 3950932 w 3950932"/>
              <a:gd name="connsiteY2" fmla="*/ 5939409 h 5939409"/>
              <a:gd name="connsiteX3" fmla="*/ 2484400 w 3950932"/>
              <a:gd name="connsiteY3" fmla="*/ 5183633 h 5939409"/>
              <a:gd name="connsiteX4" fmla="*/ 232868 w 3950932"/>
              <a:gd name="connsiteY4" fmla="*/ 2562613 h 5939409"/>
              <a:gd name="connsiteX5" fmla="*/ 1696047 w 3950932"/>
              <a:gd name="connsiteY5" fmla="*/ 0 h 5939409"/>
              <a:gd name="connsiteX0" fmla="*/ 1463179 w 3718064"/>
              <a:gd name="connsiteY0" fmla="*/ 0 h 5983194"/>
              <a:gd name="connsiteX1" fmla="*/ 3707904 w 3718064"/>
              <a:gd name="connsiteY1" fmla="*/ 0 h 5983194"/>
              <a:gd name="connsiteX2" fmla="*/ 3718064 w 3718064"/>
              <a:gd name="connsiteY2" fmla="*/ 5939409 h 5983194"/>
              <a:gd name="connsiteX3" fmla="*/ 0 w 3718064"/>
              <a:gd name="connsiteY3" fmla="*/ 2562613 h 5983194"/>
              <a:gd name="connsiteX4" fmla="*/ 1463179 w 3718064"/>
              <a:gd name="connsiteY4" fmla="*/ 0 h 5983194"/>
              <a:gd name="connsiteX0" fmla="*/ 1464005 w 3718890"/>
              <a:gd name="connsiteY0" fmla="*/ 0 h 5987401"/>
              <a:gd name="connsiteX1" fmla="*/ 3708730 w 3718890"/>
              <a:gd name="connsiteY1" fmla="*/ 0 h 5987401"/>
              <a:gd name="connsiteX2" fmla="*/ 3718890 w 3718890"/>
              <a:gd name="connsiteY2" fmla="*/ 5939409 h 5987401"/>
              <a:gd name="connsiteX3" fmla="*/ 826 w 3718890"/>
              <a:gd name="connsiteY3" fmla="*/ 2562613 h 5987401"/>
              <a:gd name="connsiteX4" fmla="*/ 1464005 w 3718890"/>
              <a:gd name="connsiteY4" fmla="*/ 0 h 5987401"/>
              <a:gd name="connsiteX0" fmla="*/ 1267 w 2256152"/>
              <a:gd name="connsiteY0" fmla="*/ 0 h 6002954"/>
              <a:gd name="connsiteX1" fmla="*/ 2245992 w 2256152"/>
              <a:gd name="connsiteY1" fmla="*/ 0 h 6002954"/>
              <a:gd name="connsiteX2" fmla="*/ 2256152 w 2256152"/>
              <a:gd name="connsiteY2" fmla="*/ 5939409 h 6002954"/>
              <a:gd name="connsiteX3" fmla="*/ 956168 w 2256152"/>
              <a:gd name="connsiteY3" fmla="*/ 3273178 h 6002954"/>
              <a:gd name="connsiteX4" fmla="*/ 1267 w 2256152"/>
              <a:gd name="connsiteY4" fmla="*/ 0 h 6002954"/>
              <a:gd name="connsiteX0" fmla="*/ 2 w 1299986"/>
              <a:gd name="connsiteY0" fmla="*/ 3321709 h 6044422"/>
              <a:gd name="connsiteX1" fmla="*/ 1289826 w 1299986"/>
              <a:gd name="connsiteY1" fmla="*/ 48531 h 6044422"/>
              <a:gd name="connsiteX2" fmla="*/ 1299986 w 1299986"/>
              <a:gd name="connsiteY2" fmla="*/ 5987940 h 6044422"/>
              <a:gd name="connsiteX3" fmla="*/ 2 w 1299986"/>
              <a:gd name="connsiteY3" fmla="*/ 3321709 h 6044422"/>
              <a:gd name="connsiteX0" fmla="*/ 2 w 1299986"/>
              <a:gd name="connsiteY0" fmla="*/ 3273178 h 5995891"/>
              <a:gd name="connsiteX1" fmla="*/ 1289826 w 1299986"/>
              <a:gd name="connsiteY1" fmla="*/ 0 h 5995891"/>
              <a:gd name="connsiteX2" fmla="*/ 1299986 w 1299986"/>
              <a:gd name="connsiteY2" fmla="*/ 5939409 h 5995891"/>
              <a:gd name="connsiteX3" fmla="*/ 2 w 1299986"/>
              <a:gd name="connsiteY3" fmla="*/ 3273178 h 5995891"/>
              <a:gd name="connsiteX0" fmla="*/ 2 w 1299986"/>
              <a:gd name="connsiteY0" fmla="*/ 3273178 h 5995891"/>
              <a:gd name="connsiteX1" fmla="*/ 1289826 w 1299986"/>
              <a:gd name="connsiteY1" fmla="*/ 0 h 5995891"/>
              <a:gd name="connsiteX2" fmla="*/ 1299986 w 1299986"/>
              <a:gd name="connsiteY2" fmla="*/ 5939409 h 5995891"/>
              <a:gd name="connsiteX3" fmla="*/ 2 w 1299986"/>
              <a:gd name="connsiteY3" fmla="*/ 3273178 h 5995891"/>
              <a:gd name="connsiteX0" fmla="*/ 2 w 1299986"/>
              <a:gd name="connsiteY0" fmla="*/ 3273178 h 5995891"/>
              <a:gd name="connsiteX1" fmla="*/ 1289826 w 1299986"/>
              <a:gd name="connsiteY1" fmla="*/ 0 h 5995891"/>
              <a:gd name="connsiteX2" fmla="*/ 1299986 w 1299986"/>
              <a:gd name="connsiteY2" fmla="*/ 5939409 h 5995891"/>
              <a:gd name="connsiteX3" fmla="*/ 2 w 1299986"/>
              <a:gd name="connsiteY3" fmla="*/ 3273178 h 5995891"/>
              <a:gd name="connsiteX0" fmla="*/ 2 w 1299986"/>
              <a:gd name="connsiteY0" fmla="*/ 2725028 h 5445777"/>
              <a:gd name="connsiteX1" fmla="*/ 1289826 w 1299986"/>
              <a:gd name="connsiteY1" fmla="*/ 0 h 5445777"/>
              <a:gd name="connsiteX2" fmla="*/ 1299986 w 1299986"/>
              <a:gd name="connsiteY2" fmla="*/ 5391259 h 5445777"/>
              <a:gd name="connsiteX3" fmla="*/ 2 w 1299986"/>
              <a:gd name="connsiteY3" fmla="*/ 2725028 h 5445777"/>
              <a:gd name="connsiteX0" fmla="*/ 2 w 1299986"/>
              <a:gd name="connsiteY0" fmla="*/ 3141216 h 5863443"/>
              <a:gd name="connsiteX1" fmla="*/ 1289826 w 1299986"/>
              <a:gd name="connsiteY1" fmla="*/ 0 h 5863443"/>
              <a:gd name="connsiteX2" fmla="*/ 1299986 w 1299986"/>
              <a:gd name="connsiteY2" fmla="*/ 5807447 h 5863443"/>
              <a:gd name="connsiteX3" fmla="*/ 2 w 1299986"/>
              <a:gd name="connsiteY3" fmla="*/ 3141216 h 5863443"/>
              <a:gd name="connsiteX0" fmla="*/ 2 w 1299986"/>
              <a:gd name="connsiteY0" fmla="*/ 3141216 h 5863444"/>
              <a:gd name="connsiteX1" fmla="*/ 1289826 w 1299986"/>
              <a:gd name="connsiteY1" fmla="*/ 0 h 5863444"/>
              <a:gd name="connsiteX2" fmla="*/ 1299986 w 1299986"/>
              <a:gd name="connsiteY2" fmla="*/ 5807447 h 5863444"/>
              <a:gd name="connsiteX3" fmla="*/ 2 w 1299986"/>
              <a:gd name="connsiteY3" fmla="*/ 3141216 h 5863444"/>
              <a:gd name="connsiteX0" fmla="*/ 1 w 1889265"/>
              <a:gd name="connsiteY0" fmla="*/ 3851780 h 5885741"/>
              <a:gd name="connsiteX1" fmla="*/ 1879105 w 1889265"/>
              <a:gd name="connsiteY1" fmla="*/ 0 h 5885741"/>
              <a:gd name="connsiteX2" fmla="*/ 1889265 w 1889265"/>
              <a:gd name="connsiteY2" fmla="*/ 5807447 h 5885741"/>
              <a:gd name="connsiteX3" fmla="*/ 1 w 1889265"/>
              <a:gd name="connsiteY3" fmla="*/ 3851780 h 5885741"/>
              <a:gd name="connsiteX0" fmla="*/ 694 w 1889958"/>
              <a:gd name="connsiteY0" fmla="*/ 3851780 h 5898819"/>
              <a:gd name="connsiteX1" fmla="*/ 1879798 w 1889958"/>
              <a:gd name="connsiteY1" fmla="*/ 0 h 5898819"/>
              <a:gd name="connsiteX2" fmla="*/ 1889958 w 1889958"/>
              <a:gd name="connsiteY2" fmla="*/ 5807447 h 5898819"/>
              <a:gd name="connsiteX3" fmla="*/ 694 w 1889958"/>
              <a:gd name="connsiteY3" fmla="*/ 3851780 h 5898819"/>
              <a:gd name="connsiteX0" fmla="*/ 694 w 1889958"/>
              <a:gd name="connsiteY0" fmla="*/ 3740120 h 5892762"/>
              <a:gd name="connsiteX1" fmla="*/ 1879798 w 1889958"/>
              <a:gd name="connsiteY1" fmla="*/ 0 h 5892762"/>
              <a:gd name="connsiteX2" fmla="*/ 1889958 w 1889958"/>
              <a:gd name="connsiteY2" fmla="*/ 5807447 h 5892762"/>
              <a:gd name="connsiteX3" fmla="*/ 694 w 1889958"/>
              <a:gd name="connsiteY3" fmla="*/ 3740120 h 5892762"/>
              <a:gd name="connsiteX0" fmla="*/ 690 w 1900114"/>
              <a:gd name="connsiteY0" fmla="*/ 3811177 h 5896524"/>
              <a:gd name="connsiteX1" fmla="*/ 1889954 w 1900114"/>
              <a:gd name="connsiteY1" fmla="*/ 0 h 5896524"/>
              <a:gd name="connsiteX2" fmla="*/ 1900114 w 1900114"/>
              <a:gd name="connsiteY2" fmla="*/ 5807447 h 5896524"/>
              <a:gd name="connsiteX3" fmla="*/ 690 w 1900114"/>
              <a:gd name="connsiteY3" fmla="*/ 3811177 h 5896524"/>
              <a:gd name="connsiteX0" fmla="*/ 690 w 1900114"/>
              <a:gd name="connsiteY0" fmla="*/ 3811177 h 5807447"/>
              <a:gd name="connsiteX1" fmla="*/ 1889954 w 1900114"/>
              <a:gd name="connsiteY1" fmla="*/ 0 h 5807447"/>
              <a:gd name="connsiteX2" fmla="*/ 1900114 w 1900114"/>
              <a:gd name="connsiteY2" fmla="*/ 5807447 h 5807447"/>
              <a:gd name="connsiteX3" fmla="*/ 690 w 1900114"/>
              <a:gd name="connsiteY3" fmla="*/ 3811177 h 5807447"/>
              <a:gd name="connsiteX0" fmla="*/ 690 w 1900114"/>
              <a:gd name="connsiteY0" fmla="*/ 3811177 h 5807447"/>
              <a:gd name="connsiteX1" fmla="*/ 1889954 w 1900114"/>
              <a:gd name="connsiteY1" fmla="*/ 0 h 5807447"/>
              <a:gd name="connsiteX2" fmla="*/ 1900114 w 1900114"/>
              <a:gd name="connsiteY2" fmla="*/ 5807447 h 5807447"/>
              <a:gd name="connsiteX3" fmla="*/ 690 w 1900114"/>
              <a:gd name="connsiteY3" fmla="*/ 3811177 h 5807447"/>
              <a:gd name="connsiteX0" fmla="*/ 403 w 1899827"/>
              <a:gd name="connsiteY0" fmla="*/ 3811177 h 5807447"/>
              <a:gd name="connsiteX1" fmla="*/ 1889667 w 1899827"/>
              <a:gd name="connsiteY1" fmla="*/ 0 h 5807447"/>
              <a:gd name="connsiteX2" fmla="*/ 1899827 w 1899827"/>
              <a:gd name="connsiteY2" fmla="*/ 5807447 h 5807447"/>
              <a:gd name="connsiteX3" fmla="*/ 403 w 1899827"/>
              <a:gd name="connsiteY3" fmla="*/ 3811177 h 5807447"/>
            </a:gdLst>
            <a:ahLst/>
            <a:cxnLst>
              <a:cxn ang="0">
                <a:pos x="connsiteX0" y="connsiteY0"/>
              </a:cxn>
              <a:cxn ang="0">
                <a:pos x="connsiteX1" y="connsiteY1"/>
              </a:cxn>
              <a:cxn ang="0">
                <a:pos x="connsiteX2" y="connsiteY2"/>
              </a:cxn>
              <a:cxn ang="0">
                <a:pos x="connsiteX3" y="connsiteY3"/>
              </a:cxn>
            </a:cxnLst>
            <a:rect l="l" t="t" r="r" b="b"/>
            <a:pathLst>
              <a:path w="1899827" h="5807447">
                <a:moveTo>
                  <a:pt x="403" y="3811177"/>
                </a:moveTo>
                <a:cubicBezTo>
                  <a:pt x="-31770" y="2467685"/>
                  <a:pt x="1876203" y="854946"/>
                  <a:pt x="1889667" y="0"/>
                </a:cubicBezTo>
                <a:cubicBezTo>
                  <a:pt x="1893054" y="1979803"/>
                  <a:pt x="1896440" y="3827644"/>
                  <a:pt x="1899827" y="5807447"/>
                </a:cubicBezTo>
                <a:cubicBezTo>
                  <a:pt x="1007523" y="5706703"/>
                  <a:pt x="32576" y="5154669"/>
                  <a:pt x="403" y="3811177"/>
                </a:cubicBezTo>
                <a:close/>
              </a:path>
            </a:pathLst>
          </a:custGeom>
          <a:solidFill>
            <a:schemeClr val="bg2"/>
          </a:solidFill>
          <a:ln w="3175">
            <a:noFill/>
          </a:ln>
        </p:spPr>
        <p:txBody>
          <a:bodyPr tIns="720000" rtlCol="0" anchor="ctr">
            <a:noAutofit/>
          </a:bodyPr>
          <a:lstStyle>
            <a:lvl1pPr algn="ctr">
              <a:defRPr sz="1500">
                <a:solidFill>
                  <a:schemeClr val="bg1"/>
                </a:solidFill>
              </a:defRPr>
            </a:lvl1pPr>
          </a:lstStyle>
          <a:p>
            <a:pPr lvl="0"/>
            <a:r>
              <a:rPr lang="en-US" noProof="0"/>
              <a:t>Click icon to add picture</a:t>
            </a:r>
          </a:p>
        </p:txBody>
      </p:sp>
      <p:sp>
        <p:nvSpPr>
          <p:cNvPr id="8" name="Espace réservé de la date 10"/>
          <p:cNvSpPr>
            <a:spLocks noGrp="1"/>
          </p:cNvSpPr>
          <p:nvPr>
            <p:ph type="dt" sz="half" idx="19"/>
          </p:nvPr>
        </p:nvSpPr>
        <p:spPr/>
        <p:txBody>
          <a:bodyPr/>
          <a:lstStyle>
            <a:lvl1pPr>
              <a:defRPr/>
            </a:lvl1pPr>
          </a:lstStyle>
          <a:p>
            <a:pPr>
              <a:defRPr/>
            </a:pPr>
            <a:r>
              <a:rPr lang="en-US">
                <a:solidFill>
                  <a:prstClr val="white">
                    <a:alpha val="0"/>
                  </a:prstClr>
                </a:solidFill>
              </a:rPr>
              <a:t>Date</a:t>
            </a:r>
          </a:p>
        </p:txBody>
      </p:sp>
      <p:sp>
        <p:nvSpPr>
          <p:cNvPr id="9" name="Espace réservé du numéro de diapositive 11"/>
          <p:cNvSpPr>
            <a:spLocks noGrp="1"/>
          </p:cNvSpPr>
          <p:nvPr>
            <p:ph type="sldNum" sz="quarter" idx="20"/>
          </p:nvPr>
        </p:nvSpPr>
        <p:spPr/>
        <p:txBody>
          <a:bodyPr/>
          <a:lstStyle>
            <a:lvl1pPr>
              <a:defRPr/>
            </a:lvl1pPr>
          </a:lstStyle>
          <a:p>
            <a:pPr>
              <a:defRPr/>
            </a:pPr>
            <a:fld id="{669CD8F2-86ED-43C7-A24E-82A206DEE6AE}" type="slidenum">
              <a:rPr lang="en-US">
                <a:solidFill>
                  <a:srgbClr val="343434"/>
                </a:solidFill>
              </a:rPr>
              <a:pPr>
                <a:defRPr/>
              </a:pPr>
              <a:t>‹#›</a:t>
            </a:fld>
            <a:endParaRPr lang="en-US">
              <a:solidFill>
                <a:srgbClr val="343434"/>
              </a:solidFill>
            </a:endParaRPr>
          </a:p>
        </p:txBody>
      </p:sp>
      <p:sp>
        <p:nvSpPr>
          <p:cNvPr id="11" name="Espace réservé du pied de page 12"/>
          <p:cNvSpPr>
            <a:spLocks noGrp="1"/>
          </p:cNvSpPr>
          <p:nvPr>
            <p:ph type="ftr" sz="quarter" idx="21"/>
          </p:nvPr>
        </p:nvSpPr>
        <p:spPr/>
        <p:txBody>
          <a:bodyPr/>
          <a:lstStyle>
            <a:lvl1pPr>
              <a:defRPr/>
            </a:lvl1pPr>
          </a:lstStyle>
          <a:p>
            <a:pPr>
              <a:defRPr/>
            </a:pPr>
            <a:r>
              <a:rPr lang="en-US">
                <a:solidFill>
                  <a:srgbClr val="005CB9"/>
                </a:solidFill>
              </a:rPr>
              <a:t>#</a:t>
            </a:r>
            <a:r>
              <a:rPr lang="en-US" err="1">
                <a:solidFill>
                  <a:srgbClr val="005CB9"/>
                </a:solidFill>
              </a:rPr>
              <a:t>vaccineswork</a:t>
            </a:r>
            <a:endParaRPr lang="en-US">
              <a:solidFill>
                <a:srgbClr val="005CB9"/>
              </a:solidFill>
            </a:endParaRPr>
          </a:p>
        </p:txBody>
      </p:sp>
    </p:spTree>
    <p:extLst>
      <p:ext uri="{BB962C8B-B14F-4D97-AF65-F5344CB8AC3E}">
        <p14:creationId xmlns:p14="http://schemas.microsoft.com/office/powerpoint/2010/main" val="65383806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Picture_Layout">
    <p:spTree>
      <p:nvGrpSpPr>
        <p:cNvPr id="1" name=""/>
        <p:cNvGrpSpPr/>
        <p:nvPr/>
      </p:nvGrpSpPr>
      <p:grpSpPr>
        <a:xfrm>
          <a:off x="0" y="0"/>
          <a:ext cx="0" cy="0"/>
          <a:chOff x="0" y="0"/>
          <a:chExt cx="0" cy="0"/>
        </a:xfrm>
      </p:grpSpPr>
      <p:sp>
        <p:nvSpPr>
          <p:cNvPr id="2" name="Titre 1"/>
          <p:cNvSpPr>
            <a:spLocks noGrp="1"/>
          </p:cNvSpPr>
          <p:nvPr>
            <p:ph type="title"/>
          </p:nvPr>
        </p:nvSpPr>
        <p:spPr bwMode="gray"/>
        <p:txBody>
          <a:bodyPr/>
          <a:lstStyle/>
          <a:p>
            <a:r>
              <a:rPr lang="en-US" noProof="0"/>
              <a:t>Click to edit Master title style</a:t>
            </a:r>
          </a:p>
        </p:txBody>
      </p:sp>
      <p:sp>
        <p:nvSpPr>
          <p:cNvPr id="3" name="Espace réservé du contenu 2"/>
          <p:cNvSpPr>
            <a:spLocks noGrp="1"/>
          </p:cNvSpPr>
          <p:nvPr>
            <p:ph idx="1"/>
          </p:nvPr>
        </p:nvSpPr>
        <p:spPr bwMode="gray">
          <a:xfrm>
            <a:off x="3635896" y="1304925"/>
            <a:ext cx="4644504" cy="4716463"/>
          </a:xfrm>
        </p:spPr>
        <p:txBody>
          <a:bodyPr/>
          <a:lstStyle>
            <a:lvl2pPr>
              <a:defRPr/>
            </a:lvl2pPr>
            <a:lvl3pPr>
              <a:defRPr/>
            </a:lvl3pPr>
            <a:lvl4pPr>
              <a:defRPr baseline="0"/>
            </a:lvl4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Espace réservé pour une image  8"/>
          <p:cNvSpPr>
            <a:spLocks noGrp="1"/>
          </p:cNvSpPr>
          <p:nvPr>
            <p:ph type="pic" sz="quarter" idx="13"/>
          </p:nvPr>
        </p:nvSpPr>
        <p:spPr bwMode="gray">
          <a:xfrm>
            <a:off x="0" y="1341438"/>
            <a:ext cx="3419038" cy="4679950"/>
          </a:xfrm>
        </p:spPr>
        <p:txBody>
          <a:bodyPr tIns="1008000" rtlCol="0" anchor="ctr">
            <a:noAutofit/>
          </a:bodyPr>
          <a:lstStyle>
            <a:lvl1pPr algn="ctr">
              <a:defRPr/>
            </a:lvl1pPr>
          </a:lstStyle>
          <a:p>
            <a:pPr lvl="0"/>
            <a:r>
              <a:rPr lang="en-US" noProof="0"/>
              <a:t>Click icon to add picture</a:t>
            </a:r>
          </a:p>
        </p:txBody>
      </p:sp>
      <p:sp>
        <p:nvSpPr>
          <p:cNvPr id="5" name="Espace réservé de la date 3"/>
          <p:cNvSpPr>
            <a:spLocks noGrp="1"/>
          </p:cNvSpPr>
          <p:nvPr>
            <p:ph type="dt" sz="half" idx="14"/>
          </p:nvPr>
        </p:nvSpPr>
        <p:spPr/>
        <p:txBody>
          <a:bodyPr/>
          <a:lstStyle>
            <a:lvl1pPr>
              <a:defRPr/>
            </a:lvl1pPr>
          </a:lstStyle>
          <a:p>
            <a:pPr>
              <a:defRPr/>
            </a:pPr>
            <a:r>
              <a:rPr lang="en-US">
                <a:solidFill>
                  <a:prstClr val="white">
                    <a:alpha val="0"/>
                  </a:prstClr>
                </a:solidFill>
              </a:rPr>
              <a:t>Date</a:t>
            </a:r>
          </a:p>
        </p:txBody>
      </p:sp>
      <p:sp>
        <p:nvSpPr>
          <p:cNvPr id="6" name="Espace réservé du pied de page 4"/>
          <p:cNvSpPr>
            <a:spLocks noGrp="1"/>
          </p:cNvSpPr>
          <p:nvPr>
            <p:ph type="ftr" sz="quarter" idx="15"/>
          </p:nvPr>
        </p:nvSpPr>
        <p:spPr/>
        <p:txBody>
          <a:bodyPr/>
          <a:lstStyle>
            <a:lvl1pPr>
              <a:defRPr/>
            </a:lvl1pPr>
          </a:lstStyle>
          <a:p>
            <a:pPr>
              <a:defRPr/>
            </a:pPr>
            <a:r>
              <a:rPr lang="en-US">
                <a:solidFill>
                  <a:srgbClr val="005CB9"/>
                </a:solidFill>
              </a:rPr>
              <a:t>#</a:t>
            </a:r>
            <a:r>
              <a:rPr lang="en-US" err="1">
                <a:solidFill>
                  <a:srgbClr val="005CB9"/>
                </a:solidFill>
              </a:rPr>
              <a:t>vaccineswork</a:t>
            </a:r>
            <a:endParaRPr lang="en-US">
              <a:solidFill>
                <a:srgbClr val="005CB9"/>
              </a:solidFill>
            </a:endParaRPr>
          </a:p>
        </p:txBody>
      </p:sp>
      <p:sp>
        <p:nvSpPr>
          <p:cNvPr id="7" name="Espace réservé du numéro de diapositive 5"/>
          <p:cNvSpPr>
            <a:spLocks noGrp="1"/>
          </p:cNvSpPr>
          <p:nvPr>
            <p:ph type="sldNum" sz="quarter" idx="16"/>
          </p:nvPr>
        </p:nvSpPr>
        <p:spPr/>
        <p:txBody>
          <a:bodyPr/>
          <a:lstStyle>
            <a:lvl1pPr>
              <a:defRPr/>
            </a:lvl1pPr>
          </a:lstStyle>
          <a:p>
            <a:pPr>
              <a:defRPr/>
            </a:pPr>
            <a:fld id="{D8886677-8A24-41A7-8E0F-301076E1EA36}" type="slidenum">
              <a:rPr lang="en-US">
                <a:solidFill>
                  <a:srgbClr val="343434"/>
                </a:solidFill>
              </a:rPr>
              <a:pPr>
                <a:defRPr/>
              </a:pPr>
              <a:t>‹#›</a:t>
            </a:fld>
            <a:endParaRPr lang="en-US">
              <a:solidFill>
                <a:srgbClr val="343434"/>
              </a:solidFill>
            </a:endParaRPr>
          </a:p>
        </p:txBody>
      </p:sp>
    </p:spTree>
    <p:extLst>
      <p:ext uri="{BB962C8B-B14F-4D97-AF65-F5344CB8AC3E}">
        <p14:creationId xmlns:p14="http://schemas.microsoft.com/office/powerpoint/2010/main" val="196746977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ext&amp;Content_Layout">
    <p:spTree>
      <p:nvGrpSpPr>
        <p:cNvPr id="1" name=""/>
        <p:cNvGrpSpPr/>
        <p:nvPr/>
      </p:nvGrpSpPr>
      <p:grpSpPr>
        <a:xfrm>
          <a:off x="0" y="0"/>
          <a:ext cx="0" cy="0"/>
          <a:chOff x="0" y="0"/>
          <a:chExt cx="0" cy="0"/>
        </a:xfrm>
      </p:grpSpPr>
      <p:sp>
        <p:nvSpPr>
          <p:cNvPr id="2" name="Titre 1"/>
          <p:cNvSpPr>
            <a:spLocks noGrp="1"/>
          </p:cNvSpPr>
          <p:nvPr>
            <p:ph type="title"/>
          </p:nvPr>
        </p:nvSpPr>
        <p:spPr bwMode="gray"/>
        <p:txBody>
          <a:bodyPr/>
          <a:lstStyle/>
          <a:p>
            <a:r>
              <a:rPr lang="en-US" noProof="0"/>
              <a:t>Click to edit Master title style</a:t>
            </a:r>
          </a:p>
        </p:txBody>
      </p:sp>
      <p:sp>
        <p:nvSpPr>
          <p:cNvPr id="3" name="Espace réservé du contenu 2"/>
          <p:cNvSpPr>
            <a:spLocks noGrp="1"/>
          </p:cNvSpPr>
          <p:nvPr>
            <p:ph idx="1"/>
          </p:nvPr>
        </p:nvSpPr>
        <p:spPr bwMode="gray">
          <a:xfrm>
            <a:off x="935038" y="2781388"/>
            <a:ext cx="7345362" cy="3240000"/>
          </a:xfrm>
        </p:spPr>
        <p:txBody>
          <a:bodyPr/>
          <a:lstStyle>
            <a:lvl2pPr>
              <a:defRPr/>
            </a:lvl2pPr>
            <a:lvl3pPr>
              <a:defRPr/>
            </a:lvl3pPr>
            <a:lvl4pPr>
              <a:defRPr baseline="0"/>
            </a:lvl4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Espace réservé du texte 9"/>
          <p:cNvSpPr>
            <a:spLocks noGrp="1"/>
          </p:cNvSpPr>
          <p:nvPr>
            <p:ph type="body" sz="quarter" idx="13"/>
          </p:nvPr>
        </p:nvSpPr>
        <p:spPr bwMode="gray">
          <a:xfrm>
            <a:off x="935038" y="1304924"/>
            <a:ext cx="7345362" cy="126000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Espace réservé de la date 3"/>
          <p:cNvSpPr>
            <a:spLocks noGrp="1"/>
          </p:cNvSpPr>
          <p:nvPr>
            <p:ph type="dt" sz="half" idx="14"/>
          </p:nvPr>
        </p:nvSpPr>
        <p:spPr/>
        <p:txBody>
          <a:bodyPr/>
          <a:lstStyle>
            <a:lvl1pPr>
              <a:defRPr/>
            </a:lvl1pPr>
          </a:lstStyle>
          <a:p>
            <a:pPr>
              <a:defRPr/>
            </a:pPr>
            <a:r>
              <a:rPr lang="en-US">
                <a:solidFill>
                  <a:prstClr val="white">
                    <a:alpha val="0"/>
                  </a:prstClr>
                </a:solidFill>
              </a:rPr>
              <a:t>Date</a:t>
            </a:r>
          </a:p>
        </p:txBody>
      </p:sp>
      <p:sp>
        <p:nvSpPr>
          <p:cNvPr id="6" name="Espace réservé du pied de page 4"/>
          <p:cNvSpPr>
            <a:spLocks noGrp="1"/>
          </p:cNvSpPr>
          <p:nvPr>
            <p:ph type="ftr" sz="quarter" idx="15"/>
          </p:nvPr>
        </p:nvSpPr>
        <p:spPr/>
        <p:txBody>
          <a:bodyPr/>
          <a:lstStyle>
            <a:lvl1pPr>
              <a:defRPr/>
            </a:lvl1pPr>
          </a:lstStyle>
          <a:p>
            <a:pPr>
              <a:defRPr/>
            </a:pPr>
            <a:r>
              <a:rPr lang="en-US">
                <a:solidFill>
                  <a:srgbClr val="005CB9"/>
                </a:solidFill>
              </a:rPr>
              <a:t>#</a:t>
            </a:r>
            <a:r>
              <a:rPr lang="en-US" err="1">
                <a:solidFill>
                  <a:srgbClr val="005CB9"/>
                </a:solidFill>
              </a:rPr>
              <a:t>vaccineswork</a:t>
            </a:r>
            <a:endParaRPr lang="en-US">
              <a:solidFill>
                <a:srgbClr val="005CB9"/>
              </a:solidFill>
            </a:endParaRPr>
          </a:p>
        </p:txBody>
      </p:sp>
      <p:sp>
        <p:nvSpPr>
          <p:cNvPr id="7" name="Espace réservé du numéro de diapositive 5"/>
          <p:cNvSpPr>
            <a:spLocks noGrp="1"/>
          </p:cNvSpPr>
          <p:nvPr>
            <p:ph type="sldNum" sz="quarter" idx="16"/>
          </p:nvPr>
        </p:nvSpPr>
        <p:spPr/>
        <p:txBody>
          <a:bodyPr/>
          <a:lstStyle>
            <a:lvl1pPr>
              <a:defRPr/>
            </a:lvl1pPr>
          </a:lstStyle>
          <a:p>
            <a:pPr>
              <a:defRPr/>
            </a:pPr>
            <a:fld id="{8779425B-3CAA-48C9-9B95-57BAD5A3D82E}" type="slidenum">
              <a:rPr lang="en-US">
                <a:solidFill>
                  <a:srgbClr val="343434"/>
                </a:solidFill>
              </a:rPr>
              <a:pPr>
                <a:defRPr/>
              </a:pPr>
              <a:t>‹#›</a:t>
            </a:fld>
            <a:endParaRPr lang="en-US">
              <a:solidFill>
                <a:srgbClr val="343434"/>
              </a:solidFill>
            </a:endParaRPr>
          </a:p>
        </p:txBody>
      </p:sp>
    </p:spTree>
    <p:extLst>
      <p:ext uri="{BB962C8B-B14F-4D97-AF65-F5344CB8AC3E}">
        <p14:creationId xmlns:p14="http://schemas.microsoft.com/office/powerpoint/2010/main" val="121418236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hank_you_1">
    <p:spTree>
      <p:nvGrpSpPr>
        <p:cNvPr id="1" name=""/>
        <p:cNvGrpSpPr/>
        <p:nvPr/>
      </p:nvGrpSpPr>
      <p:grpSpPr>
        <a:xfrm>
          <a:off x="0" y="0"/>
          <a:ext cx="0" cy="0"/>
          <a:chOff x="0" y="0"/>
          <a:chExt cx="0" cy="0"/>
        </a:xfrm>
      </p:grpSpPr>
      <p:pic>
        <p:nvPicPr>
          <p:cNvPr id="5" name="Image 18" descr="FD_1_L254.png"/>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gray">
          <a:xfrm>
            <a:off x="0" y="0"/>
            <a:ext cx="9144000" cy="51577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6" name="Rectangle 5"/>
          <p:cNvSpPr/>
          <p:nvPr userDrawn="1"/>
        </p:nvSpPr>
        <p:spPr bwMode="gray">
          <a:xfrm>
            <a:off x="3635375" y="5265738"/>
            <a:ext cx="5508625" cy="15922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prstClr val="white"/>
              </a:solidFill>
            </a:endParaRPr>
          </a:p>
        </p:txBody>
      </p:sp>
      <p:pic>
        <p:nvPicPr>
          <p:cNvPr id="7" name="Image 19" descr="Bas_couv.png"/>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gray">
          <a:xfrm>
            <a:off x="0" y="5172075"/>
            <a:ext cx="3635375" cy="16859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8" name="Rectangle 7"/>
          <p:cNvSpPr/>
          <p:nvPr userDrawn="1"/>
        </p:nvSpPr>
        <p:spPr bwMode="gray">
          <a:xfrm>
            <a:off x="3635375" y="6354763"/>
            <a:ext cx="5113338" cy="2873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p>
            <a:pPr algn="r">
              <a:defRPr/>
            </a:pPr>
            <a:r>
              <a:rPr lang="en-US" sz="1000" err="1">
                <a:solidFill>
                  <a:srgbClr val="95D600"/>
                </a:solidFill>
              </a:rPr>
              <a:t>www.gavi.org</a:t>
            </a:r>
            <a:endParaRPr lang="en-US" sz="1000">
              <a:solidFill>
                <a:srgbClr val="95D600"/>
              </a:solidFill>
            </a:endParaRPr>
          </a:p>
        </p:txBody>
      </p:sp>
      <p:cxnSp>
        <p:nvCxnSpPr>
          <p:cNvPr id="10" name="Connecteur droit 13"/>
          <p:cNvCxnSpPr/>
          <p:nvPr userDrawn="1"/>
        </p:nvCxnSpPr>
        <p:spPr bwMode="gray">
          <a:xfrm flipH="1">
            <a:off x="468313" y="3400425"/>
            <a:ext cx="2447925" cy="0"/>
          </a:xfrm>
          <a:prstGeom prst="line">
            <a:avLst/>
          </a:prstGeom>
          <a:ln w="24130">
            <a:solidFill>
              <a:schemeClr val="accent1"/>
            </a:solidFill>
          </a:ln>
        </p:spPr>
        <p:style>
          <a:lnRef idx="1">
            <a:schemeClr val="accent1"/>
          </a:lnRef>
          <a:fillRef idx="0">
            <a:schemeClr val="accent1"/>
          </a:fillRef>
          <a:effectRef idx="0">
            <a:schemeClr val="accent1"/>
          </a:effectRef>
          <a:fontRef idx="minor">
            <a:schemeClr val="tx1"/>
          </a:fontRef>
        </p:style>
      </p:cxnSp>
      <p:sp>
        <p:nvSpPr>
          <p:cNvPr id="9" name="Espace réservé du texte 8"/>
          <p:cNvSpPr>
            <a:spLocks noGrp="1"/>
          </p:cNvSpPr>
          <p:nvPr>
            <p:ph type="body" sz="quarter" idx="13"/>
          </p:nvPr>
        </p:nvSpPr>
        <p:spPr bwMode="gray">
          <a:xfrm>
            <a:off x="468314" y="1036638"/>
            <a:ext cx="4824412" cy="2242966"/>
          </a:xfrm>
        </p:spPr>
        <p:txBody>
          <a:bodyPr anchor="b"/>
          <a:lstStyle>
            <a:lvl1pPr marL="0" indent="0" algn="l">
              <a:lnSpc>
                <a:spcPct val="90000"/>
              </a:lnSpc>
              <a:buNone/>
              <a:defRPr sz="2800" b="1" cap="none" baseline="0">
                <a:solidFill>
                  <a:schemeClr val="bg1"/>
                </a:solidFill>
              </a:defRPr>
            </a:lvl1pPr>
            <a:lvl2pPr marL="0" algn="ctr">
              <a:lnSpc>
                <a:spcPct val="100000"/>
              </a:lnSpc>
              <a:spcBef>
                <a:spcPts val="6900"/>
              </a:spcBef>
              <a:defRPr sz="2000" b="1">
                <a:solidFill>
                  <a:schemeClr val="bg1"/>
                </a:solidFill>
              </a:defRPr>
            </a:lvl2pPr>
          </a:lstStyle>
          <a:p>
            <a:pPr lvl="0"/>
            <a:r>
              <a:rPr lang="en-US" noProof="0"/>
              <a:t>Click to edit Master text styles</a:t>
            </a:r>
          </a:p>
        </p:txBody>
      </p:sp>
      <p:sp>
        <p:nvSpPr>
          <p:cNvPr id="15" name="Espace réservé du texte 14"/>
          <p:cNvSpPr>
            <a:spLocks noGrp="1"/>
          </p:cNvSpPr>
          <p:nvPr>
            <p:ph type="body" sz="quarter" idx="19"/>
          </p:nvPr>
        </p:nvSpPr>
        <p:spPr bwMode="gray">
          <a:xfrm>
            <a:off x="3635376" y="6021388"/>
            <a:ext cx="5113338" cy="324000"/>
          </a:xfrm>
        </p:spPr>
        <p:txBody>
          <a:bodyPr anchor="b"/>
          <a:lstStyle>
            <a:lvl1pPr algn="r">
              <a:lnSpc>
                <a:spcPct val="100000"/>
              </a:lnSpc>
              <a:defRPr sz="1000" b="1">
                <a:solidFill>
                  <a:schemeClr val="accent3"/>
                </a:solidFill>
              </a:defRPr>
            </a:lvl1pPr>
          </a:lstStyle>
          <a:p>
            <a:pPr lvl="0"/>
            <a:r>
              <a:rPr lang="en-US" noProof="0"/>
              <a:t>Click to edit Master text styles</a:t>
            </a:r>
          </a:p>
        </p:txBody>
      </p:sp>
      <p:sp>
        <p:nvSpPr>
          <p:cNvPr id="13" name="Espace réservé pour une image  17"/>
          <p:cNvSpPr>
            <a:spLocks noGrp="1"/>
          </p:cNvSpPr>
          <p:nvPr>
            <p:ph type="pic" sz="quarter" idx="18"/>
          </p:nvPr>
        </p:nvSpPr>
        <p:spPr bwMode="gray">
          <a:xfrm>
            <a:off x="4192588" y="0"/>
            <a:ext cx="4951412" cy="5162400"/>
          </a:xfrm>
          <a:custGeom>
            <a:avLst/>
            <a:gdLst>
              <a:gd name="connsiteX0" fmla="*/ 0 w 3851275"/>
              <a:gd name="connsiteY0" fmla="*/ 0 h 5157788"/>
              <a:gd name="connsiteX1" fmla="*/ 3851275 w 3851275"/>
              <a:gd name="connsiteY1" fmla="*/ 0 h 5157788"/>
              <a:gd name="connsiteX2" fmla="*/ 3851275 w 3851275"/>
              <a:gd name="connsiteY2" fmla="*/ 5157788 h 5157788"/>
              <a:gd name="connsiteX3" fmla="*/ 0 w 3851275"/>
              <a:gd name="connsiteY3" fmla="*/ 5157788 h 5157788"/>
              <a:gd name="connsiteX4" fmla="*/ 0 w 3851275"/>
              <a:gd name="connsiteY4"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0 w 3851275"/>
              <a:gd name="connsiteY3" fmla="*/ 5157788 h 5157788"/>
              <a:gd name="connsiteX4" fmla="*/ 1692275 w 3851275"/>
              <a:gd name="connsiteY4" fmla="*/ 0 h 5157788"/>
              <a:gd name="connsiteX0" fmla="*/ 0 w 2159000"/>
              <a:gd name="connsiteY0" fmla="*/ 0 h 5157788"/>
              <a:gd name="connsiteX1" fmla="*/ 2159000 w 2159000"/>
              <a:gd name="connsiteY1" fmla="*/ 0 h 5157788"/>
              <a:gd name="connsiteX2" fmla="*/ 2159000 w 2159000"/>
              <a:gd name="connsiteY2" fmla="*/ 5157788 h 5157788"/>
              <a:gd name="connsiteX3" fmla="*/ 0 w 2159000"/>
              <a:gd name="connsiteY3" fmla="*/ 5157788 h 5157788"/>
              <a:gd name="connsiteX4" fmla="*/ 0 w 2159000"/>
              <a:gd name="connsiteY4" fmla="*/ 0 h 5157788"/>
              <a:gd name="connsiteX0" fmla="*/ 2625271 w 4784271"/>
              <a:gd name="connsiteY0" fmla="*/ 0 h 5157788"/>
              <a:gd name="connsiteX1" fmla="*/ 4784271 w 4784271"/>
              <a:gd name="connsiteY1" fmla="*/ 0 h 5157788"/>
              <a:gd name="connsiteX2" fmla="*/ 4784271 w 4784271"/>
              <a:gd name="connsiteY2" fmla="*/ 5157788 h 5157788"/>
              <a:gd name="connsiteX3" fmla="*/ 2625271 w 4784271"/>
              <a:gd name="connsiteY3" fmla="*/ 5157788 h 5157788"/>
              <a:gd name="connsiteX4" fmla="*/ 2625271 w 4784271"/>
              <a:gd name="connsiteY4" fmla="*/ 0 h 5157788"/>
              <a:gd name="connsiteX0" fmla="*/ 2625271 w 4784271"/>
              <a:gd name="connsiteY0" fmla="*/ 0 h 5157788"/>
              <a:gd name="connsiteX1" fmla="*/ 4784271 w 4784271"/>
              <a:gd name="connsiteY1" fmla="*/ 0 h 5157788"/>
              <a:gd name="connsiteX2" fmla="*/ 4784271 w 4784271"/>
              <a:gd name="connsiteY2" fmla="*/ 5157788 h 5157788"/>
              <a:gd name="connsiteX3" fmla="*/ 2625271 w 4784271"/>
              <a:gd name="connsiteY3" fmla="*/ 5157788 h 5157788"/>
              <a:gd name="connsiteX4" fmla="*/ 2625271 w 4784271"/>
              <a:gd name="connsiteY4" fmla="*/ 0 h 5157788"/>
              <a:gd name="connsiteX0" fmla="*/ 3568576 w 5727576"/>
              <a:gd name="connsiteY0" fmla="*/ 0 h 5157788"/>
              <a:gd name="connsiteX1" fmla="*/ 5727576 w 5727576"/>
              <a:gd name="connsiteY1" fmla="*/ 0 h 5157788"/>
              <a:gd name="connsiteX2" fmla="*/ 5727576 w 5727576"/>
              <a:gd name="connsiteY2" fmla="*/ 5157788 h 5157788"/>
              <a:gd name="connsiteX3" fmla="*/ 3568576 w 5727576"/>
              <a:gd name="connsiteY3" fmla="*/ 5157788 h 5157788"/>
              <a:gd name="connsiteX4" fmla="*/ 3568576 w 5727576"/>
              <a:gd name="connsiteY4" fmla="*/ 0 h 5157788"/>
              <a:gd name="connsiteX0" fmla="*/ 3306355 w 5465355"/>
              <a:gd name="connsiteY0" fmla="*/ 0 h 5157788"/>
              <a:gd name="connsiteX1" fmla="*/ 5465355 w 5465355"/>
              <a:gd name="connsiteY1" fmla="*/ 0 h 5157788"/>
              <a:gd name="connsiteX2" fmla="*/ 5465355 w 5465355"/>
              <a:gd name="connsiteY2" fmla="*/ 5157788 h 5157788"/>
              <a:gd name="connsiteX3" fmla="*/ 3306355 w 5465355"/>
              <a:gd name="connsiteY3" fmla="*/ 5157788 h 5157788"/>
              <a:gd name="connsiteX4" fmla="*/ 3306355 w 5465355"/>
              <a:gd name="connsiteY4" fmla="*/ 0 h 5157788"/>
              <a:gd name="connsiteX0" fmla="*/ 1416957 w 3575957"/>
              <a:gd name="connsiteY0" fmla="*/ 0 h 5157788"/>
              <a:gd name="connsiteX1" fmla="*/ 3575957 w 3575957"/>
              <a:gd name="connsiteY1" fmla="*/ 0 h 5157788"/>
              <a:gd name="connsiteX2" fmla="*/ 3575957 w 3575957"/>
              <a:gd name="connsiteY2" fmla="*/ 5157788 h 5157788"/>
              <a:gd name="connsiteX3" fmla="*/ 1416957 w 3575957"/>
              <a:gd name="connsiteY3" fmla="*/ 5157788 h 5157788"/>
              <a:gd name="connsiteX4" fmla="*/ 0 w 3575957"/>
              <a:gd name="connsiteY4" fmla="*/ 3339193 h 5157788"/>
              <a:gd name="connsiteX5" fmla="*/ 1416957 w 3575957"/>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6017419"/>
              <a:gd name="connsiteX1" fmla="*/ 3851275 w 3851275"/>
              <a:gd name="connsiteY1" fmla="*/ 0 h 6017419"/>
              <a:gd name="connsiteX2" fmla="*/ 3851275 w 3851275"/>
              <a:gd name="connsiteY2" fmla="*/ 5157788 h 6017419"/>
              <a:gd name="connsiteX3" fmla="*/ 1692275 w 3851275"/>
              <a:gd name="connsiteY3" fmla="*/ 5157788 h 6017419"/>
              <a:gd name="connsiteX4" fmla="*/ 0 w 3851275"/>
              <a:gd name="connsiteY4" fmla="*/ 3284984 h 6017419"/>
              <a:gd name="connsiteX5" fmla="*/ 1692275 w 3851275"/>
              <a:gd name="connsiteY5" fmla="*/ 0 h 6017419"/>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429000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429000 h 5157788"/>
              <a:gd name="connsiteX5" fmla="*/ 1710871 w 3869871"/>
              <a:gd name="connsiteY5" fmla="*/ 0 h 5157788"/>
              <a:gd name="connsiteX0" fmla="*/ 1704975 w 3863975"/>
              <a:gd name="connsiteY0" fmla="*/ 0 h 5157788"/>
              <a:gd name="connsiteX1" fmla="*/ 3863975 w 3863975"/>
              <a:gd name="connsiteY1" fmla="*/ 0 h 5157788"/>
              <a:gd name="connsiteX2" fmla="*/ 3863975 w 3863975"/>
              <a:gd name="connsiteY2" fmla="*/ 5157788 h 5157788"/>
              <a:gd name="connsiteX3" fmla="*/ 1704975 w 3863975"/>
              <a:gd name="connsiteY3" fmla="*/ 5157788 h 5157788"/>
              <a:gd name="connsiteX4" fmla="*/ 12700 w 3863975"/>
              <a:gd name="connsiteY4" fmla="*/ 3429000 h 5157788"/>
              <a:gd name="connsiteX5" fmla="*/ 1704975 w 3863975"/>
              <a:gd name="connsiteY5" fmla="*/ 0 h 5157788"/>
              <a:gd name="connsiteX0" fmla="*/ 1707243 w 3866243"/>
              <a:gd name="connsiteY0" fmla="*/ 0 h 5157788"/>
              <a:gd name="connsiteX1" fmla="*/ 3866243 w 3866243"/>
              <a:gd name="connsiteY1" fmla="*/ 0 h 5157788"/>
              <a:gd name="connsiteX2" fmla="*/ 3866243 w 3866243"/>
              <a:gd name="connsiteY2" fmla="*/ 5157788 h 5157788"/>
              <a:gd name="connsiteX3" fmla="*/ 1707243 w 3866243"/>
              <a:gd name="connsiteY3" fmla="*/ 5157788 h 5157788"/>
              <a:gd name="connsiteX4" fmla="*/ 14968 w 3866243"/>
              <a:gd name="connsiteY4" fmla="*/ 3429000 h 5157788"/>
              <a:gd name="connsiteX5" fmla="*/ 1707243 w 3866243"/>
              <a:gd name="connsiteY5" fmla="*/ 0 h 5157788"/>
              <a:gd name="connsiteX0" fmla="*/ 1130447 w 3866243"/>
              <a:gd name="connsiteY0" fmla="*/ 0 h 5157788"/>
              <a:gd name="connsiteX1" fmla="*/ 3866243 w 3866243"/>
              <a:gd name="connsiteY1" fmla="*/ 0 h 5157788"/>
              <a:gd name="connsiteX2" fmla="*/ 3866243 w 3866243"/>
              <a:gd name="connsiteY2" fmla="*/ 5157788 h 5157788"/>
              <a:gd name="connsiteX3" fmla="*/ 1707243 w 3866243"/>
              <a:gd name="connsiteY3" fmla="*/ 5157788 h 5157788"/>
              <a:gd name="connsiteX4" fmla="*/ 14968 w 3866243"/>
              <a:gd name="connsiteY4" fmla="*/ 3429000 h 5157788"/>
              <a:gd name="connsiteX5" fmla="*/ 1130447 w 3866243"/>
              <a:gd name="connsiteY5" fmla="*/ 0 h 5157788"/>
              <a:gd name="connsiteX0" fmla="*/ 2746143 w 5481939"/>
              <a:gd name="connsiteY0" fmla="*/ 0 h 5157788"/>
              <a:gd name="connsiteX1" fmla="*/ 5481939 w 5481939"/>
              <a:gd name="connsiteY1" fmla="*/ 0 h 5157788"/>
              <a:gd name="connsiteX2" fmla="*/ 5481939 w 5481939"/>
              <a:gd name="connsiteY2" fmla="*/ 5157788 h 5157788"/>
              <a:gd name="connsiteX3" fmla="*/ 585903 w 5481939"/>
              <a:gd name="connsiteY3" fmla="*/ 5153180 h 5157788"/>
              <a:gd name="connsiteX4" fmla="*/ 1630664 w 5481939"/>
              <a:gd name="connsiteY4" fmla="*/ 3429000 h 5157788"/>
              <a:gd name="connsiteX5" fmla="*/ 2746143 w 5481939"/>
              <a:gd name="connsiteY5" fmla="*/ 0 h 5157788"/>
              <a:gd name="connsiteX0" fmla="*/ 2746143 w 5481939"/>
              <a:gd name="connsiteY0" fmla="*/ 0 h 5157788"/>
              <a:gd name="connsiteX1" fmla="*/ 5481939 w 5481939"/>
              <a:gd name="connsiteY1" fmla="*/ 0 h 5157788"/>
              <a:gd name="connsiteX2" fmla="*/ 5481939 w 5481939"/>
              <a:gd name="connsiteY2" fmla="*/ 5157788 h 5157788"/>
              <a:gd name="connsiteX3" fmla="*/ 585903 w 5481939"/>
              <a:gd name="connsiteY3" fmla="*/ 5153180 h 5157788"/>
              <a:gd name="connsiteX4" fmla="*/ 1630664 w 5481939"/>
              <a:gd name="connsiteY4" fmla="*/ 3429000 h 5157788"/>
              <a:gd name="connsiteX5" fmla="*/ 2746143 w 548193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3574235 w 6310031"/>
              <a:gd name="connsiteY0" fmla="*/ 0 h 5157788"/>
              <a:gd name="connsiteX1" fmla="*/ 6310031 w 6310031"/>
              <a:gd name="connsiteY1" fmla="*/ 0 h 5157788"/>
              <a:gd name="connsiteX2" fmla="*/ 6310031 w 6310031"/>
              <a:gd name="connsiteY2" fmla="*/ 5157788 h 5157788"/>
              <a:gd name="connsiteX3" fmla="*/ 585903 w 6310031"/>
              <a:gd name="connsiteY3" fmla="*/ 5153180 h 5157788"/>
              <a:gd name="connsiteX4" fmla="*/ 1738031 w 6310031"/>
              <a:gd name="connsiteY4" fmla="*/ 3389965 h 5157788"/>
              <a:gd name="connsiteX5" fmla="*/ 3574235 w 6310031"/>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296143 w 5724128"/>
              <a:gd name="connsiteY4" fmla="*/ 3461908 h 5157788"/>
              <a:gd name="connsiteX5" fmla="*/ 2988332 w 5724128"/>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1188132 w 5760132"/>
              <a:gd name="connsiteY4" fmla="*/ 3425937 h 5157788"/>
              <a:gd name="connsiteX5" fmla="*/ 3024336 w 5760132"/>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2736304 w 5760132"/>
              <a:gd name="connsiteY4" fmla="*/ 3461908 h 5157788"/>
              <a:gd name="connsiteX5" fmla="*/ 3024336 w 5760132"/>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2736304 w 5760132"/>
              <a:gd name="connsiteY4" fmla="*/ 3461908 h 5157788"/>
              <a:gd name="connsiteX5" fmla="*/ 3024336 w 5760132"/>
              <a:gd name="connsiteY5" fmla="*/ 0 h 5157788"/>
              <a:gd name="connsiteX0" fmla="*/ 2160240 w 4896036"/>
              <a:gd name="connsiteY0" fmla="*/ 0 h 5157788"/>
              <a:gd name="connsiteX1" fmla="*/ 4896036 w 4896036"/>
              <a:gd name="connsiteY1" fmla="*/ 0 h 5157788"/>
              <a:gd name="connsiteX2" fmla="*/ 4896036 w 4896036"/>
              <a:gd name="connsiteY2" fmla="*/ 5157788 h 5157788"/>
              <a:gd name="connsiteX3" fmla="*/ 0 w 4896036"/>
              <a:gd name="connsiteY3" fmla="*/ 5153180 h 5157788"/>
              <a:gd name="connsiteX4" fmla="*/ 1872208 w 4896036"/>
              <a:gd name="connsiteY4" fmla="*/ 3461908 h 5157788"/>
              <a:gd name="connsiteX5" fmla="*/ 2160240 w 4896036"/>
              <a:gd name="connsiteY5" fmla="*/ 0 h 5157788"/>
              <a:gd name="connsiteX0" fmla="*/ 2232248 w 4968044"/>
              <a:gd name="connsiteY0" fmla="*/ 0 h 5157788"/>
              <a:gd name="connsiteX1" fmla="*/ 4968044 w 4968044"/>
              <a:gd name="connsiteY1" fmla="*/ 0 h 5157788"/>
              <a:gd name="connsiteX2" fmla="*/ 4968044 w 4968044"/>
              <a:gd name="connsiteY2" fmla="*/ 5157788 h 5157788"/>
              <a:gd name="connsiteX3" fmla="*/ 0 w 4968044"/>
              <a:gd name="connsiteY3" fmla="*/ 5153180 h 5157788"/>
              <a:gd name="connsiteX4" fmla="*/ 1944216 w 4968044"/>
              <a:gd name="connsiteY4" fmla="*/ 3461908 h 5157788"/>
              <a:gd name="connsiteX5" fmla="*/ 2232248 w 4968044"/>
              <a:gd name="connsiteY5" fmla="*/ 0 h 5157788"/>
              <a:gd name="connsiteX0" fmla="*/ 2207679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207679 w 4943475"/>
              <a:gd name="connsiteY5" fmla="*/ 0 h 5157788"/>
              <a:gd name="connsiteX0" fmla="*/ 2963763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963763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092200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71575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343583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675731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675731 w 4943475"/>
              <a:gd name="connsiteY5" fmla="*/ 0 h 5157788"/>
              <a:gd name="connsiteX0" fmla="*/ 2675731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675731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9672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19672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51412" h="5157788">
                <a:moveTo>
                  <a:pt x="2706687" y="0"/>
                </a:moveTo>
                <a:lnTo>
                  <a:pt x="4951412" y="0"/>
                </a:lnTo>
                <a:lnTo>
                  <a:pt x="4951412" y="5157788"/>
                </a:lnTo>
                <a:lnTo>
                  <a:pt x="0" y="5153180"/>
                </a:lnTo>
                <a:cubicBezTo>
                  <a:pt x="84411" y="4542509"/>
                  <a:pt x="183041" y="4024723"/>
                  <a:pt x="1243508" y="2562613"/>
                </a:cubicBezTo>
                <a:cubicBezTo>
                  <a:pt x="1867447" y="1704780"/>
                  <a:pt x="2665955" y="709265"/>
                  <a:pt x="2706687" y="0"/>
                </a:cubicBezTo>
                <a:close/>
              </a:path>
            </a:pathLst>
          </a:custGeom>
          <a:solidFill>
            <a:schemeClr val="bg2"/>
          </a:solidFill>
          <a:ln w="3175">
            <a:noFill/>
          </a:ln>
        </p:spPr>
        <p:txBody>
          <a:bodyPr tIns="720000" rtlCol="0" anchor="ctr">
            <a:noAutofit/>
          </a:bodyPr>
          <a:lstStyle>
            <a:lvl1pPr algn="ctr">
              <a:defRPr sz="1500">
                <a:solidFill>
                  <a:schemeClr val="bg1"/>
                </a:solidFill>
              </a:defRPr>
            </a:lvl1pPr>
          </a:lstStyle>
          <a:p>
            <a:pPr lvl="0"/>
            <a:r>
              <a:rPr lang="en-US" noProof="0"/>
              <a:t>Click icon to add picture</a:t>
            </a:r>
          </a:p>
        </p:txBody>
      </p:sp>
      <p:sp>
        <p:nvSpPr>
          <p:cNvPr id="11" name="Espace réservé de la date 9"/>
          <p:cNvSpPr>
            <a:spLocks noGrp="1"/>
          </p:cNvSpPr>
          <p:nvPr>
            <p:ph type="dt" sz="half" idx="20"/>
          </p:nvPr>
        </p:nvSpPr>
        <p:spPr/>
        <p:txBody>
          <a:bodyPr/>
          <a:lstStyle>
            <a:lvl1pPr>
              <a:defRPr/>
            </a:lvl1pPr>
          </a:lstStyle>
          <a:p>
            <a:pPr>
              <a:defRPr/>
            </a:pPr>
            <a:r>
              <a:rPr lang="en-US">
                <a:solidFill>
                  <a:prstClr val="white">
                    <a:alpha val="0"/>
                  </a:prstClr>
                </a:solidFill>
              </a:rPr>
              <a:t>Date</a:t>
            </a:r>
          </a:p>
        </p:txBody>
      </p:sp>
      <p:sp>
        <p:nvSpPr>
          <p:cNvPr id="12" name="Espace réservé du numéro de diapositive 10"/>
          <p:cNvSpPr>
            <a:spLocks noGrp="1"/>
          </p:cNvSpPr>
          <p:nvPr>
            <p:ph type="sldNum" sz="quarter" idx="21"/>
          </p:nvPr>
        </p:nvSpPr>
        <p:spPr/>
        <p:txBody>
          <a:bodyPr/>
          <a:lstStyle>
            <a:lvl1pPr>
              <a:defRPr sz="100">
                <a:solidFill>
                  <a:schemeClr val="bg1">
                    <a:alpha val="0"/>
                  </a:schemeClr>
                </a:solidFill>
              </a:defRPr>
            </a:lvl1pPr>
          </a:lstStyle>
          <a:p>
            <a:pPr>
              <a:defRPr/>
            </a:pPr>
            <a:r>
              <a:rPr lang="en-US">
                <a:solidFill>
                  <a:prstClr val="white">
                    <a:alpha val="0"/>
                  </a:prstClr>
                </a:solidFill>
              </a:rPr>
              <a:t>Page: </a:t>
            </a:r>
            <a:fld id="{4AF4F797-1FBC-44F9-B7CF-6A5F893B852E}" type="slidenum">
              <a:rPr lang="en-US">
                <a:solidFill>
                  <a:prstClr val="white">
                    <a:alpha val="0"/>
                  </a:prstClr>
                </a:solidFill>
              </a:rPr>
              <a:pPr>
                <a:defRPr/>
              </a:pPr>
              <a:t>‹#›</a:t>
            </a:fld>
            <a:endParaRPr lang="en-US">
              <a:solidFill>
                <a:prstClr val="white">
                  <a:alpha val="0"/>
                </a:prstClr>
              </a:solidFill>
            </a:endParaRPr>
          </a:p>
        </p:txBody>
      </p:sp>
      <p:sp>
        <p:nvSpPr>
          <p:cNvPr id="14" name="Espace réservé du pied de page 11"/>
          <p:cNvSpPr>
            <a:spLocks noGrp="1"/>
          </p:cNvSpPr>
          <p:nvPr>
            <p:ph type="ftr" sz="quarter" idx="22"/>
          </p:nvPr>
        </p:nvSpPr>
        <p:spPr>
          <a:xfrm>
            <a:off x="468313" y="523875"/>
            <a:ext cx="4824412" cy="360363"/>
          </a:xfrm>
        </p:spPr>
        <p:txBody>
          <a:bodyPr/>
          <a:lstStyle>
            <a:lvl1pPr algn="l">
              <a:defRPr sz="1800" b="0">
                <a:solidFill>
                  <a:schemeClr val="bg1"/>
                </a:solidFill>
              </a:defRPr>
            </a:lvl1pPr>
          </a:lstStyle>
          <a:p>
            <a:pPr>
              <a:defRPr/>
            </a:pPr>
            <a:r>
              <a:rPr lang="en-US">
                <a:solidFill>
                  <a:prstClr val="white"/>
                </a:solidFill>
              </a:rPr>
              <a:t>#</a:t>
            </a:r>
            <a:r>
              <a:rPr lang="en-US" err="1">
                <a:solidFill>
                  <a:prstClr val="white"/>
                </a:solidFill>
              </a:rPr>
              <a:t>vaccineswork</a:t>
            </a:r>
            <a:endParaRPr lang="en-US">
              <a:solidFill>
                <a:prstClr val="white"/>
              </a:solidFill>
            </a:endParaRPr>
          </a:p>
        </p:txBody>
      </p:sp>
    </p:spTree>
    <p:extLst>
      <p:ext uri="{BB962C8B-B14F-4D97-AF65-F5344CB8AC3E}">
        <p14:creationId xmlns:p14="http://schemas.microsoft.com/office/powerpoint/2010/main" val="373927116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hank_you_2">
    <p:spTree>
      <p:nvGrpSpPr>
        <p:cNvPr id="1" name=""/>
        <p:cNvGrpSpPr/>
        <p:nvPr/>
      </p:nvGrpSpPr>
      <p:grpSpPr>
        <a:xfrm>
          <a:off x="0" y="0"/>
          <a:ext cx="0" cy="0"/>
          <a:chOff x="0" y="0"/>
          <a:chExt cx="0" cy="0"/>
        </a:xfrm>
      </p:grpSpPr>
      <p:sp>
        <p:nvSpPr>
          <p:cNvPr id="5" name="Rectangle 4"/>
          <p:cNvSpPr/>
          <p:nvPr userDrawn="1"/>
        </p:nvSpPr>
        <p:spPr bwMode="gray">
          <a:xfrm>
            <a:off x="3635375" y="5265738"/>
            <a:ext cx="5508625" cy="15922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prstClr val="white"/>
              </a:solidFill>
            </a:endParaRPr>
          </a:p>
        </p:txBody>
      </p:sp>
      <p:pic>
        <p:nvPicPr>
          <p:cNvPr id="6" name="Image 20" descr="FD_1_L254.png"/>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gray">
          <a:xfrm>
            <a:off x="0" y="0"/>
            <a:ext cx="9144000" cy="51577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7" name="Image 19" descr="Bas_couv.png"/>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gray">
          <a:xfrm>
            <a:off x="0" y="5172075"/>
            <a:ext cx="3635375" cy="16859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8" name="Rectangle 7"/>
          <p:cNvSpPr/>
          <p:nvPr userDrawn="1"/>
        </p:nvSpPr>
        <p:spPr bwMode="gray">
          <a:xfrm>
            <a:off x="3635375" y="6354763"/>
            <a:ext cx="5113338" cy="2873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p>
            <a:pPr algn="r">
              <a:defRPr/>
            </a:pPr>
            <a:r>
              <a:rPr lang="en-US" sz="1000" err="1">
                <a:solidFill>
                  <a:srgbClr val="95D600"/>
                </a:solidFill>
              </a:rPr>
              <a:t>www.gavi.org</a:t>
            </a:r>
            <a:endParaRPr lang="en-US" sz="1000">
              <a:solidFill>
                <a:srgbClr val="95D600"/>
              </a:solidFill>
            </a:endParaRPr>
          </a:p>
        </p:txBody>
      </p:sp>
      <p:cxnSp>
        <p:nvCxnSpPr>
          <p:cNvPr id="10" name="Connecteur droit 13"/>
          <p:cNvCxnSpPr/>
          <p:nvPr userDrawn="1"/>
        </p:nvCxnSpPr>
        <p:spPr bwMode="gray">
          <a:xfrm flipH="1">
            <a:off x="468313" y="3402013"/>
            <a:ext cx="2447925" cy="0"/>
          </a:xfrm>
          <a:prstGeom prst="line">
            <a:avLst/>
          </a:prstGeom>
          <a:ln w="24130">
            <a:solidFill>
              <a:schemeClr val="accent1"/>
            </a:solidFill>
          </a:ln>
        </p:spPr>
        <p:style>
          <a:lnRef idx="1">
            <a:schemeClr val="accent1"/>
          </a:lnRef>
          <a:fillRef idx="0">
            <a:schemeClr val="accent1"/>
          </a:fillRef>
          <a:effectRef idx="0">
            <a:schemeClr val="accent1"/>
          </a:effectRef>
          <a:fontRef idx="minor">
            <a:schemeClr val="tx1"/>
          </a:fontRef>
        </p:style>
      </p:cxnSp>
      <p:sp>
        <p:nvSpPr>
          <p:cNvPr id="9" name="Espace réservé du texte 8"/>
          <p:cNvSpPr>
            <a:spLocks noGrp="1"/>
          </p:cNvSpPr>
          <p:nvPr>
            <p:ph type="body" sz="quarter" idx="13"/>
          </p:nvPr>
        </p:nvSpPr>
        <p:spPr bwMode="gray">
          <a:xfrm>
            <a:off x="468314" y="1036800"/>
            <a:ext cx="4824000" cy="2242800"/>
          </a:xfrm>
        </p:spPr>
        <p:txBody>
          <a:bodyPr anchor="b"/>
          <a:lstStyle>
            <a:lvl1pPr marL="0" indent="0" algn="l">
              <a:lnSpc>
                <a:spcPct val="90000"/>
              </a:lnSpc>
              <a:buNone/>
              <a:defRPr sz="2800" b="1" cap="none" baseline="0">
                <a:solidFill>
                  <a:schemeClr val="bg1"/>
                </a:solidFill>
              </a:defRPr>
            </a:lvl1pPr>
            <a:lvl2pPr marL="0" algn="ctr">
              <a:lnSpc>
                <a:spcPct val="100000"/>
              </a:lnSpc>
              <a:spcBef>
                <a:spcPts val="6900"/>
              </a:spcBef>
              <a:defRPr sz="2000" b="1">
                <a:solidFill>
                  <a:schemeClr val="bg1"/>
                </a:solidFill>
              </a:defRPr>
            </a:lvl2pPr>
          </a:lstStyle>
          <a:p>
            <a:pPr lvl="0"/>
            <a:r>
              <a:rPr lang="en-US" noProof="0"/>
              <a:t>Click to edit Master text styles</a:t>
            </a:r>
          </a:p>
        </p:txBody>
      </p:sp>
      <p:sp>
        <p:nvSpPr>
          <p:cNvPr id="15" name="Espace réservé du texte 14"/>
          <p:cNvSpPr>
            <a:spLocks noGrp="1"/>
          </p:cNvSpPr>
          <p:nvPr>
            <p:ph type="body" sz="quarter" idx="19"/>
          </p:nvPr>
        </p:nvSpPr>
        <p:spPr bwMode="gray">
          <a:xfrm>
            <a:off x="3635376" y="6021388"/>
            <a:ext cx="5113338" cy="324000"/>
          </a:xfrm>
        </p:spPr>
        <p:txBody>
          <a:bodyPr anchor="b"/>
          <a:lstStyle>
            <a:lvl1pPr algn="r">
              <a:lnSpc>
                <a:spcPct val="100000"/>
              </a:lnSpc>
              <a:defRPr sz="1000" b="1">
                <a:solidFill>
                  <a:schemeClr val="accent3"/>
                </a:solidFill>
              </a:defRPr>
            </a:lvl1pPr>
          </a:lstStyle>
          <a:p>
            <a:pPr lvl="0"/>
            <a:r>
              <a:rPr lang="en-US" noProof="0"/>
              <a:t>Click to edit Master text styles</a:t>
            </a:r>
          </a:p>
        </p:txBody>
      </p:sp>
      <p:sp>
        <p:nvSpPr>
          <p:cNvPr id="13" name="Espace réservé pour une image  17"/>
          <p:cNvSpPr>
            <a:spLocks noGrp="1"/>
          </p:cNvSpPr>
          <p:nvPr>
            <p:ph type="pic" sz="quarter" idx="18"/>
          </p:nvPr>
        </p:nvSpPr>
        <p:spPr bwMode="gray">
          <a:xfrm>
            <a:off x="4192588" y="0"/>
            <a:ext cx="4951412" cy="5162400"/>
          </a:xfrm>
          <a:custGeom>
            <a:avLst/>
            <a:gdLst>
              <a:gd name="connsiteX0" fmla="*/ 0 w 3851275"/>
              <a:gd name="connsiteY0" fmla="*/ 0 h 5157788"/>
              <a:gd name="connsiteX1" fmla="*/ 3851275 w 3851275"/>
              <a:gd name="connsiteY1" fmla="*/ 0 h 5157788"/>
              <a:gd name="connsiteX2" fmla="*/ 3851275 w 3851275"/>
              <a:gd name="connsiteY2" fmla="*/ 5157788 h 5157788"/>
              <a:gd name="connsiteX3" fmla="*/ 0 w 3851275"/>
              <a:gd name="connsiteY3" fmla="*/ 5157788 h 5157788"/>
              <a:gd name="connsiteX4" fmla="*/ 0 w 3851275"/>
              <a:gd name="connsiteY4"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0 w 3851275"/>
              <a:gd name="connsiteY3" fmla="*/ 5157788 h 5157788"/>
              <a:gd name="connsiteX4" fmla="*/ 1692275 w 3851275"/>
              <a:gd name="connsiteY4" fmla="*/ 0 h 5157788"/>
              <a:gd name="connsiteX0" fmla="*/ 0 w 2159000"/>
              <a:gd name="connsiteY0" fmla="*/ 0 h 5157788"/>
              <a:gd name="connsiteX1" fmla="*/ 2159000 w 2159000"/>
              <a:gd name="connsiteY1" fmla="*/ 0 h 5157788"/>
              <a:gd name="connsiteX2" fmla="*/ 2159000 w 2159000"/>
              <a:gd name="connsiteY2" fmla="*/ 5157788 h 5157788"/>
              <a:gd name="connsiteX3" fmla="*/ 0 w 2159000"/>
              <a:gd name="connsiteY3" fmla="*/ 5157788 h 5157788"/>
              <a:gd name="connsiteX4" fmla="*/ 0 w 2159000"/>
              <a:gd name="connsiteY4" fmla="*/ 0 h 5157788"/>
              <a:gd name="connsiteX0" fmla="*/ 2625271 w 4784271"/>
              <a:gd name="connsiteY0" fmla="*/ 0 h 5157788"/>
              <a:gd name="connsiteX1" fmla="*/ 4784271 w 4784271"/>
              <a:gd name="connsiteY1" fmla="*/ 0 h 5157788"/>
              <a:gd name="connsiteX2" fmla="*/ 4784271 w 4784271"/>
              <a:gd name="connsiteY2" fmla="*/ 5157788 h 5157788"/>
              <a:gd name="connsiteX3" fmla="*/ 2625271 w 4784271"/>
              <a:gd name="connsiteY3" fmla="*/ 5157788 h 5157788"/>
              <a:gd name="connsiteX4" fmla="*/ 2625271 w 4784271"/>
              <a:gd name="connsiteY4" fmla="*/ 0 h 5157788"/>
              <a:gd name="connsiteX0" fmla="*/ 2625271 w 4784271"/>
              <a:gd name="connsiteY0" fmla="*/ 0 h 5157788"/>
              <a:gd name="connsiteX1" fmla="*/ 4784271 w 4784271"/>
              <a:gd name="connsiteY1" fmla="*/ 0 h 5157788"/>
              <a:gd name="connsiteX2" fmla="*/ 4784271 w 4784271"/>
              <a:gd name="connsiteY2" fmla="*/ 5157788 h 5157788"/>
              <a:gd name="connsiteX3" fmla="*/ 2625271 w 4784271"/>
              <a:gd name="connsiteY3" fmla="*/ 5157788 h 5157788"/>
              <a:gd name="connsiteX4" fmla="*/ 2625271 w 4784271"/>
              <a:gd name="connsiteY4" fmla="*/ 0 h 5157788"/>
              <a:gd name="connsiteX0" fmla="*/ 3568576 w 5727576"/>
              <a:gd name="connsiteY0" fmla="*/ 0 h 5157788"/>
              <a:gd name="connsiteX1" fmla="*/ 5727576 w 5727576"/>
              <a:gd name="connsiteY1" fmla="*/ 0 h 5157788"/>
              <a:gd name="connsiteX2" fmla="*/ 5727576 w 5727576"/>
              <a:gd name="connsiteY2" fmla="*/ 5157788 h 5157788"/>
              <a:gd name="connsiteX3" fmla="*/ 3568576 w 5727576"/>
              <a:gd name="connsiteY3" fmla="*/ 5157788 h 5157788"/>
              <a:gd name="connsiteX4" fmla="*/ 3568576 w 5727576"/>
              <a:gd name="connsiteY4" fmla="*/ 0 h 5157788"/>
              <a:gd name="connsiteX0" fmla="*/ 3306355 w 5465355"/>
              <a:gd name="connsiteY0" fmla="*/ 0 h 5157788"/>
              <a:gd name="connsiteX1" fmla="*/ 5465355 w 5465355"/>
              <a:gd name="connsiteY1" fmla="*/ 0 h 5157788"/>
              <a:gd name="connsiteX2" fmla="*/ 5465355 w 5465355"/>
              <a:gd name="connsiteY2" fmla="*/ 5157788 h 5157788"/>
              <a:gd name="connsiteX3" fmla="*/ 3306355 w 5465355"/>
              <a:gd name="connsiteY3" fmla="*/ 5157788 h 5157788"/>
              <a:gd name="connsiteX4" fmla="*/ 3306355 w 5465355"/>
              <a:gd name="connsiteY4" fmla="*/ 0 h 5157788"/>
              <a:gd name="connsiteX0" fmla="*/ 1416957 w 3575957"/>
              <a:gd name="connsiteY0" fmla="*/ 0 h 5157788"/>
              <a:gd name="connsiteX1" fmla="*/ 3575957 w 3575957"/>
              <a:gd name="connsiteY1" fmla="*/ 0 h 5157788"/>
              <a:gd name="connsiteX2" fmla="*/ 3575957 w 3575957"/>
              <a:gd name="connsiteY2" fmla="*/ 5157788 h 5157788"/>
              <a:gd name="connsiteX3" fmla="*/ 1416957 w 3575957"/>
              <a:gd name="connsiteY3" fmla="*/ 5157788 h 5157788"/>
              <a:gd name="connsiteX4" fmla="*/ 0 w 3575957"/>
              <a:gd name="connsiteY4" fmla="*/ 3339193 h 5157788"/>
              <a:gd name="connsiteX5" fmla="*/ 1416957 w 3575957"/>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6017419"/>
              <a:gd name="connsiteX1" fmla="*/ 3851275 w 3851275"/>
              <a:gd name="connsiteY1" fmla="*/ 0 h 6017419"/>
              <a:gd name="connsiteX2" fmla="*/ 3851275 w 3851275"/>
              <a:gd name="connsiteY2" fmla="*/ 5157788 h 6017419"/>
              <a:gd name="connsiteX3" fmla="*/ 1692275 w 3851275"/>
              <a:gd name="connsiteY3" fmla="*/ 5157788 h 6017419"/>
              <a:gd name="connsiteX4" fmla="*/ 0 w 3851275"/>
              <a:gd name="connsiteY4" fmla="*/ 3284984 h 6017419"/>
              <a:gd name="connsiteX5" fmla="*/ 1692275 w 3851275"/>
              <a:gd name="connsiteY5" fmla="*/ 0 h 6017419"/>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429000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429000 h 5157788"/>
              <a:gd name="connsiteX5" fmla="*/ 1710871 w 3869871"/>
              <a:gd name="connsiteY5" fmla="*/ 0 h 5157788"/>
              <a:gd name="connsiteX0" fmla="*/ 1704975 w 3863975"/>
              <a:gd name="connsiteY0" fmla="*/ 0 h 5157788"/>
              <a:gd name="connsiteX1" fmla="*/ 3863975 w 3863975"/>
              <a:gd name="connsiteY1" fmla="*/ 0 h 5157788"/>
              <a:gd name="connsiteX2" fmla="*/ 3863975 w 3863975"/>
              <a:gd name="connsiteY2" fmla="*/ 5157788 h 5157788"/>
              <a:gd name="connsiteX3" fmla="*/ 1704975 w 3863975"/>
              <a:gd name="connsiteY3" fmla="*/ 5157788 h 5157788"/>
              <a:gd name="connsiteX4" fmla="*/ 12700 w 3863975"/>
              <a:gd name="connsiteY4" fmla="*/ 3429000 h 5157788"/>
              <a:gd name="connsiteX5" fmla="*/ 1704975 w 3863975"/>
              <a:gd name="connsiteY5" fmla="*/ 0 h 5157788"/>
              <a:gd name="connsiteX0" fmla="*/ 1707243 w 3866243"/>
              <a:gd name="connsiteY0" fmla="*/ 0 h 5157788"/>
              <a:gd name="connsiteX1" fmla="*/ 3866243 w 3866243"/>
              <a:gd name="connsiteY1" fmla="*/ 0 h 5157788"/>
              <a:gd name="connsiteX2" fmla="*/ 3866243 w 3866243"/>
              <a:gd name="connsiteY2" fmla="*/ 5157788 h 5157788"/>
              <a:gd name="connsiteX3" fmla="*/ 1707243 w 3866243"/>
              <a:gd name="connsiteY3" fmla="*/ 5157788 h 5157788"/>
              <a:gd name="connsiteX4" fmla="*/ 14968 w 3866243"/>
              <a:gd name="connsiteY4" fmla="*/ 3429000 h 5157788"/>
              <a:gd name="connsiteX5" fmla="*/ 1707243 w 3866243"/>
              <a:gd name="connsiteY5" fmla="*/ 0 h 5157788"/>
              <a:gd name="connsiteX0" fmla="*/ 1130447 w 3866243"/>
              <a:gd name="connsiteY0" fmla="*/ 0 h 5157788"/>
              <a:gd name="connsiteX1" fmla="*/ 3866243 w 3866243"/>
              <a:gd name="connsiteY1" fmla="*/ 0 h 5157788"/>
              <a:gd name="connsiteX2" fmla="*/ 3866243 w 3866243"/>
              <a:gd name="connsiteY2" fmla="*/ 5157788 h 5157788"/>
              <a:gd name="connsiteX3" fmla="*/ 1707243 w 3866243"/>
              <a:gd name="connsiteY3" fmla="*/ 5157788 h 5157788"/>
              <a:gd name="connsiteX4" fmla="*/ 14968 w 3866243"/>
              <a:gd name="connsiteY4" fmla="*/ 3429000 h 5157788"/>
              <a:gd name="connsiteX5" fmla="*/ 1130447 w 3866243"/>
              <a:gd name="connsiteY5" fmla="*/ 0 h 5157788"/>
              <a:gd name="connsiteX0" fmla="*/ 2746143 w 5481939"/>
              <a:gd name="connsiteY0" fmla="*/ 0 h 5157788"/>
              <a:gd name="connsiteX1" fmla="*/ 5481939 w 5481939"/>
              <a:gd name="connsiteY1" fmla="*/ 0 h 5157788"/>
              <a:gd name="connsiteX2" fmla="*/ 5481939 w 5481939"/>
              <a:gd name="connsiteY2" fmla="*/ 5157788 h 5157788"/>
              <a:gd name="connsiteX3" fmla="*/ 585903 w 5481939"/>
              <a:gd name="connsiteY3" fmla="*/ 5153180 h 5157788"/>
              <a:gd name="connsiteX4" fmla="*/ 1630664 w 5481939"/>
              <a:gd name="connsiteY4" fmla="*/ 3429000 h 5157788"/>
              <a:gd name="connsiteX5" fmla="*/ 2746143 w 5481939"/>
              <a:gd name="connsiteY5" fmla="*/ 0 h 5157788"/>
              <a:gd name="connsiteX0" fmla="*/ 2746143 w 5481939"/>
              <a:gd name="connsiteY0" fmla="*/ 0 h 5157788"/>
              <a:gd name="connsiteX1" fmla="*/ 5481939 w 5481939"/>
              <a:gd name="connsiteY1" fmla="*/ 0 h 5157788"/>
              <a:gd name="connsiteX2" fmla="*/ 5481939 w 5481939"/>
              <a:gd name="connsiteY2" fmla="*/ 5157788 h 5157788"/>
              <a:gd name="connsiteX3" fmla="*/ 585903 w 5481939"/>
              <a:gd name="connsiteY3" fmla="*/ 5153180 h 5157788"/>
              <a:gd name="connsiteX4" fmla="*/ 1630664 w 5481939"/>
              <a:gd name="connsiteY4" fmla="*/ 3429000 h 5157788"/>
              <a:gd name="connsiteX5" fmla="*/ 2746143 w 548193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3574235 w 6310031"/>
              <a:gd name="connsiteY0" fmla="*/ 0 h 5157788"/>
              <a:gd name="connsiteX1" fmla="*/ 6310031 w 6310031"/>
              <a:gd name="connsiteY1" fmla="*/ 0 h 5157788"/>
              <a:gd name="connsiteX2" fmla="*/ 6310031 w 6310031"/>
              <a:gd name="connsiteY2" fmla="*/ 5157788 h 5157788"/>
              <a:gd name="connsiteX3" fmla="*/ 585903 w 6310031"/>
              <a:gd name="connsiteY3" fmla="*/ 5153180 h 5157788"/>
              <a:gd name="connsiteX4" fmla="*/ 1738031 w 6310031"/>
              <a:gd name="connsiteY4" fmla="*/ 3389965 h 5157788"/>
              <a:gd name="connsiteX5" fmla="*/ 3574235 w 6310031"/>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296143 w 5724128"/>
              <a:gd name="connsiteY4" fmla="*/ 3461908 h 5157788"/>
              <a:gd name="connsiteX5" fmla="*/ 2988332 w 5724128"/>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1188132 w 5760132"/>
              <a:gd name="connsiteY4" fmla="*/ 3425937 h 5157788"/>
              <a:gd name="connsiteX5" fmla="*/ 3024336 w 5760132"/>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2736304 w 5760132"/>
              <a:gd name="connsiteY4" fmla="*/ 3461908 h 5157788"/>
              <a:gd name="connsiteX5" fmla="*/ 3024336 w 5760132"/>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2736304 w 5760132"/>
              <a:gd name="connsiteY4" fmla="*/ 3461908 h 5157788"/>
              <a:gd name="connsiteX5" fmla="*/ 3024336 w 5760132"/>
              <a:gd name="connsiteY5" fmla="*/ 0 h 5157788"/>
              <a:gd name="connsiteX0" fmla="*/ 2160240 w 4896036"/>
              <a:gd name="connsiteY0" fmla="*/ 0 h 5157788"/>
              <a:gd name="connsiteX1" fmla="*/ 4896036 w 4896036"/>
              <a:gd name="connsiteY1" fmla="*/ 0 h 5157788"/>
              <a:gd name="connsiteX2" fmla="*/ 4896036 w 4896036"/>
              <a:gd name="connsiteY2" fmla="*/ 5157788 h 5157788"/>
              <a:gd name="connsiteX3" fmla="*/ 0 w 4896036"/>
              <a:gd name="connsiteY3" fmla="*/ 5153180 h 5157788"/>
              <a:gd name="connsiteX4" fmla="*/ 1872208 w 4896036"/>
              <a:gd name="connsiteY4" fmla="*/ 3461908 h 5157788"/>
              <a:gd name="connsiteX5" fmla="*/ 2160240 w 4896036"/>
              <a:gd name="connsiteY5" fmla="*/ 0 h 5157788"/>
              <a:gd name="connsiteX0" fmla="*/ 2232248 w 4968044"/>
              <a:gd name="connsiteY0" fmla="*/ 0 h 5157788"/>
              <a:gd name="connsiteX1" fmla="*/ 4968044 w 4968044"/>
              <a:gd name="connsiteY1" fmla="*/ 0 h 5157788"/>
              <a:gd name="connsiteX2" fmla="*/ 4968044 w 4968044"/>
              <a:gd name="connsiteY2" fmla="*/ 5157788 h 5157788"/>
              <a:gd name="connsiteX3" fmla="*/ 0 w 4968044"/>
              <a:gd name="connsiteY3" fmla="*/ 5153180 h 5157788"/>
              <a:gd name="connsiteX4" fmla="*/ 1944216 w 4968044"/>
              <a:gd name="connsiteY4" fmla="*/ 3461908 h 5157788"/>
              <a:gd name="connsiteX5" fmla="*/ 2232248 w 4968044"/>
              <a:gd name="connsiteY5" fmla="*/ 0 h 5157788"/>
              <a:gd name="connsiteX0" fmla="*/ 2207679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207679 w 4943475"/>
              <a:gd name="connsiteY5" fmla="*/ 0 h 5157788"/>
              <a:gd name="connsiteX0" fmla="*/ 2963763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963763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092200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71575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343583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675731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675731 w 4943475"/>
              <a:gd name="connsiteY5" fmla="*/ 0 h 5157788"/>
              <a:gd name="connsiteX0" fmla="*/ 2675731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675731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9672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19672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51412" h="5157788">
                <a:moveTo>
                  <a:pt x="2706687" y="0"/>
                </a:moveTo>
                <a:lnTo>
                  <a:pt x="4951412" y="0"/>
                </a:lnTo>
                <a:lnTo>
                  <a:pt x="4951412" y="5157788"/>
                </a:lnTo>
                <a:lnTo>
                  <a:pt x="0" y="5153180"/>
                </a:lnTo>
                <a:cubicBezTo>
                  <a:pt x="84411" y="4542509"/>
                  <a:pt x="183041" y="4024723"/>
                  <a:pt x="1243508" y="2562613"/>
                </a:cubicBezTo>
                <a:cubicBezTo>
                  <a:pt x="1867447" y="1704780"/>
                  <a:pt x="2665955" y="709265"/>
                  <a:pt x="2706687" y="0"/>
                </a:cubicBezTo>
                <a:close/>
              </a:path>
            </a:pathLst>
          </a:custGeom>
          <a:solidFill>
            <a:schemeClr val="bg2"/>
          </a:solidFill>
          <a:ln w="3175">
            <a:noFill/>
          </a:ln>
        </p:spPr>
        <p:txBody>
          <a:bodyPr tIns="720000" rtlCol="0" anchor="ctr">
            <a:noAutofit/>
          </a:bodyPr>
          <a:lstStyle>
            <a:lvl1pPr algn="ctr">
              <a:defRPr sz="1500">
                <a:solidFill>
                  <a:schemeClr val="bg1"/>
                </a:solidFill>
              </a:defRPr>
            </a:lvl1pPr>
          </a:lstStyle>
          <a:p>
            <a:pPr lvl="0"/>
            <a:r>
              <a:rPr lang="en-US" noProof="0"/>
              <a:t>Click icon to add picture</a:t>
            </a:r>
          </a:p>
        </p:txBody>
      </p:sp>
      <p:sp>
        <p:nvSpPr>
          <p:cNvPr id="11" name="Espace réservé de la date 9"/>
          <p:cNvSpPr>
            <a:spLocks noGrp="1"/>
          </p:cNvSpPr>
          <p:nvPr>
            <p:ph type="dt" sz="half" idx="20"/>
          </p:nvPr>
        </p:nvSpPr>
        <p:spPr/>
        <p:txBody>
          <a:bodyPr/>
          <a:lstStyle>
            <a:lvl1pPr>
              <a:defRPr/>
            </a:lvl1pPr>
          </a:lstStyle>
          <a:p>
            <a:pPr>
              <a:defRPr/>
            </a:pPr>
            <a:r>
              <a:rPr lang="en-US">
                <a:solidFill>
                  <a:prstClr val="white">
                    <a:alpha val="0"/>
                  </a:prstClr>
                </a:solidFill>
              </a:rPr>
              <a:t>Date</a:t>
            </a:r>
          </a:p>
        </p:txBody>
      </p:sp>
      <p:sp>
        <p:nvSpPr>
          <p:cNvPr id="12" name="Espace réservé du numéro de diapositive 10"/>
          <p:cNvSpPr>
            <a:spLocks noGrp="1"/>
          </p:cNvSpPr>
          <p:nvPr>
            <p:ph type="sldNum" sz="quarter" idx="21"/>
          </p:nvPr>
        </p:nvSpPr>
        <p:spPr/>
        <p:txBody>
          <a:bodyPr/>
          <a:lstStyle>
            <a:lvl1pPr>
              <a:defRPr sz="100">
                <a:solidFill>
                  <a:schemeClr val="bg1">
                    <a:alpha val="0"/>
                  </a:schemeClr>
                </a:solidFill>
              </a:defRPr>
            </a:lvl1pPr>
          </a:lstStyle>
          <a:p>
            <a:pPr>
              <a:defRPr/>
            </a:pPr>
            <a:r>
              <a:rPr lang="en-US">
                <a:solidFill>
                  <a:prstClr val="white">
                    <a:alpha val="0"/>
                  </a:prstClr>
                </a:solidFill>
              </a:rPr>
              <a:t>Page: </a:t>
            </a:r>
            <a:fld id="{168EB3F5-198F-4211-80D0-E690EB6CEA77}" type="slidenum">
              <a:rPr lang="en-US">
                <a:solidFill>
                  <a:prstClr val="white">
                    <a:alpha val="0"/>
                  </a:prstClr>
                </a:solidFill>
              </a:rPr>
              <a:pPr>
                <a:defRPr/>
              </a:pPr>
              <a:t>‹#›</a:t>
            </a:fld>
            <a:endParaRPr lang="en-US">
              <a:solidFill>
                <a:prstClr val="white">
                  <a:alpha val="0"/>
                </a:prstClr>
              </a:solidFill>
            </a:endParaRPr>
          </a:p>
        </p:txBody>
      </p:sp>
      <p:sp>
        <p:nvSpPr>
          <p:cNvPr id="14" name="Espace réservé du pied de page 11"/>
          <p:cNvSpPr>
            <a:spLocks noGrp="1"/>
          </p:cNvSpPr>
          <p:nvPr>
            <p:ph type="ftr" sz="quarter" idx="22"/>
          </p:nvPr>
        </p:nvSpPr>
        <p:spPr>
          <a:xfrm>
            <a:off x="468313" y="523875"/>
            <a:ext cx="4824412" cy="360363"/>
          </a:xfrm>
        </p:spPr>
        <p:txBody>
          <a:bodyPr/>
          <a:lstStyle>
            <a:lvl1pPr algn="l">
              <a:defRPr sz="1800" b="0">
                <a:solidFill>
                  <a:schemeClr val="bg1"/>
                </a:solidFill>
              </a:defRPr>
            </a:lvl1pPr>
          </a:lstStyle>
          <a:p>
            <a:pPr>
              <a:defRPr/>
            </a:pPr>
            <a:r>
              <a:rPr lang="en-US">
                <a:solidFill>
                  <a:prstClr val="white"/>
                </a:solidFill>
              </a:rPr>
              <a:t>#</a:t>
            </a:r>
            <a:r>
              <a:rPr lang="en-US" err="1">
                <a:solidFill>
                  <a:prstClr val="white"/>
                </a:solidFill>
              </a:rPr>
              <a:t>vaccineswork</a:t>
            </a:r>
            <a:endParaRPr lang="en-US">
              <a:solidFill>
                <a:prstClr val="white"/>
              </a:solidFill>
            </a:endParaRPr>
          </a:p>
        </p:txBody>
      </p:sp>
    </p:spTree>
    <p:extLst>
      <p:ext uri="{BB962C8B-B14F-4D97-AF65-F5344CB8AC3E}">
        <p14:creationId xmlns:p14="http://schemas.microsoft.com/office/powerpoint/2010/main" val="69167392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ver_Picture_2">
    <p:spTree>
      <p:nvGrpSpPr>
        <p:cNvPr id="1" name=""/>
        <p:cNvGrpSpPr/>
        <p:nvPr/>
      </p:nvGrpSpPr>
      <p:grpSpPr>
        <a:xfrm>
          <a:off x="0" y="0"/>
          <a:ext cx="0" cy="0"/>
          <a:chOff x="0" y="0"/>
          <a:chExt cx="0" cy="0"/>
        </a:xfrm>
      </p:grpSpPr>
      <p:pic>
        <p:nvPicPr>
          <p:cNvPr id="21" name="Image 20" descr="FD_1_L254.png"/>
          <p:cNvPicPr>
            <a:picLocks noChangeAspect="1"/>
          </p:cNvPicPr>
          <p:nvPr userDrawn="1"/>
        </p:nvPicPr>
        <p:blipFill>
          <a:blip r:embed="rId2" cstate="print"/>
          <a:stretch>
            <a:fillRect/>
          </a:stretch>
        </p:blipFill>
        <p:spPr bwMode="gray">
          <a:xfrm>
            <a:off x="1" y="0"/>
            <a:ext cx="9144000" cy="5157788"/>
          </a:xfrm>
          <a:prstGeom prst="rect">
            <a:avLst/>
          </a:prstGeom>
        </p:spPr>
      </p:pic>
      <p:sp>
        <p:nvSpPr>
          <p:cNvPr id="22" name="Rectangle 21"/>
          <p:cNvSpPr/>
          <p:nvPr userDrawn="1"/>
        </p:nvSpPr>
        <p:spPr bwMode="gray">
          <a:xfrm>
            <a:off x="3635375" y="5265204"/>
            <a:ext cx="5508625" cy="15927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pic>
        <p:nvPicPr>
          <p:cNvPr id="20" name="Image 19" descr="Bas_couv.png"/>
          <p:cNvPicPr>
            <a:picLocks noChangeAspect="1"/>
          </p:cNvPicPr>
          <p:nvPr userDrawn="1"/>
        </p:nvPicPr>
        <p:blipFill>
          <a:blip r:embed="rId3" cstate="print"/>
          <a:srcRect r="60243" b="722"/>
          <a:stretch>
            <a:fillRect/>
          </a:stretch>
        </p:blipFill>
        <p:spPr bwMode="gray">
          <a:xfrm>
            <a:off x="0" y="5172520"/>
            <a:ext cx="3635375" cy="1685480"/>
          </a:xfrm>
          <a:prstGeom prst="rect">
            <a:avLst/>
          </a:prstGeom>
        </p:spPr>
      </p:pic>
      <p:sp>
        <p:nvSpPr>
          <p:cNvPr id="9" name="Espace réservé du texte 8"/>
          <p:cNvSpPr>
            <a:spLocks noGrp="1"/>
          </p:cNvSpPr>
          <p:nvPr>
            <p:ph type="body" sz="quarter" idx="13" hasCustomPrompt="1"/>
          </p:nvPr>
        </p:nvSpPr>
        <p:spPr bwMode="gray">
          <a:xfrm>
            <a:off x="468000" y="1036800"/>
            <a:ext cx="4824412" cy="2232000"/>
          </a:xfrm>
        </p:spPr>
        <p:txBody>
          <a:bodyPr anchor="b" anchorCtr="0"/>
          <a:lstStyle>
            <a:lvl1pPr marL="0" indent="0" algn="l">
              <a:lnSpc>
                <a:spcPct val="90000"/>
              </a:lnSpc>
              <a:buNone/>
              <a:defRPr sz="2800" b="1" cap="none" baseline="0">
                <a:solidFill>
                  <a:schemeClr val="bg1"/>
                </a:solidFill>
              </a:defRPr>
            </a:lvl1pPr>
            <a:lvl2pPr marL="0" algn="ctr">
              <a:lnSpc>
                <a:spcPct val="100000"/>
              </a:lnSpc>
              <a:spcBef>
                <a:spcPts val="6900"/>
              </a:spcBef>
              <a:defRPr sz="2000" b="1">
                <a:solidFill>
                  <a:schemeClr val="bg1"/>
                </a:solidFill>
              </a:defRPr>
            </a:lvl2pPr>
          </a:lstStyle>
          <a:p>
            <a:pPr lvl="0"/>
            <a:r>
              <a:rPr lang="en-US" noProof="0"/>
              <a:t>TITLE</a:t>
            </a:r>
          </a:p>
        </p:txBody>
      </p:sp>
      <p:sp>
        <p:nvSpPr>
          <p:cNvPr id="8" name="Espace réservé du texte 8"/>
          <p:cNvSpPr>
            <a:spLocks noGrp="1"/>
          </p:cNvSpPr>
          <p:nvPr>
            <p:ph type="body" sz="quarter" idx="14" hasCustomPrompt="1"/>
          </p:nvPr>
        </p:nvSpPr>
        <p:spPr bwMode="gray">
          <a:xfrm>
            <a:off x="468314" y="3585600"/>
            <a:ext cx="3592800" cy="1479600"/>
          </a:xfrm>
        </p:spPr>
        <p:txBody>
          <a:bodyPr anchor="t" anchorCtr="0"/>
          <a:lstStyle>
            <a:lvl1pPr marL="0" indent="0" algn="l">
              <a:lnSpc>
                <a:spcPct val="90000"/>
              </a:lnSpc>
              <a:buNone/>
              <a:defRPr sz="2000" b="0" baseline="0">
                <a:solidFill>
                  <a:schemeClr val="bg1"/>
                </a:solidFill>
              </a:defRPr>
            </a:lvl1pPr>
            <a:lvl2pPr marL="0" algn="ctr">
              <a:lnSpc>
                <a:spcPct val="100000"/>
              </a:lnSpc>
              <a:spcBef>
                <a:spcPts val="6900"/>
              </a:spcBef>
              <a:defRPr sz="2000" b="1">
                <a:solidFill>
                  <a:schemeClr val="bg1"/>
                </a:solidFill>
              </a:defRPr>
            </a:lvl2pPr>
          </a:lstStyle>
          <a:p>
            <a:pPr lvl="0"/>
            <a:r>
              <a:rPr lang="en-US" noProof="0"/>
              <a:t>SUBTITLE</a:t>
            </a:r>
          </a:p>
        </p:txBody>
      </p:sp>
      <p:sp>
        <p:nvSpPr>
          <p:cNvPr id="10" name="Espace réservé de la date 9"/>
          <p:cNvSpPr>
            <a:spLocks noGrp="1"/>
          </p:cNvSpPr>
          <p:nvPr>
            <p:ph type="dt" sz="half" idx="15"/>
          </p:nvPr>
        </p:nvSpPr>
        <p:spPr bwMode="gray"/>
        <p:txBody>
          <a:bodyPr/>
          <a:lstStyle/>
          <a:p>
            <a:r>
              <a:rPr lang="en-US" noProof="0"/>
              <a:t>Date</a:t>
            </a:r>
          </a:p>
        </p:txBody>
      </p:sp>
      <p:sp>
        <p:nvSpPr>
          <p:cNvPr id="11" name="Espace réservé du numéro de diapositive 10"/>
          <p:cNvSpPr>
            <a:spLocks noGrp="1"/>
          </p:cNvSpPr>
          <p:nvPr>
            <p:ph type="sldNum" sz="quarter" idx="16"/>
          </p:nvPr>
        </p:nvSpPr>
        <p:spPr bwMode="gray"/>
        <p:txBody>
          <a:bodyPr/>
          <a:lstStyle>
            <a:lvl1pPr>
              <a:defRPr sz="100">
                <a:solidFill>
                  <a:schemeClr val="bg1">
                    <a:alpha val="0"/>
                  </a:schemeClr>
                </a:solidFill>
              </a:defRPr>
            </a:lvl1pPr>
          </a:lstStyle>
          <a:p>
            <a:pPr algn="l"/>
            <a:r>
              <a:rPr lang="en-US" noProof="0"/>
              <a:t>Page: </a:t>
            </a:r>
            <a:fld id="{733122C9-A0B9-462F-8757-0847AD287B63}" type="slidenum">
              <a:rPr lang="en-US" noProof="0" smtClean="0"/>
              <a:pPr algn="l"/>
              <a:t>‹#›</a:t>
            </a:fld>
            <a:endParaRPr lang="en-US" noProof="0"/>
          </a:p>
        </p:txBody>
      </p:sp>
      <p:sp>
        <p:nvSpPr>
          <p:cNvPr id="12" name="Espace réservé du pied de page 11"/>
          <p:cNvSpPr>
            <a:spLocks noGrp="1"/>
          </p:cNvSpPr>
          <p:nvPr>
            <p:ph type="ftr" sz="quarter" idx="17"/>
          </p:nvPr>
        </p:nvSpPr>
        <p:spPr bwMode="gray">
          <a:xfrm>
            <a:off x="468312" y="524188"/>
            <a:ext cx="4824413" cy="360000"/>
          </a:xfrm>
        </p:spPr>
        <p:txBody>
          <a:bodyPr/>
          <a:lstStyle>
            <a:lvl1pPr algn="l">
              <a:defRPr sz="1800" b="0">
                <a:solidFill>
                  <a:schemeClr val="bg1"/>
                </a:solidFill>
              </a:defRPr>
            </a:lvl1pPr>
          </a:lstStyle>
          <a:p>
            <a:r>
              <a:rPr lang="en-US" noProof="0"/>
              <a:t>#add your hashtag</a:t>
            </a:r>
          </a:p>
        </p:txBody>
      </p:sp>
      <p:sp>
        <p:nvSpPr>
          <p:cNvPr id="15" name="Espace réservé du texte 14"/>
          <p:cNvSpPr>
            <a:spLocks noGrp="1"/>
          </p:cNvSpPr>
          <p:nvPr>
            <p:ph type="body" sz="quarter" idx="19" hasCustomPrompt="1"/>
          </p:nvPr>
        </p:nvSpPr>
        <p:spPr bwMode="gray">
          <a:xfrm>
            <a:off x="3635376" y="6021388"/>
            <a:ext cx="5113338" cy="324000"/>
          </a:xfrm>
        </p:spPr>
        <p:txBody>
          <a:bodyPr anchor="b" anchorCtr="0"/>
          <a:lstStyle>
            <a:lvl1pPr algn="r">
              <a:lnSpc>
                <a:spcPct val="100000"/>
              </a:lnSpc>
              <a:defRPr sz="1000" b="1">
                <a:solidFill>
                  <a:schemeClr val="accent2"/>
                </a:solidFill>
              </a:defRPr>
            </a:lvl1pPr>
          </a:lstStyle>
          <a:p>
            <a:pPr lvl="0"/>
            <a:r>
              <a:rPr lang="en-US" noProof="0"/>
              <a:t>Write your claim here</a:t>
            </a:r>
          </a:p>
        </p:txBody>
      </p:sp>
      <p:sp>
        <p:nvSpPr>
          <p:cNvPr id="16" name="Rectangle 15"/>
          <p:cNvSpPr/>
          <p:nvPr userDrawn="1"/>
        </p:nvSpPr>
        <p:spPr bwMode="gray">
          <a:xfrm>
            <a:off x="3635375" y="6354202"/>
            <a:ext cx="5113338" cy="2872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r"/>
            <a:r>
              <a:rPr lang="en-US" sz="1000" noProof="0">
                <a:solidFill>
                  <a:schemeClr val="accent3"/>
                </a:solidFill>
              </a:rPr>
              <a:t>www.gavi.org</a:t>
            </a:r>
          </a:p>
        </p:txBody>
      </p:sp>
      <p:sp>
        <p:nvSpPr>
          <p:cNvPr id="17" name="Espace réservé du texte 16"/>
          <p:cNvSpPr>
            <a:spLocks noGrp="1"/>
          </p:cNvSpPr>
          <p:nvPr>
            <p:ph type="body" sz="quarter" idx="20" hasCustomPrompt="1"/>
          </p:nvPr>
        </p:nvSpPr>
        <p:spPr bwMode="gray">
          <a:xfrm>
            <a:off x="0" y="5157788"/>
            <a:ext cx="9144000" cy="287337"/>
          </a:xfrm>
          <a:solidFill>
            <a:schemeClr val="bg1"/>
          </a:solidFill>
        </p:spPr>
        <p:txBody>
          <a:bodyPr/>
          <a:lstStyle>
            <a:lvl1pPr>
              <a:defRPr sz="100" b="0">
                <a:solidFill>
                  <a:schemeClr val="bg1">
                    <a:alpha val="0"/>
                  </a:schemeClr>
                </a:solidFill>
              </a:defRPr>
            </a:lvl1pPr>
          </a:lstStyle>
          <a:p>
            <a:pPr lvl="0"/>
            <a:r>
              <a:rPr lang="en-US" noProof="0"/>
              <a:t> </a:t>
            </a:r>
          </a:p>
        </p:txBody>
      </p:sp>
      <p:sp>
        <p:nvSpPr>
          <p:cNvPr id="18" name="Espace réservé pour une image  17"/>
          <p:cNvSpPr>
            <a:spLocks noGrp="1"/>
          </p:cNvSpPr>
          <p:nvPr>
            <p:ph type="pic" sz="quarter" idx="18" hasCustomPrompt="1"/>
          </p:nvPr>
        </p:nvSpPr>
        <p:spPr bwMode="gray">
          <a:xfrm>
            <a:off x="4192588" y="0"/>
            <a:ext cx="4951412" cy="5162400"/>
          </a:xfrm>
          <a:custGeom>
            <a:avLst/>
            <a:gdLst>
              <a:gd name="connsiteX0" fmla="*/ 0 w 3851275"/>
              <a:gd name="connsiteY0" fmla="*/ 0 h 5157788"/>
              <a:gd name="connsiteX1" fmla="*/ 3851275 w 3851275"/>
              <a:gd name="connsiteY1" fmla="*/ 0 h 5157788"/>
              <a:gd name="connsiteX2" fmla="*/ 3851275 w 3851275"/>
              <a:gd name="connsiteY2" fmla="*/ 5157788 h 5157788"/>
              <a:gd name="connsiteX3" fmla="*/ 0 w 3851275"/>
              <a:gd name="connsiteY3" fmla="*/ 5157788 h 5157788"/>
              <a:gd name="connsiteX4" fmla="*/ 0 w 3851275"/>
              <a:gd name="connsiteY4"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0 w 3851275"/>
              <a:gd name="connsiteY3" fmla="*/ 5157788 h 5157788"/>
              <a:gd name="connsiteX4" fmla="*/ 1692275 w 3851275"/>
              <a:gd name="connsiteY4" fmla="*/ 0 h 5157788"/>
              <a:gd name="connsiteX0" fmla="*/ 0 w 2159000"/>
              <a:gd name="connsiteY0" fmla="*/ 0 h 5157788"/>
              <a:gd name="connsiteX1" fmla="*/ 2159000 w 2159000"/>
              <a:gd name="connsiteY1" fmla="*/ 0 h 5157788"/>
              <a:gd name="connsiteX2" fmla="*/ 2159000 w 2159000"/>
              <a:gd name="connsiteY2" fmla="*/ 5157788 h 5157788"/>
              <a:gd name="connsiteX3" fmla="*/ 0 w 2159000"/>
              <a:gd name="connsiteY3" fmla="*/ 5157788 h 5157788"/>
              <a:gd name="connsiteX4" fmla="*/ 0 w 2159000"/>
              <a:gd name="connsiteY4" fmla="*/ 0 h 5157788"/>
              <a:gd name="connsiteX0" fmla="*/ 2625271 w 4784271"/>
              <a:gd name="connsiteY0" fmla="*/ 0 h 5157788"/>
              <a:gd name="connsiteX1" fmla="*/ 4784271 w 4784271"/>
              <a:gd name="connsiteY1" fmla="*/ 0 h 5157788"/>
              <a:gd name="connsiteX2" fmla="*/ 4784271 w 4784271"/>
              <a:gd name="connsiteY2" fmla="*/ 5157788 h 5157788"/>
              <a:gd name="connsiteX3" fmla="*/ 2625271 w 4784271"/>
              <a:gd name="connsiteY3" fmla="*/ 5157788 h 5157788"/>
              <a:gd name="connsiteX4" fmla="*/ 2625271 w 4784271"/>
              <a:gd name="connsiteY4" fmla="*/ 0 h 5157788"/>
              <a:gd name="connsiteX0" fmla="*/ 2625271 w 4784271"/>
              <a:gd name="connsiteY0" fmla="*/ 0 h 5157788"/>
              <a:gd name="connsiteX1" fmla="*/ 4784271 w 4784271"/>
              <a:gd name="connsiteY1" fmla="*/ 0 h 5157788"/>
              <a:gd name="connsiteX2" fmla="*/ 4784271 w 4784271"/>
              <a:gd name="connsiteY2" fmla="*/ 5157788 h 5157788"/>
              <a:gd name="connsiteX3" fmla="*/ 2625271 w 4784271"/>
              <a:gd name="connsiteY3" fmla="*/ 5157788 h 5157788"/>
              <a:gd name="connsiteX4" fmla="*/ 2625271 w 4784271"/>
              <a:gd name="connsiteY4" fmla="*/ 0 h 5157788"/>
              <a:gd name="connsiteX0" fmla="*/ 3568576 w 5727576"/>
              <a:gd name="connsiteY0" fmla="*/ 0 h 5157788"/>
              <a:gd name="connsiteX1" fmla="*/ 5727576 w 5727576"/>
              <a:gd name="connsiteY1" fmla="*/ 0 h 5157788"/>
              <a:gd name="connsiteX2" fmla="*/ 5727576 w 5727576"/>
              <a:gd name="connsiteY2" fmla="*/ 5157788 h 5157788"/>
              <a:gd name="connsiteX3" fmla="*/ 3568576 w 5727576"/>
              <a:gd name="connsiteY3" fmla="*/ 5157788 h 5157788"/>
              <a:gd name="connsiteX4" fmla="*/ 3568576 w 5727576"/>
              <a:gd name="connsiteY4" fmla="*/ 0 h 5157788"/>
              <a:gd name="connsiteX0" fmla="*/ 3306355 w 5465355"/>
              <a:gd name="connsiteY0" fmla="*/ 0 h 5157788"/>
              <a:gd name="connsiteX1" fmla="*/ 5465355 w 5465355"/>
              <a:gd name="connsiteY1" fmla="*/ 0 h 5157788"/>
              <a:gd name="connsiteX2" fmla="*/ 5465355 w 5465355"/>
              <a:gd name="connsiteY2" fmla="*/ 5157788 h 5157788"/>
              <a:gd name="connsiteX3" fmla="*/ 3306355 w 5465355"/>
              <a:gd name="connsiteY3" fmla="*/ 5157788 h 5157788"/>
              <a:gd name="connsiteX4" fmla="*/ 3306355 w 5465355"/>
              <a:gd name="connsiteY4" fmla="*/ 0 h 5157788"/>
              <a:gd name="connsiteX0" fmla="*/ 1416957 w 3575957"/>
              <a:gd name="connsiteY0" fmla="*/ 0 h 5157788"/>
              <a:gd name="connsiteX1" fmla="*/ 3575957 w 3575957"/>
              <a:gd name="connsiteY1" fmla="*/ 0 h 5157788"/>
              <a:gd name="connsiteX2" fmla="*/ 3575957 w 3575957"/>
              <a:gd name="connsiteY2" fmla="*/ 5157788 h 5157788"/>
              <a:gd name="connsiteX3" fmla="*/ 1416957 w 3575957"/>
              <a:gd name="connsiteY3" fmla="*/ 5157788 h 5157788"/>
              <a:gd name="connsiteX4" fmla="*/ 0 w 3575957"/>
              <a:gd name="connsiteY4" fmla="*/ 3339193 h 5157788"/>
              <a:gd name="connsiteX5" fmla="*/ 1416957 w 3575957"/>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6017419"/>
              <a:gd name="connsiteX1" fmla="*/ 3851275 w 3851275"/>
              <a:gd name="connsiteY1" fmla="*/ 0 h 6017419"/>
              <a:gd name="connsiteX2" fmla="*/ 3851275 w 3851275"/>
              <a:gd name="connsiteY2" fmla="*/ 5157788 h 6017419"/>
              <a:gd name="connsiteX3" fmla="*/ 1692275 w 3851275"/>
              <a:gd name="connsiteY3" fmla="*/ 5157788 h 6017419"/>
              <a:gd name="connsiteX4" fmla="*/ 0 w 3851275"/>
              <a:gd name="connsiteY4" fmla="*/ 3284984 h 6017419"/>
              <a:gd name="connsiteX5" fmla="*/ 1692275 w 3851275"/>
              <a:gd name="connsiteY5" fmla="*/ 0 h 6017419"/>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429000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429000 h 5157788"/>
              <a:gd name="connsiteX5" fmla="*/ 1710871 w 3869871"/>
              <a:gd name="connsiteY5" fmla="*/ 0 h 5157788"/>
              <a:gd name="connsiteX0" fmla="*/ 1704975 w 3863975"/>
              <a:gd name="connsiteY0" fmla="*/ 0 h 5157788"/>
              <a:gd name="connsiteX1" fmla="*/ 3863975 w 3863975"/>
              <a:gd name="connsiteY1" fmla="*/ 0 h 5157788"/>
              <a:gd name="connsiteX2" fmla="*/ 3863975 w 3863975"/>
              <a:gd name="connsiteY2" fmla="*/ 5157788 h 5157788"/>
              <a:gd name="connsiteX3" fmla="*/ 1704975 w 3863975"/>
              <a:gd name="connsiteY3" fmla="*/ 5157788 h 5157788"/>
              <a:gd name="connsiteX4" fmla="*/ 12700 w 3863975"/>
              <a:gd name="connsiteY4" fmla="*/ 3429000 h 5157788"/>
              <a:gd name="connsiteX5" fmla="*/ 1704975 w 3863975"/>
              <a:gd name="connsiteY5" fmla="*/ 0 h 5157788"/>
              <a:gd name="connsiteX0" fmla="*/ 1707243 w 3866243"/>
              <a:gd name="connsiteY0" fmla="*/ 0 h 5157788"/>
              <a:gd name="connsiteX1" fmla="*/ 3866243 w 3866243"/>
              <a:gd name="connsiteY1" fmla="*/ 0 h 5157788"/>
              <a:gd name="connsiteX2" fmla="*/ 3866243 w 3866243"/>
              <a:gd name="connsiteY2" fmla="*/ 5157788 h 5157788"/>
              <a:gd name="connsiteX3" fmla="*/ 1707243 w 3866243"/>
              <a:gd name="connsiteY3" fmla="*/ 5157788 h 5157788"/>
              <a:gd name="connsiteX4" fmla="*/ 14968 w 3866243"/>
              <a:gd name="connsiteY4" fmla="*/ 3429000 h 5157788"/>
              <a:gd name="connsiteX5" fmla="*/ 1707243 w 3866243"/>
              <a:gd name="connsiteY5" fmla="*/ 0 h 5157788"/>
              <a:gd name="connsiteX0" fmla="*/ 1130447 w 3866243"/>
              <a:gd name="connsiteY0" fmla="*/ 0 h 5157788"/>
              <a:gd name="connsiteX1" fmla="*/ 3866243 w 3866243"/>
              <a:gd name="connsiteY1" fmla="*/ 0 h 5157788"/>
              <a:gd name="connsiteX2" fmla="*/ 3866243 w 3866243"/>
              <a:gd name="connsiteY2" fmla="*/ 5157788 h 5157788"/>
              <a:gd name="connsiteX3" fmla="*/ 1707243 w 3866243"/>
              <a:gd name="connsiteY3" fmla="*/ 5157788 h 5157788"/>
              <a:gd name="connsiteX4" fmla="*/ 14968 w 3866243"/>
              <a:gd name="connsiteY4" fmla="*/ 3429000 h 5157788"/>
              <a:gd name="connsiteX5" fmla="*/ 1130447 w 3866243"/>
              <a:gd name="connsiteY5" fmla="*/ 0 h 5157788"/>
              <a:gd name="connsiteX0" fmla="*/ 2746143 w 5481939"/>
              <a:gd name="connsiteY0" fmla="*/ 0 h 5157788"/>
              <a:gd name="connsiteX1" fmla="*/ 5481939 w 5481939"/>
              <a:gd name="connsiteY1" fmla="*/ 0 h 5157788"/>
              <a:gd name="connsiteX2" fmla="*/ 5481939 w 5481939"/>
              <a:gd name="connsiteY2" fmla="*/ 5157788 h 5157788"/>
              <a:gd name="connsiteX3" fmla="*/ 585903 w 5481939"/>
              <a:gd name="connsiteY3" fmla="*/ 5153180 h 5157788"/>
              <a:gd name="connsiteX4" fmla="*/ 1630664 w 5481939"/>
              <a:gd name="connsiteY4" fmla="*/ 3429000 h 5157788"/>
              <a:gd name="connsiteX5" fmla="*/ 2746143 w 5481939"/>
              <a:gd name="connsiteY5" fmla="*/ 0 h 5157788"/>
              <a:gd name="connsiteX0" fmla="*/ 2746143 w 5481939"/>
              <a:gd name="connsiteY0" fmla="*/ 0 h 5157788"/>
              <a:gd name="connsiteX1" fmla="*/ 5481939 w 5481939"/>
              <a:gd name="connsiteY1" fmla="*/ 0 h 5157788"/>
              <a:gd name="connsiteX2" fmla="*/ 5481939 w 5481939"/>
              <a:gd name="connsiteY2" fmla="*/ 5157788 h 5157788"/>
              <a:gd name="connsiteX3" fmla="*/ 585903 w 5481939"/>
              <a:gd name="connsiteY3" fmla="*/ 5153180 h 5157788"/>
              <a:gd name="connsiteX4" fmla="*/ 1630664 w 5481939"/>
              <a:gd name="connsiteY4" fmla="*/ 3429000 h 5157788"/>
              <a:gd name="connsiteX5" fmla="*/ 2746143 w 548193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3574235 w 6310031"/>
              <a:gd name="connsiteY0" fmla="*/ 0 h 5157788"/>
              <a:gd name="connsiteX1" fmla="*/ 6310031 w 6310031"/>
              <a:gd name="connsiteY1" fmla="*/ 0 h 5157788"/>
              <a:gd name="connsiteX2" fmla="*/ 6310031 w 6310031"/>
              <a:gd name="connsiteY2" fmla="*/ 5157788 h 5157788"/>
              <a:gd name="connsiteX3" fmla="*/ 585903 w 6310031"/>
              <a:gd name="connsiteY3" fmla="*/ 5153180 h 5157788"/>
              <a:gd name="connsiteX4" fmla="*/ 1738031 w 6310031"/>
              <a:gd name="connsiteY4" fmla="*/ 3389965 h 5157788"/>
              <a:gd name="connsiteX5" fmla="*/ 3574235 w 6310031"/>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296143 w 5724128"/>
              <a:gd name="connsiteY4" fmla="*/ 3461908 h 5157788"/>
              <a:gd name="connsiteX5" fmla="*/ 2988332 w 5724128"/>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1188132 w 5760132"/>
              <a:gd name="connsiteY4" fmla="*/ 3425937 h 5157788"/>
              <a:gd name="connsiteX5" fmla="*/ 3024336 w 5760132"/>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2736304 w 5760132"/>
              <a:gd name="connsiteY4" fmla="*/ 3461908 h 5157788"/>
              <a:gd name="connsiteX5" fmla="*/ 3024336 w 5760132"/>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2736304 w 5760132"/>
              <a:gd name="connsiteY4" fmla="*/ 3461908 h 5157788"/>
              <a:gd name="connsiteX5" fmla="*/ 3024336 w 5760132"/>
              <a:gd name="connsiteY5" fmla="*/ 0 h 5157788"/>
              <a:gd name="connsiteX0" fmla="*/ 2160240 w 4896036"/>
              <a:gd name="connsiteY0" fmla="*/ 0 h 5157788"/>
              <a:gd name="connsiteX1" fmla="*/ 4896036 w 4896036"/>
              <a:gd name="connsiteY1" fmla="*/ 0 h 5157788"/>
              <a:gd name="connsiteX2" fmla="*/ 4896036 w 4896036"/>
              <a:gd name="connsiteY2" fmla="*/ 5157788 h 5157788"/>
              <a:gd name="connsiteX3" fmla="*/ 0 w 4896036"/>
              <a:gd name="connsiteY3" fmla="*/ 5153180 h 5157788"/>
              <a:gd name="connsiteX4" fmla="*/ 1872208 w 4896036"/>
              <a:gd name="connsiteY4" fmla="*/ 3461908 h 5157788"/>
              <a:gd name="connsiteX5" fmla="*/ 2160240 w 4896036"/>
              <a:gd name="connsiteY5" fmla="*/ 0 h 5157788"/>
              <a:gd name="connsiteX0" fmla="*/ 2232248 w 4968044"/>
              <a:gd name="connsiteY0" fmla="*/ 0 h 5157788"/>
              <a:gd name="connsiteX1" fmla="*/ 4968044 w 4968044"/>
              <a:gd name="connsiteY1" fmla="*/ 0 h 5157788"/>
              <a:gd name="connsiteX2" fmla="*/ 4968044 w 4968044"/>
              <a:gd name="connsiteY2" fmla="*/ 5157788 h 5157788"/>
              <a:gd name="connsiteX3" fmla="*/ 0 w 4968044"/>
              <a:gd name="connsiteY3" fmla="*/ 5153180 h 5157788"/>
              <a:gd name="connsiteX4" fmla="*/ 1944216 w 4968044"/>
              <a:gd name="connsiteY4" fmla="*/ 3461908 h 5157788"/>
              <a:gd name="connsiteX5" fmla="*/ 2232248 w 4968044"/>
              <a:gd name="connsiteY5" fmla="*/ 0 h 5157788"/>
              <a:gd name="connsiteX0" fmla="*/ 2207679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207679 w 4943475"/>
              <a:gd name="connsiteY5" fmla="*/ 0 h 5157788"/>
              <a:gd name="connsiteX0" fmla="*/ 2963763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963763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092200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71575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343583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675731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675731 w 4943475"/>
              <a:gd name="connsiteY5" fmla="*/ 0 h 5157788"/>
              <a:gd name="connsiteX0" fmla="*/ 2675731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675731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9672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19672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51412" h="5157788">
                <a:moveTo>
                  <a:pt x="2706687" y="0"/>
                </a:moveTo>
                <a:lnTo>
                  <a:pt x="4951412" y="0"/>
                </a:lnTo>
                <a:lnTo>
                  <a:pt x="4951412" y="5157788"/>
                </a:lnTo>
                <a:lnTo>
                  <a:pt x="0" y="5153180"/>
                </a:lnTo>
                <a:cubicBezTo>
                  <a:pt x="84411" y="4542509"/>
                  <a:pt x="183041" y="4024723"/>
                  <a:pt x="1243508" y="2562613"/>
                </a:cubicBezTo>
                <a:cubicBezTo>
                  <a:pt x="1867447" y="1704780"/>
                  <a:pt x="2665955" y="709265"/>
                  <a:pt x="2706687" y="0"/>
                </a:cubicBezTo>
                <a:close/>
              </a:path>
            </a:pathLst>
          </a:custGeom>
          <a:solidFill>
            <a:schemeClr val="bg2"/>
          </a:solidFill>
          <a:ln w="3175">
            <a:noFill/>
          </a:ln>
        </p:spPr>
        <p:txBody>
          <a:bodyPr tIns="720000" anchor="ctr" anchorCtr="0"/>
          <a:lstStyle>
            <a:lvl1pPr algn="ctr">
              <a:defRPr sz="1500">
                <a:solidFill>
                  <a:schemeClr val="bg1"/>
                </a:solidFill>
              </a:defRPr>
            </a:lvl1pPr>
          </a:lstStyle>
          <a:p>
            <a:r>
              <a:rPr lang="en-US" noProof="0"/>
              <a:t>Select your own photo</a:t>
            </a:r>
          </a:p>
        </p:txBody>
      </p:sp>
      <p:sp>
        <p:nvSpPr>
          <p:cNvPr id="19" name="Rectangle 18"/>
          <p:cNvSpPr/>
          <p:nvPr userDrawn="1"/>
        </p:nvSpPr>
        <p:spPr bwMode="gray">
          <a:xfrm>
            <a:off x="468313" y="3391895"/>
            <a:ext cx="2448000" cy="252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Text and Visual">
    <p:spTree>
      <p:nvGrpSpPr>
        <p:cNvPr id="1" name=""/>
        <p:cNvGrpSpPr/>
        <p:nvPr/>
      </p:nvGrpSpPr>
      <p:grpSpPr>
        <a:xfrm>
          <a:off x="0" y="0"/>
          <a:ext cx="0" cy="0"/>
          <a:chOff x="0" y="0"/>
          <a:chExt cx="0" cy="0"/>
        </a:xfrm>
      </p:grpSpPr>
      <p:sp>
        <p:nvSpPr>
          <p:cNvPr id="2" name="Title 1"/>
          <p:cNvSpPr>
            <a:spLocks noGrp="1"/>
          </p:cNvSpPr>
          <p:nvPr>
            <p:ph type="title"/>
          </p:nvPr>
        </p:nvSpPr>
        <p:spPr>
          <a:xfrm>
            <a:off x="973138" y="225211"/>
            <a:ext cx="7207249" cy="697999"/>
          </a:xfrm>
        </p:spPr>
        <p:txBody>
          <a:bodyPr/>
          <a:lstStyle/>
          <a:p>
            <a:r>
              <a:rPr lang="en-US"/>
              <a:t>Click to edit Master title style</a:t>
            </a:r>
          </a:p>
        </p:txBody>
      </p:sp>
      <p:sp>
        <p:nvSpPr>
          <p:cNvPr id="4" name="Content Placeholder 3"/>
          <p:cNvSpPr>
            <a:spLocks noGrp="1"/>
          </p:cNvSpPr>
          <p:nvPr>
            <p:ph sz="half" idx="2"/>
          </p:nvPr>
        </p:nvSpPr>
        <p:spPr>
          <a:xfrm>
            <a:off x="3425825" y="2302159"/>
            <a:ext cx="4754564" cy="2541673"/>
          </a:xfrm>
        </p:spPr>
        <p:txBody>
          <a:bodyPr/>
          <a:lstStyle>
            <a:lvl1pPr>
              <a:defRPr sz="1600"/>
            </a:lvl1pPr>
            <a:lvl2pPr marL="457200" indent="0">
              <a:buNone/>
              <a:defRPr sz="1600"/>
            </a:lvl2pPr>
            <a:lvl3pPr marL="914400" indent="0">
              <a:buNone/>
              <a:defRPr sz="1600"/>
            </a:lvl3pPr>
            <a:lvl4pPr marL="1371600" indent="0">
              <a:buNone/>
              <a:defRPr sz="1600"/>
            </a:lvl4pPr>
            <a:lvl5pPr marL="1828800" indent="0">
              <a:buNone/>
              <a:defRPr sz="16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p:cNvSpPr>
            <a:spLocks noGrp="1"/>
          </p:cNvSpPr>
          <p:nvPr>
            <p:ph type="pic" sz="quarter" idx="13"/>
          </p:nvPr>
        </p:nvSpPr>
        <p:spPr>
          <a:xfrm>
            <a:off x="973138" y="1247776"/>
            <a:ext cx="2300287" cy="3450384"/>
          </a:xfrm>
        </p:spPr>
        <p:txBody>
          <a:bodyPr rtlCol="0">
            <a:noAutofit/>
          </a:bodyPr>
          <a:lstStyle/>
          <a:p>
            <a:pPr lvl="0"/>
            <a:endParaRPr lang="en-US" noProof="0"/>
          </a:p>
        </p:txBody>
      </p:sp>
      <p:sp>
        <p:nvSpPr>
          <p:cNvPr id="10" name="Content Placeholder 3"/>
          <p:cNvSpPr>
            <a:spLocks noGrp="1"/>
          </p:cNvSpPr>
          <p:nvPr>
            <p:ph sz="half" idx="14"/>
          </p:nvPr>
        </p:nvSpPr>
        <p:spPr>
          <a:xfrm>
            <a:off x="3425825" y="1241426"/>
            <a:ext cx="4754564" cy="879316"/>
          </a:xfrm>
        </p:spPr>
        <p:txBody>
          <a:bodyPr/>
          <a:lstStyle>
            <a:lvl1pPr marL="0" indent="0">
              <a:buNone/>
              <a:defRPr sz="1600">
                <a:solidFill>
                  <a:srgbClr val="005CB9"/>
                </a:solidFill>
              </a:defRPr>
            </a:lvl1pPr>
            <a:lvl2pPr marL="457200" indent="0">
              <a:buNone/>
              <a:defRPr sz="1400">
                <a:solidFill>
                  <a:srgbClr val="005CB9"/>
                </a:solidFill>
              </a:defRPr>
            </a:lvl2pPr>
            <a:lvl3pPr marL="914400" indent="0">
              <a:buNone/>
              <a:defRPr sz="1400">
                <a:solidFill>
                  <a:srgbClr val="005CB9"/>
                </a:solidFill>
              </a:defRPr>
            </a:lvl3pPr>
            <a:lvl4pPr marL="1371600" indent="0">
              <a:buNone/>
              <a:defRPr sz="1400">
                <a:solidFill>
                  <a:srgbClr val="005CB9"/>
                </a:solidFill>
              </a:defRPr>
            </a:lvl4pPr>
            <a:lvl5pPr marL="1828800" indent="0">
              <a:buNone/>
              <a:defRPr sz="1400">
                <a:solidFill>
                  <a:srgbClr val="005CB9"/>
                </a:solidFill>
              </a:defRPr>
            </a:lvl5pPr>
            <a:lvl6pPr>
              <a:defRPr sz="1800"/>
            </a:lvl6pPr>
            <a:lvl7pPr>
              <a:defRPr sz="1800"/>
            </a:lvl7pPr>
            <a:lvl8pPr>
              <a:defRPr sz="1800"/>
            </a:lvl8pPr>
            <a:lvl9pPr>
              <a:defRPr sz="1800"/>
            </a:lvl9pPr>
          </a:lstStyle>
          <a:p>
            <a:pPr lvl="0"/>
            <a:r>
              <a:rPr lang="en-US"/>
              <a:t>Click to edit Master text styles</a:t>
            </a:r>
          </a:p>
        </p:txBody>
      </p:sp>
      <p:sp>
        <p:nvSpPr>
          <p:cNvPr id="6" name="Footer Placeholder 5"/>
          <p:cNvSpPr>
            <a:spLocks noGrp="1"/>
          </p:cNvSpPr>
          <p:nvPr>
            <p:ph type="ftr" sz="quarter" idx="15"/>
          </p:nvPr>
        </p:nvSpPr>
        <p:spPr/>
        <p:txBody>
          <a:bodyPr/>
          <a:lstStyle>
            <a:lvl1pPr>
              <a:defRPr/>
            </a:lvl1pPr>
          </a:lstStyle>
          <a:p>
            <a:pPr>
              <a:defRPr/>
            </a:pPr>
            <a:r>
              <a:rPr lang="en-US">
                <a:solidFill>
                  <a:srgbClr val="005CB9"/>
                </a:solidFill>
              </a:rPr>
              <a:t>Basic facts about </a:t>
            </a:r>
            <a:r>
              <a:rPr lang="en-US" err="1">
                <a:solidFill>
                  <a:srgbClr val="005CB9"/>
                </a:solidFill>
              </a:rPr>
              <a:t>Gavi</a:t>
            </a:r>
            <a:r>
              <a:rPr lang="en-US">
                <a:solidFill>
                  <a:srgbClr val="005CB9"/>
                </a:solidFill>
              </a:rPr>
              <a:t> the Vaccine Alliance</a:t>
            </a:r>
          </a:p>
        </p:txBody>
      </p:sp>
      <p:sp>
        <p:nvSpPr>
          <p:cNvPr id="7" name="Slide Number Placeholder 6"/>
          <p:cNvSpPr>
            <a:spLocks noGrp="1"/>
          </p:cNvSpPr>
          <p:nvPr>
            <p:ph type="sldNum" sz="quarter" idx="16"/>
          </p:nvPr>
        </p:nvSpPr>
        <p:spPr/>
        <p:txBody>
          <a:bodyPr/>
          <a:lstStyle>
            <a:lvl1pPr algn="ctr">
              <a:defRPr/>
            </a:lvl1pPr>
          </a:lstStyle>
          <a:p>
            <a:pPr>
              <a:defRPr/>
            </a:pPr>
            <a:fld id="{FFE8DD00-E6C1-42A5-A44D-4115350A5429}" type="slidenum">
              <a:rPr lang="en-US">
                <a:solidFill>
                  <a:srgbClr val="343434"/>
                </a:solidFill>
              </a:rPr>
              <a:pPr>
                <a:defRPr/>
              </a:pPr>
              <a:t>‹#›</a:t>
            </a:fld>
            <a:endParaRPr lang="en-US">
              <a:solidFill>
                <a:srgbClr val="343434"/>
              </a:solidFill>
            </a:endParaRPr>
          </a:p>
        </p:txBody>
      </p:sp>
    </p:spTree>
    <p:extLst>
      <p:ext uri="{BB962C8B-B14F-4D97-AF65-F5344CB8AC3E}">
        <p14:creationId xmlns:p14="http://schemas.microsoft.com/office/powerpoint/2010/main" val="101675397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Text&amp;4_Blocks_Layout">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p:txBody>
          <a:bodyPr/>
          <a:lstStyle/>
          <a:p>
            <a:r>
              <a:rPr lang="en-GB" noProof="0"/>
              <a:t>TITLE</a:t>
            </a:r>
          </a:p>
        </p:txBody>
      </p:sp>
      <p:sp>
        <p:nvSpPr>
          <p:cNvPr id="10" name="Espace réservé du texte 9"/>
          <p:cNvSpPr>
            <a:spLocks noGrp="1"/>
          </p:cNvSpPr>
          <p:nvPr>
            <p:ph type="body" sz="quarter" idx="13" hasCustomPrompt="1"/>
          </p:nvPr>
        </p:nvSpPr>
        <p:spPr bwMode="gray">
          <a:xfrm>
            <a:off x="935038" y="1304924"/>
            <a:ext cx="7345362" cy="936626"/>
          </a:xfrm>
        </p:spPr>
        <p:txBody>
          <a:body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8" name="Espace réservé de la date 7"/>
          <p:cNvSpPr>
            <a:spLocks noGrp="1"/>
          </p:cNvSpPr>
          <p:nvPr>
            <p:ph type="dt" sz="half" idx="14"/>
          </p:nvPr>
        </p:nvSpPr>
        <p:spPr bwMode="gray"/>
        <p:txBody>
          <a:bodyPr/>
          <a:lstStyle/>
          <a:p>
            <a:r>
              <a:rPr lang="en-US">
                <a:solidFill>
                  <a:prstClr val="white">
                    <a:alpha val="0"/>
                  </a:prstClr>
                </a:solidFill>
              </a:rPr>
              <a:t>Date</a:t>
            </a:r>
            <a:endParaRPr lang="en-GB">
              <a:solidFill>
                <a:prstClr val="white">
                  <a:alpha val="0"/>
                </a:prstClr>
              </a:solidFill>
            </a:endParaRPr>
          </a:p>
        </p:txBody>
      </p:sp>
      <p:sp>
        <p:nvSpPr>
          <p:cNvPr id="9" name="Espace réservé du numéro de diapositive 8"/>
          <p:cNvSpPr>
            <a:spLocks noGrp="1"/>
          </p:cNvSpPr>
          <p:nvPr>
            <p:ph type="sldNum" sz="quarter" idx="15"/>
          </p:nvPr>
        </p:nvSpPr>
        <p:spPr bwMode="gray"/>
        <p:txBody>
          <a:bodyPr/>
          <a:lstStyle/>
          <a:p>
            <a:fld id="{733122C9-A0B9-462F-8757-0847AD287B63}" type="slidenum">
              <a:rPr lang="en-GB" smtClean="0">
                <a:solidFill>
                  <a:srgbClr val="343434"/>
                </a:solidFill>
              </a:rPr>
              <a:pPr/>
              <a:t>‹#›</a:t>
            </a:fld>
            <a:endParaRPr lang="en-GB">
              <a:solidFill>
                <a:srgbClr val="343434"/>
              </a:solidFill>
            </a:endParaRPr>
          </a:p>
        </p:txBody>
      </p:sp>
      <p:sp>
        <p:nvSpPr>
          <p:cNvPr id="11" name="Espace réservé du pied de page 10"/>
          <p:cNvSpPr>
            <a:spLocks noGrp="1"/>
          </p:cNvSpPr>
          <p:nvPr>
            <p:ph type="ftr" sz="quarter" idx="16"/>
          </p:nvPr>
        </p:nvSpPr>
        <p:spPr bwMode="gray"/>
        <p:txBody>
          <a:bodyPr/>
          <a:lstStyle/>
          <a:p>
            <a:r>
              <a:rPr lang="en-GB">
                <a:solidFill>
                  <a:srgbClr val="005CB9"/>
                </a:solidFill>
              </a:rPr>
              <a:t>#vaccineswork</a:t>
            </a:r>
          </a:p>
        </p:txBody>
      </p:sp>
      <p:sp>
        <p:nvSpPr>
          <p:cNvPr id="21" name="Espace réservé du texte 9"/>
          <p:cNvSpPr>
            <a:spLocks noGrp="1"/>
          </p:cNvSpPr>
          <p:nvPr>
            <p:ph type="body" sz="quarter" idx="19" hasCustomPrompt="1"/>
          </p:nvPr>
        </p:nvSpPr>
        <p:spPr bwMode="gray">
          <a:xfrm>
            <a:off x="935038" y="2241550"/>
            <a:ext cx="3564000" cy="324000"/>
          </a:xfrm>
          <a:solidFill>
            <a:schemeClr val="accent1"/>
          </a:solidFill>
          <a:ln w="9525">
            <a:solidFill>
              <a:schemeClr val="accent1"/>
            </a:solidFill>
          </a:ln>
        </p:spPr>
        <p:txBody>
          <a:bodyPr anchor="ctr" anchorCtr="0"/>
          <a:lstStyle>
            <a:lvl1pPr algn="ctr">
              <a:lnSpc>
                <a:spcPct val="100000"/>
              </a:lnSpc>
              <a:defRPr>
                <a:solidFill>
                  <a:schemeClr val="bg1"/>
                </a:solidFill>
              </a:defRPr>
            </a:lvl1pPr>
          </a:lstStyle>
          <a:p>
            <a:pPr lvl="0"/>
            <a:r>
              <a:rPr lang="en-GB" noProof="0"/>
              <a:t>Text level 1</a:t>
            </a:r>
          </a:p>
        </p:txBody>
      </p:sp>
      <p:sp>
        <p:nvSpPr>
          <p:cNvPr id="22" name="Espace réservé du texte 9"/>
          <p:cNvSpPr>
            <a:spLocks noGrp="1"/>
          </p:cNvSpPr>
          <p:nvPr>
            <p:ph type="body" sz="quarter" idx="20" hasCustomPrompt="1"/>
          </p:nvPr>
        </p:nvSpPr>
        <p:spPr bwMode="gray">
          <a:xfrm>
            <a:off x="935038" y="2565550"/>
            <a:ext cx="3564000" cy="1350000"/>
          </a:xfrm>
          <a:ln w="9525">
            <a:solidFill>
              <a:schemeClr val="accent1"/>
            </a:solidFill>
          </a:ln>
        </p:spPr>
        <p:txBody>
          <a:bodyPr tIns="72000"/>
          <a:lstStyle>
            <a:lvl1pPr marL="324000" indent="-180000">
              <a:lnSpc>
                <a:spcPct val="100000"/>
              </a:lnSpc>
              <a:spcBef>
                <a:spcPts val="300"/>
              </a:spcBef>
              <a:buClr>
                <a:schemeClr val="accent3"/>
              </a:buClr>
              <a:buFont typeface="Arial" pitchFamily="34" charset="0"/>
              <a:buChar char="•"/>
              <a:defRPr sz="1800">
                <a:solidFill>
                  <a:schemeClr val="tx1"/>
                </a:solidFill>
              </a:defRPr>
            </a:lvl1pPr>
            <a:lvl2pPr marL="504000">
              <a:buClr>
                <a:schemeClr val="tx1"/>
              </a:buClr>
              <a:defRPr sz="1600" b="0"/>
            </a:lvl2pPr>
            <a:lvl3pPr indent="0">
              <a:buNone/>
              <a:defRPr/>
            </a:lvl3pPr>
            <a:lvl4pPr marL="684000" indent="-180000">
              <a:buClr>
                <a:schemeClr val="tx1"/>
              </a:buClr>
              <a:buFont typeface="Arial" pitchFamily="34" charset="0"/>
              <a:buChar char="•"/>
              <a:defRPr sz="1400"/>
            </a:lvl4pPr>
          </a:lstStyle>
          <a:p>
            <a:pPr lvl="0"/>
            <a:r>
              <a:rPr lang="en-GB" noProof="0"/>
              <a:t>Text level 2</a:t>
            </a:r>
          </a:p>
          <a:p>
            <a:pPr lvl="1"/>
            <a:r>
              <a:rPr lang="en-GB" noProof="0"/>
              <a:t>Text level 3</a:t>
            </a:r>
          </a:p>
          <a:p>
            <a:pPr lvl="2"/>
            <a:r>
              <a:rPr lang="en-GB" noProof="0"/>
              <a:t>Text level 4</a:t>
            </a:r>
          </a:p>
          <a:p>
            <a:pPr lvl="3"/>
            <a:r>
              <a:rPr lang="en-GB" noProof="0"/>
              <a:t>Text level 5</a:t>
            </a:r>
          </a:p>
        </p:txBody>
      </p:sp>
      <p:sp>
        <p:nvSpPr>
          <p:cNvPr id="23" name="Espace réservé du texte 9"/>
          <p:cNvSpPr>
            <a:spLocks noGrp="1"/>
          </p:cNvSpPr>
          <p:nvPr>
            <p:ph type="body" sz="quarter" idx="21" hasCustomPrompt="1"/>
          </p:nvPr>
        </p:nvSpPr>
        <p:spPr bwMode="gray">
          <a:xfrm>
            <a:off x="4716400" y="2241550"/>
            <a:ext cx="3564000" cy="324000"/>
          </a:xfrm>
          <a:solidFill>
            <a:schemeClr val="accent2"/>
          </a:solidFill>
          <a:ln w="9525">
            <a:solidFill>
              <a:schemeClr val="accent2"/>
            </a:solidFill>
          </a:ln>
        </p:spPr>
        <p:txBody>
          <a:bodyPr anchor="ctr" anchorCtr="0"/>
          <a:lstStyle>
            <a:lvl1pPr algn="ctr">
              <a:lnSpc>
                <a:spcPct val="100000"/>
              </a:lnSpc>
              <a:defRPr>
                <a:solidFill>
                  <a:schemeClr val="bg1"/>
                </a:solidFill>
              </a:defRPr>
            </a:lvl1pPr>
          </a:lstStyle>
          <a:p>
            <a:pPr lvl="0"/>
            <a:r>
              <a:rPr lang="en-GB" noProof="0"/>
              <a:t>Text level 1</a:t>
            </a:r>
          </a:p>
        </p:txBody>
      </p:sp>
      <p:sp>
        <p:nvSpPr>
          <p:cNvPr id="24" name="Espace réservé du texte 9"/>
          <p:cNvSpPr>
            <a:spLocks noGrp="1"/>
          </p:cNvSpPr>
          <p:nvPr>
            <p:ph type="body" sz="quarter" idx="22" hasCustomPrompt="1"/>
          </p:nvPr>
        </p:nvSpPr>
        <p:spPr bwMode="gray">
          <a:xfrm>
            <a:off x="4716400" y="2565550"/>
            <a:ext cx="3564000" cy="1350000"/>
          </a:xfrm>
          <a:ln w="9525">
            <a:solidFill>
              <a:schemeClr val="accent2"/>
            </a:solidFill>
          </a:ln>
        </p:spPr>
        <p:txBody>
          <a:bodyPr tIns="72000"/>
          <a:lstStyle>
            <a:lvl1pPr marL="324000" indent="-180000">
              <a:lnSpc>
                <a:spcPct val="100000"/>
              </a:lnSpc>
              <a:spcBef>
                <a:spcPts val="300"/>
              </a:spcBef>
              <a:buClr>
                <a:schemeClr val="accent3"/>
              </a:buClr>
              <a:buFont typeface="Arial" pitchFamily="34" charset="0"/>
              <a:buChar char="•"/>
              <a:defRPr sz="1800">
                <a:solidFill>
                  <a:schemeClr val="tx1"/>
                </a:solidFill>
              </a:defRPr>
            </a:lvl1pPr>
            <a:lvl2pPr marL="504000">
              <a:buClr>
                <a:schemeClr val="tx1"/>
              </a:buClr>
              <a:defRPr sz="1600" b="0"/>
            </a:lvl2pPr>
            <a:lvl3pPr indent="0">
              <a:buNone/>
              <a:defRPr/>
            </a:lvl3pPr>
            <a:lvl4pPr marL="684000" indent="-180000">
              <a:buClr>
                <a:schemeClr val="tx1"/>
              </a:buClr>
              <a:buFont typeface="Arial" pitchFamily="34" charset="0"/>
              <a:buChar char="•"/>
              <a:defRPr sz="1400"/>
            </a:lvl4pPr>
          </a:lstStyle>
          <a:p>
            <a:pPr lvl="0"/>
            <a:r>
              <a:rPr lang="en-GB" noProof="0"/>
              <a:t>Text level 2</a:t>
            </a:r>
          </a:p>
          <a:p>
            <a:pPr lvl="1"/>
            <a:r>
              <a:rPr lang="en-GB" noProof="0"/>
              <a:t>Text level 3</a:t>
            </a:r>
          </a:p>
          <a:p>
            <a:pPr lvl="2"/>
            <a:r>
              <a:rPr lang="en-GB" noProof="0"/>
              <a:t>Text level 4</a:t>
            </a:r>
          </a:p>
          <a:p>
            <a:pPr lvl="3"/>
            <a:r>
              <a:rPr lang="en-GB" noProof="0"/>
              <a:t>Text level 5</a:t>
            </a:r>
          </a:p>
        </p:txBody>
      </p:sp>
      <p:sp>
        <p:nvSpPr>
          <p:cNvPr id="25" name="Espace réservé du texte 9"/>
          <p:cNvSpPr>
            <a:spLocks noGrp="1"/>
          </p:cNvSpPr>
          <p:nvPr>
            <p:ph type="body" sz="quarter" idx="23" hasCustomPrompt="1"/>
          </p:nvPr>
        </p:nvSpPr>
        <p:spPr bwMode="gray">
          <a:xfrm>
            <a:off x="935038" y="4131488"/>
            <a:ext cx="3564000" cy="324000"/>
          </a:xfrm>
          <a:solidFill>
            <a:schemeClr val="accent3"/>
          </a:solidFill>
          <a:ln w="9525">
            <a:solidFill>
              <a:schemeClr val="accent3"/>
            </a:solidFill>
          </a:ln>
        </p:spPr>
        <p:txBody>
          <a:bodyPr anchor="ctr" anchorCtr="0"/>
          <a:lstStyle>
            <a:lvl1pPr algn="ctr">
              <a:lnSpc>
                <a:spcPct val="100000"/>
              </a:lnSpc>
              <a:defRPr>
                <a:solidFill>
                  <a:schemeClr val="bg1"/>
                </a:solidFill>
              </a:defRPr>
            </a:lvl1pPr>
          </a:lstStyle>
          <a:p>
            <a:pPr lvl="0"/>
            <a:r>
              <a:rPr lang="en-GB" noProof="0"/>
              <a:t>Text level 1</a:t>
            </a:r>
          </a:p>
        </p:txBody>
      </p:sp>
      <p:sp>
        <p:nvSpPr>
          <p:cNvPr id="26" name="Espace réservé du texte 9"/>
          <p:cNvSpPr>
            <a:spLocks noGrp="1"/>
          </p:cNvSpPr>
          <p:nvPr>
            <p:ph type="body" sz="quarter" idx="24" hasCustomPrompt="1"/>
          </p:nvPr>
        </p:nvSpPr>
        <p:spPr bwMode="gray">
          <a:xfrm>
            <a:off x="935038" y="4455488"/>
            <a:ext cx="3564000" cy="1350000"/>
          </a:xfrm>
          <a:ln w="9525">
            <a:solidFill>
              <a:schemeClr val="accent3"/>
            </a:solidFill>
          </a:ln>
        </p:spPr>
        <p:txBody>
          <a:bodyPr tIns="72000"/>
          <a:lstStyle>
            <a:lvl1pPr marL="324000" indent="-180000">
              <a:lnSpc>
                <a:spcPct val="100000"/>
              </a:lnSpc>
              <a:spcBef>
                <a:spcPts val="300"/>
              </a:spcBef>
              <a:buClr>
                <a:schemeClr val="accent3"/>
              </a:buClr>
              <a:buFont typeface="Arial" pitchFamily="34" charset="0"/>
              <a:buChar char="•"/>
              <a:defRPr sz="1800">
                <a:solidFill>
                  <a:schemeClr val="tx1"/>
                </a:solidFill>
              </a:defRPr>
            </a:lvl1pPr>
            <a:lvl2pPr marL="504000">
              <a:buClr>
                <a:schemeClr val="tx1"/>
              </a:buClr>
              <a:defRPr sz="1600" b="0"/>
            </a:lvl2pPr>
            <a:lvl3pPr indent="0">
              <a:buNone/>
              <a:defRPr/>
            </a:lvl3pPr>
            <a:lvl4pPr marL="684000" indent="-180000">
              <a:buClr>
                <a:schemeClr val="tx1"/>
              </a:buClr>
              <a:buFont typeface="Arial" pitchFamily="34" charset="0"/>
              <a:buChar char="•"/>
              <a:defRPr sz="1400"/>
            </a:lvl4pPr>
          </a:lstStyle>
          <a:p>
            <a:pPr lvl="0"/>
            <a:r>
              <a:rPr lang="en-GB" noProof="0"/>
              <a:t>Text level 2</a:t>
            </a:r>
          </a:p>
          <a:p>
            <a:pPr lvl="1"/>
            <a:r>
              <a:rPr lang="en-GB" noProof="0"/>
              <a:t>Text level 3</a:t>
            </a:r>
          </a:p>
          <a:p>
            <a:pPr lvl="2"/>
            <a:r>
              <a:rPr lang="en-GB" noProof="0"/>
              <a:t>Text level 4</a:t>
            </a:r>
          </a:p>
          <a:p>
            <a:pPr lvl="3"/>
            <a:r>
              <a:rPr lang="en-GB" noProof="0"/>
              <a:t>Text level 5</a:t>
            </a:r>
          </a:p>
        </p:txBody>
      </p:sp>
      <p:sp>
        <p:nvSpPr>
          <p:cNvPr id="27" name="Espace réservé du texte 9"/>
          <p:cNvSpPr>
            <a:spLocks noGrp="1"/>
          </p:cNvSpPr>
          <p:nvPr>
            <p:ph type="body" sz="quarter" idx="25" hasCustomPrompt="1"/>
          </p:nvPr>
        </p:nvSpPr>
        <p:spPr bwMode="gray">
          <a:xfrm>
            <a:off x="4716400" y="4131488"/>
            <a:ext cx="3564000" cy="324000"/>
          </a:xfrm>
          <a:solidFill>
            <a:schemeClr val="bg2"/>
          </a:solidFill>
          <a:ln w="9525">
            <a:solidFill>
              <a:schemeClr val="bg2"/>
            </a:solidFill>
          </a:ln>
        </p:spPr>
        <p:txBody>
          <a:bodyPr anchor="ctr" anchorCtr="0"/>
          <a:lstStyle>
            <a:lvl1pPr algn="ctr">
              <a:lnSpc>
                <a:spcPct val="100000"/>
              </a:lnSpc>
              <a:defRPr>
                <a:solidFill>
                  <a:schemeClr val="bg1"/>
                </a:solidFill>
              </a:defRPr>
            </a:lvl1pPr>
          </a:lstStyle>
          <a:p>
            <a:pPr lvl="0"/>
            <a:r>
              <a:rPr lang="en-GB" noProof="0"/>
              <a:t>Text level 1</a:t>
            </a:r>
          </a:p>
        </p:txBody>
      </p:sp>
      <p:sp>
        <p:nvSpPr>
          <p:cNvPr id="28" name="Espace réservé du texte 9"/>
          <p:cNvSpPr>
            <a:spLocks noGrp="1"/>
          </p:cNvSpPr>
          <p:nvPr>
            <p:ph type="body" sz="quarter" idx="26" hasCustomPrompt="1"/>
          </p:nvPr>
        </p:nvSpPr>
        <p:spPr bwMode="gray">
          <a:xfrm>
            <a:off x="4716400" y="4455488"/>
            <a:ext cx="3564000" cy="1350000"/>
          </a:xfrm>
          <a:ln w="9525">
            <a:solidFill>
              <a:schemeClr val="bg2"/>
            </a:solidFill>
          </a:ln>
        </p:spPr>
        <p:txBody>
          <a:bodyPr tIns="72000"/>
          <a:lstStyle>
            <a:lvl1pPr marL="324000" indent="-180000">
              <a:lnSpc>
                <a:spcPct val="100000"/>
              </a:lnSpc>
              <a:spcBef>
                <a:spcPts val="300"/>
              </a:spcBef>
              <a:buClr>
                <a:schemeClr val="accent3"/>
              </a:buClr>
              <a:buFont typeface="Arial" pitchFamily="34" charset="0"/>
              <a:buChar char="•"/>
              <a:defRPr sz="1800">
                <a:solidFill>
                  <a:schemeClr val="tx1"/>
                </a:solidFill>
              </a:defRPr>
            </a:lvl1pPr>
            <a:lvl2pPr marL="504000">
              <a:buClr>
                <a:schemeClr val="tx1"/>
              </a:buClr>
              <a:defRPr sz="1600" b="0"/>
            </a:lvl2pPr>
            <a:lvl3pPr indent="0">
              <a:buNone/>
              <a:defRPr/>
            </a:lvl3pPr>
            <a:lvl4pPr marL="684000" indent="-180000">
              <a:buClr>
                <a:schemeClr val="tx1"/>
              </a:buClr>
              <a:buFont typeface="Arial" pitchFamily="34" charset="0"/>
              <a:buChar char="•"/>
              <a:defRPr sz="1400"/>
            </a:lvl4pPr>
          </a:lstStyle>
          <a:p>
            <a:pPr lvl="0"/>
            <a:r>
              <a:rPr lang="en-GB" noProof="0"/>
              <a:t>Text level 2</a:t>
            </a:r>
          </a:p>
          <a:p>
            <a:pPr lvl="1"/>
            <a:r>
              <a:rPr lang="en-GB" noProof="0"/>
              <a:t>Text level 3</a:t>
            </a:r>
          </a:p>
          <a:p>
            <a:pPr lvl="2"/>
            <a:r>
              <a:rPr lang="en-GB" noProof="0"/>
              <a:t>Text level 4</a:t>
            </a:r>
          </a:p>
          <a:p>
            <a:pPr lvl="3"/>
            <a:r>
              <a:rPr lang="en-GB" noProof="0"/>
              <a:t>Text level 5</a:t>
            </a:r>
          </a:p>
        </p:txBody>
      </p:sp>
    </p:spTree>
    <p:extLst>
      <p:ext uri="{BB962C8B-B14F-4D97-AF65-F5344CB8AC3E}">
        <p14:creationId xmlns:p14="http://schemas.microsoft.com/office/powerpoint/2010/main" val="53378257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pic>
        <p:nvPicPr>
          <p:cNvPr id="6" name="Image 18" descr="FD_02.pn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gray">
          <a:xfrm>
            <a:off x="0" y="0"/>
            <a:ext cx="9144000" cy="51577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7" name="Rectangle 6"/>
          <p:cNvSpPr/>
          <p:nvPr userDrawn="1"/>
        </p:nvSpPr>
        <p:spPr bwMode="gray">
          <a:xfrm>
            <a:off x="3635375" y="5265738"/>
            <a:ext cx="5508625" cy="15922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prstClr val="white"/>
              </a:solidFill>
            </a:endParaRPr>
          </a:p>
        </p:txBody>
      </p:sp>
      <p:pic>
        <p:nvPicPr>
          <p:cNvPr id="10" name="Image 19" descr="Bas_couv.png"/>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gray">
          <a:xfrm>
            <a:off x="0" y="5172075"/>
            <a:ext cx="3635375" cy="16859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1" name="Rectangle 10"/>
          <p:cNvSpPr/>
          <p:nvPr userDrawn="1"/>
        </p:nvSpPr>
        <p:spPr bwMode="gray">
          <a:xfrm>
            <a:off x="3635375" y="6354763"/>
            <a:ext cx="5113338" cy="2873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p>
            <a:pPr algn="r">
              <a:defRPr/>
            </a:pPr>
            <a:r>
              <a:rPr lang="en-US" sz="1000" err="1">
                <a:solidFill>
                  <a:srgbClr val="95D600"/>
                </a:solidFill>
              </a:rPr>
              <a:t>www.gavi.org</a:t>
            </a:r>
            <a:endParaRPr lang="en-US" sz="1000">
              <a:solidFill>
                <a:srgbClr val="95D600"/>
              </a:solidFill>
            </a:endParaRPr>
          </a:p>
        </p:txBody>
      </p:sp>
      <p:cxnSp>
        <p:nvCxnSpPr>
          <p:cNvPr id="12" name="Connecteur droit 22"/>
          <p:cNvCxnSpPr/>
          <p:nvPr userDrawn="1"/>
        </p:nvCxnSpPr>
        <p:spPr bwMode="gray">
          <a:xfrm flipH="1">
            <a:off x="468313" y="3402013"/>
            <a:ext cx="2447925" cy="0"/>
          </a:xfrm>
          <a:prstGeom prst="line">
            <a:avLst/>
          </a:prstGeom>
          <a:ln w="24130">
            <a:solidFill>
              <a:schemeClr val="accent1"/>
            </a:solidFill>
          </a:ln>
        </p:spPr>
        <p:style>
          <a:lnRef idx="1">
            <a:schemeClr val="accent1"/>
          </a:lnRef>
          <a:fillRef idx="0">
            <a:schemeClr val="accent1"/>
          </a:fillRef>
          <a:effectRef idx="0">
            <a:schemeClr val="accent1"/>
          </a:effectRef>
          <a:fontRef idx="minor">
            <a:schemeClr val="tx1"/>
          </a:fontRef>
        </p:style>
      </p:cxnSp>
      <p:sp>
        <p:nvSpPr>
          <p:cNvPr id="9" name="Espace réservé du texte 8"/>
          <p:cNvSpPr>
            <a:spLocks noGrp="1"/>
          </p:cNvSpPr>
          <p:nvPr>
            <p:ph type="body" sz="quarter" idx="13"/>
          </p:nvPr>
        </p:nvSpPr>
        <p:spPr bwMode="gray">
          <a:xfrm>
            <a:off x="468314" y="1036800"/>
            <a:ext cx="4824412" cy="2232000"/>
          </a:xfrm>
        </p:spPr>
        <p:txBody>
          <a:bodyPr anchor="b"/>
          <a:lstStyle>
            <a:lvl1pPr marL="0" indent="0" algn="l">
              <a:lnSpc>
                <a:spcPct val="90000"/>
              </a:lnSpc>
              <a:buNone/>
              <a:defRPr sz="2800" b="1" cap="none" baseline="0">
                <a:solidFill>
                  <a:schemeClr val="bg1"/>
                </a:solidFill>
              </a:defRPr>
            </a:lvl1pPr>
            <a:lvl2pPr marL="0" algn="ctr">
              <a:lnSpc>
                <a:spcPct val="100000"/>
              </a:lnSpc>
              <a:spcBef>
                <a:spcPts val="6900"/>
              </a:spcBef>
              <a:defRPr sz="2000" b="1">
                <a:solidFill>
                  <a:schemeClr val="bg1"/>
                </a:solidFill>
              </a:defRPr>
            </a:lvl2pPr>
          </a:lstStyle>
          <a:p>
            <a:pPr lvl="0"/>
            <a:r>
              <a:rPr lang="en-US" noProof="0"/>
              <a:t>Click to edit Master text styles</a:t>
            </a:r>
          </a:p>
        </p:txBody>
      </p:sp>
      <p:sp>
        <p:nvSpPr>
          <p:cNvPr id="8" name="Espace réservé du texte 8"/>
          <p:cNvSpPr>
            <a:spLocks noGrp="1"/>
          </p:cNvSpPr>
          <p:nvPr>
            <p:ph type="body" sz="quarter" idx="14"/>
          </p:nvPr>
        </p:nvSpPr>
        <p:spPr bwMode="gray">
          <a:xfrm>
            <a:off x="468314" y="3585600"/>
            <a:ext cx="4824411" cy="1479600"/>
          </a:xfrm>
        </p:spPr>
        <p:txBody>
          <a:bodyPr/>
          <a:lstStyle>
            <a:lvl1pPr marL="0" indent="0" algn="l">
              <a:lnSpc>
                <a:spcPct val="90000"/>
              </a:lnSpc>
              <a:buNone/>
              <a:defRPr sz="2000" b="0" baseline="0">
                <a:solidFill>
                  <a:schemeClr val="bg1"/>
                </a:solidFill>
              </a:defRPr>
            </a:lvl1pPr>
            <a:lvl2pPr marL="0" algn="ctr">
              <a:lnSpc>
                <a:spcPct val="100000"/>
              </a:lnSpc>
              <a:spcBef>
                <a:spcPts val="6900"/>
              </a:spcBef>
              <a:defRPr sz="2000" b="1">
                <a:solidFill>
                  <a:schemeClr val="bg1"/>
                </a:solidFill>
              </a:defRPr>
            </a:lvl2pPr>
          </a:lstStyle>
          <a:p>
            <a:pPr lvl="0"/>
            <a:r>
              <a:rPr lang="en-US" noProof="0"/>
              <a:t>Click to edit Master text styles</a:t>
            </a:r>
          </a:p>
        </p:txBody>
      </p:sp>
      <p:sp>
        <p:nvSpPr>
          <p:cNvPr id="15" name="Espace réservé du texte 14"/>
          <p:cNvSpPr>
            <a:spLocks noGrp="1"/>
          </p:cNvSpPr>
          <p:nvPr>
            <p:ph type="body" sz="quarter" idx="19"/>
          </p:nvPr>
        </p:nvSpPr>
        <p:spPr bwMode="gray">
          <a:xfrm>
            <a:off x="3635376" y="6021388"/>
            <a:ext cx="5113338" cy="324000"/>
          </a:xfrm>
        </p:spPr>
        <p:txBody>
          <a:bodyPr anchor="b"/>
          <a:lstStyle>
            <a:lvl1pPr algn="r">
              <a:lnSpc>
                <a:spcPct val="100000"/>
              </a:lnSpc>
              <a:defRPr sz="1000" b="1">
                <a:solidFill>
                  <a:schemeClr val="accent3"/>
                </a:solidFill>
              </a:defRPr>
            </a:lvl1pPr>
          </a:lstStyle>
          <a:p>
            <a:pPr lvl="0"/>
            <a:r>
              <a:rPr lang="en-US" noProof="0"/>
              <a:t>Click to edit Master text styles</a:t>
            </a:r>
          </a:p>
        </p:txBody>
      </p:sp>
      <p:sp>
        <p:nvSpPr>
          <p:cNvPr id="17" name="Espace réservé du texte 16"/>
          <p:cNvSpPr>
            <a:spLocks noGrp="1"/>
          </p:cNvSpPr>
          <p:nvPr>
            <p:ph type="body" sz="quarter" idx="20"/>
          </p:nvPr>
        </p:nvSpPr>
        <p:spPr bwMode="gray">
          <a:xfrm>
            <a:off x="0" y="5157788"/>
            <a:ext cx="9144000" cy="287337"/>
          </a:xfrm>
          <a:solidFill>
            <a:schemeClr val="bg1"/>
          </a:solidFill>
        </p:spPr>
        <p:txBody>
          <a:bodyPr/>
          <a:lstStyle>
            <a:lvl1pPr>
              <a:defRPr sz="100" b="0">
                <a:solidFill>
                  <a:schemeClr val="bg1">
                    <a:alpha val="0"/>
                  </a:schemeClr>
                </a:solidFill>
              </a:defRPr>
            </a:lvl1pPr>
          </a:lstStyle>
          <a:p>
            <a:pPr lvl="0"/>
            <a:r>
              <a:rPr lang="en-US" noProof="0"/>
              <a:t>Click to edit Master text styles</a:t>
            </a:r>
          </a:p>
        </p:txBody>
      </p:sp>
      <p:sp>
        <p:nvSpPr>
          <p:cNvPr id="13" name="Espace réservé de la date 9"/>
          <p:cNvSpPr>
            <a:spLocks noGrp="1"/>
          </p:cNvSpPr>
          <p:nvPr>
            <p:ph type="dt" sz="half" idx="21"/>
          </p:nvPr>
        </p:nvSpPr>
        <p:spPr/>
        <p:txBody>
          <a:bodyPr/>
          <a:lstStyle>
            <a:lvl1pPr>
              <a:defRPr/>
            </a:lvl1pPr>
          </a:lstStyle>
          <a:p>
            <a:pPr>
              <a:defRPr/>
            </a:pPr>
            <a:r>
              <a:rPr lang="en-US">
                <a:solidFill>
                  <a:prstClr val="white">
                    <a:alpha val="0"/>
                  </a:prstClr>
                </a:solidFill>
              </a:rPr>
              <a:t>Date</a:t>
            </a:r>
          </a:p>
        </p:txBody>
      </p:sp>
      <p:sp>
        <p:nvSpPr>
          <p:cNvPr id="14" name="Espace réservé du numéro de diapositive 10"/>
          <p:cNvSpPr>
            <a:spLocks noGrp="1"/>
          </p:cNvSpPr>
          <p:nvPr>
            <p:ph type="sldNum" sz="quarter" idx="22"/>
          </p:nvPr>
        </p:nvSpPr>
        <p:spPr/>
        <p:txBody>
          <a:bodyPr/>
          <a:lstStyle>
            <a:lvl1pPr>
              <a:defRPr sz="100">
                <a:solidFill>
                  <a:schemeClr val="bg1">
                    <a:alpha val="0"/>
                  </a:schemeClr>
                </a:solidFill>
              </a:defRPr>
            </a:lvl1pPr>
          </a:lstStyle>
          <a:p>
            <a:pPr>
              <a:defRPr/>
            </a:pPr>
            <a:r>
              <a:rPr lang="en-US">
                <a:solidFill>
                  <a:prstClr val="white">
                    <a:alpha val="0"/>
                  </a:prstClr>
                </a:solidFill>
              </a:rPr>
              <a:t>Page: </a:t>
            </a:r>
            <a:fld id="{541ADD26-9626-44B7-849C-716E619042DF}" type="slidenum">
              <a:rPr lang="en-US">
                <a:solidFill>
                  <a:prstClr val="white">
                    <a:alpha val="0"/>
                  </a:prstClr>
                </a:solidFill>
              </a:rPr>
              <a:pPr>
                <a:defRPr/>
              </a:pPr>
              <a:t>‹#›</a:t>
            </a:fld>
            <a:endParaRPr lang="en-US">
              <a:solidFill>
                <a:prstClr val="white">
                  <a:alpha val="0"/>
                </a:prstClr>
              </a:solidFill>
            </a:endParaRPr>
          </a:p>
        </p:txBody>
      </p:sp>
      <p:sp>
        <p:nvSpPr>
          <p:cNvPr id="16" name="Espace réservé du pied de page 11"/>
          <p:cNvSpPr>
            <a:spLocks noGrp="1"/>
          </p:cNvSpPr>
          <p:nvPr>
            <p:ph type="ftr" sz="quarter" idx="23"/>
          </p:nvPr>
        </p:nvSpPr>
        <p:spPr>
          <a:xfrm>
            <a:off x="468313" y="523875"/>
            <a:ext cx="4824412" cy="360363"/>
          </a:xfrm>
        </p:spPr>
        <p:txBody>
          <a:bodyPr/>
          <a:lstStyle>
            <a:lvl1pPr algn="l">
              <a:defRPr sz="1800" b="0">
                <a:solidFill>
                  <a:schemeClr val="bg1"/>
                </a:solidFill>
              </a:defRPr>
            </a:lvl1pPr>
          </a:lstStyle>
          <a:p>
            <a:pPr>
              <a:defRPr/>
            </a:pPr>
            <a:r>
              <a:rPr lang="en-US">
                <a:solidFill>
                  <a:prstClr val="white"/>
                </a:solidFill>
              </a:rPr>
              <a:t>#vaccelerate</a:t>
            </a:r>
          </a:p>
        </p:txBody>
      </p:sp>
    </p:spTree>
    <p:extLst>
      <p:ext uri="{BB962C8B-B14F-4D97-AF65-F5344CB8AC3E}">
        <p14:creationId xmlns:p14="http://schemas.microsoft.com/office/powerpoint/2010/main" val="168180015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over_Picture_1">
    <p:spTree>
      <p:nvGrpSpPr>
        <p:cNvPr id="1" name=""/>
        <p:cNvGrpSpPr/>
        <p:nvPr/>
      </p:nvGrpSpPr>
      <p:grpSpPr>
        <a:xfrm>
          <a:off x="0" y="0"/>
          <a:ext cx="0" cy="0"/>
          <a:chOff x="0" y="0"/>
          <a:chExt cx="0" cy="0"/>
        </a:xfrm>
      </p:grpSpPr>
      <p:pic>
        <p:nvPicPr>
          <p:cNvPr id="7" name="Image 20" descr="FD_1_L254.png"/>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gray">
          <a:xfrm>
            <a:off x="0" y="0"/>
            <a:ext cx="9144000" cy="51577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0" name="Rectangle 9"/>
          <p:cNvSpPr/>
          <p:nvPr userDrawn="1"/>
        </p:nvSpPr>
        <p:spPr bwMode="gray">
          <a:xfrm>
            <a:off x="3635375" y="5265738"/>
            <a:ext cx="5508625" cy="15922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prstClr val="white"/>
              </a:solidFill>
            </a:endParaRPr>
          </a:p>
        </p:txBody>
      </p:sp>
      <p:pic>
        <p:nvPicPr>
          <p:cNvPr id="11" name="Image 19" descr="Bas_couv.png"/>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gray">
          <a:xfrm>
            <a:off x="0" y="5172075"/>
            <a:ext cx="3635375" cy="16859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2" name="Rectangle 11"/>
          <p:cNvSpPr/>
          <p:nvPr userDrawn="1"/>
        </p:nvSpPr>
        <p:spPr bwMode="gray">
          <a:xfrm>
            <a:off x="3635375" y="6354763"/>
            <a:ext cx="5113338" cy="2873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p>
            <a:pPr algn="r">
              <a:defRPr/>
            </a:pPr>
            <a:r>
              <a:rPr lang="en-US" sz="1000" err="1">
                <a:solidFill>
                  <a:srgbClr val="95D600"/>
                </a:solidFill>
              </a:rPr>
              <a:t>www.gavi.org</a:t>
            </a:r>
            <a:endParaRPr lang="en-US" sz="1000">
              <a:solidFill>
                <a:srgbClr val="95D600"/>
              </a:solidFill>
            </a:endParaRPr>
          </a:p>
        </p:txBody>
      </p:sp>
      <p:cxnSp>
        <p:nvCxnSpPr>
          <p:cNvPr id="13" name="Connecteur droit 22"/>
          <p:cNvCxnSpPr/>
          <p:nvPr userDrawn="1"/>
        </p:nvCxnSpPr>
        <p:spPr bwMode="gray">
          <a:xfrm flipH="1">
            <a:off x="468313" y="3402013"/>
            <a:ext cx="2447925" cy="0"/>
          </a:xfrm>
          <a:prstGeom prst="line">
            <a:avLst/>
          </a:prstGeom>
          <a:ln w="24130">
            <a:solidFill>
              <a:schemeClr val="accent1"/>
            </a:solidFill>
          </a:ln>
        </p:spPr>
        <p:style>
          <a:lnRef idx="1">
            <a:schemeClr val="accent1"/>
          </a:lnRef>
          <a:fillRef idx="0">
            <a:schemeClr val="accent1"/>
          </a:fillRef>
          <a:effectRef idx="0">
            <a:schemeClr val="accent1"/>
          </a:effectRef>
          <a:fontRef idx="minor">
            <a:schemeClr val="tx1"/>
          </a:fontRef>
        </p:style>
      </p:cxnSp>
      <p:sp>
        <p:nvSpPr>
          <p:cNvPr id="9" name="Espace réservé du texte 8"/>
          <p:cNvSpPr>
            <a:spLocks noGrp="1"/>
          </p:cNvSpPr>
          <p:nvPr>
            <p:ph type="body" sz="quarter" idx="13"/>
          </p:nvPr>
        </p:nvSpPr>
        <p:spPr bwMode="gray">
          <a:xfrm>
            <a:off x="468314" y="1036638"/>
            <a:ext cx="4824412" cy="2231392"/>
          </a:xfrm>
        </p:spPr>
        <p:txBody>
          <a:bodyPr anchor="b"/>
          <a:lstStyle>
            <a:lvl1pPr marL="0" indent="0" algn="l">
              <a:lnSpc>
                <a:spcPct val="90000"/>
              </a:lnSpc>
              <a:buNone/>
              <a:defRPr sz="2800" b="1" cap="none" baseline="0">
                <a:solidFill>
                  <a:schemeClr val="bg1"/>
                </a:solidFill>
              </a:defRPr>
            </a:lvl1pPr>
            <a:lvl2pPr marL="0" algn="ctr">
              <a:lnSpc>
                <a:spcPct val="100000"/>
              </a:lnSpc>
              <a:spcBef>
                <a:spcPts val="6900"/>
              </a:spcBef>
              <a:defRPr sz="2000" b="1">
                <a:solidFill>
                  <a:schemeClr val="bg1"/>
                </a:solidFill>
              </a:defRPr>
            </a:lvl2pPr>
          </a:lstStyle>
          <a:p>
            <a:pPr lvl="0"/>
            <a:r>
              <a:rPr lang="en-US" noProof="0"/>
              <a:t>Click to edit Master text styles</a:t>
            </a:r>
          </a:p>
        </p:txBody>
      </p:sp>
      <p:sp>
        <p:nvSpPr>
          <p:cNvPr id="8" name="Espace réservé du texte 8"/>
          <p:cNvSpPr>
            <a:spLocks noGrp="1"/>
          </p:cNvSpPr>
          <p:nvPr>
            <p:ph type="body" sz="quarter" idx="14"/>
          </p:nvPr>
        </p:nvSpPr>
        <p:spPr bwMode="gray">
          <a:xfrm>
            <a:off x="468314" y="3584637"/>
            <a:ext cx="3592800" cy="1477788"/>
          </a:xfrm>
        </p:spPr>
        <p:txBody>
          <a:bodyPr/>
          <a:lstStyle>
            <a:lvl1pPr marL="0" indent="0" algn="l">
              <a:lnSpc>
                <a:spcPct val="90000"/>
              </a:lnSpc>
              <a:buNone/>
              <a:defRPr sz="2000" b="0" baseline="0">
                <a:solidFill>
                  <a:schemeClr val="bg1"/>
                </a:solidFill>
              </a:defRPr>
            </a:lvl1pPr>
            <a:lvl2pPr marL="0" algn="ctr">
              <a:lnSpc>
                <a:spcPct val="100000"/>
              </a:lnSpc>
              <a:spcBef>
                <a:spcPts val="6900"/>
              </a:spcBef>
              <a:defRPr sz="2000" b="1">
                <a:solidFill>
                  <a:schemeClr val="bg1"/>
                </a:solidFill>
              </a:defRPr>
            </a:lvl2pPr>
          </a:lstStyle>
          <a:p>
            <a:pPr lvl="0"/>
            <a:r>
              <a:rPr lang="en-US" noProof="0"/>
              <a:t>Click to edit Master text styles</a:t>
            </a:r>
          </a:p>
        </p:txBody>
      </p:sp>
      <p:sp>
        <p:nvSpPr>
          <p:cNvPr id="15" name="Espace réservé du texte 14"/>
          <p:cNvSpPr>
            <a:spLocks noGrp="1"/>
          </p:cNvSpPr>
          <p:nvPr>
            <p:ph type="body" sz="quarter" idx="19"/>
          </p:nvPr>
        </p:nvSpPr>
        <p:spPr bwMode="gray">
          <a:xfrm>
            <a:off x="3635376" y="6021388"/>
            <a:ext cx="5113338" cy="324000"/>
          </a:xfrm>
        </p:spPr>
        <p:txBody>
          <a:bodyPr anchor="b"/>
          <a:lstStyle>
            <a:lvl1pPr algn="r">
              <a:lnSpc>
                <a:spcPct val="100000"/>
              </a:lnSpc>
              <a:defRPr sz="1000" b="1">
                <a:solidFill>
                  <a:schemeClr val="accent3"/>
                </a:solidFill>
              </a:defRPr>
            </a:lvl1pPr>
          </a:lstStyle>
          <a:p>
            <a:pPr lvl="0"/>
            <a:r>
              <a:rPr lang="en-US" noProof="0"/>
              <a:t>Click to edit Master text styles</a:t>
            </a:r>
          </a:p>
        </p:txBody>
      </p:sp>
      <p:sp>
        <p:nvSpPr>
          <p:cNvPr id="17" name="Espace réservé du texte 16"/>
          <p:cNvSpPr>
            <a:spLocks noGrp="1"/>
          </p:cNvSpPr>
          <p:nvPr>
            <p:ph type="body" sz="quarter" idx="20"/>
          </p:nvPr>
        </p:nvSpPr>
        <p:spPr bwMode="gray">
          <a:xfrm>
            <a:off x="0" y="5157788"/>
            <a:ext cx="9144000" cy="287337"/>
          </a:xfrm>
          <a:solidFill>
            <a:schemeClr val="bg1"/>
          </a:solidFill>
        </p:spPr>
        <p:txBody>
          <a:bodyPr/>
          <a:lstStyle>
            <a:lvl1pPr>
              <a:defRPr sz="100" b="0">
                <a:solidFill>
                  <a:schemeClr val="bg1">
                    <a:alpha val="0"/>
                  </a:schemeClr>
                </a:solidFill>
              </a:defRPr>
            </a:lvl1pPr>
          </a:lstStyle>
          <a:p>
            <a:pPr lvl="0"/>
            <a:r>
              <a:rPr lang="en-US" noProof="0"/>
              <a:t>Click to edit Master text styles</a:t>
            </a:r>
          </a:p>
        </p:txBody>
      </p:sp>
      <p:sp>
        <p:nvSpPr>
          <p:cNvPr id="24" name="Espace réservé pour une image  17"/>
          <p:cNvSpPr>
            <a:spLocks noGrp="1"/>
          </p:cNvSpPr>
          <p:nvPr>
            <p:ph type="pic" sz="quarter" idx="18"/>
          </p:nvPr>
        </p:nvSpPr>
        <p:spPr bwMode="gray">
          <a:xfrm>
            <a:off x="4192588" y="0"/>
            <a:ext cx="4951412" cy="5162400"/>
          </a:xfrm>
          <a:custGeom>
            <a:avLst/>
            <a:gdLst>
              <a:gd name="connsiteX0" fmla="*/ 0 w 3851275"/>
              <a:gd name="connsiteY0" fmla="*/ 0 h 5157788"/>
              <a:gd name="connsiteX1" fmla="*/ 3851275 w 3851275"/>
              <a:gd name="connsiteY1" fmla="*/ 0 h 5157788"/>
              <a:gd name="connsiteX2" fmla="*/ 3851275 w 3851275"/>
              <a:gd name="connsiteY2" fmla="*/ 5157788 h 5157788"/>
              <a:gd name="connsiteX3" fmla="*/ 0 w 3851275"/>
              <a:gd name="connsiteY3" fmla="*/ 5157788 h 5157788"/>
              <a:gd name="connsiteX4" fmla="*/ 0 w 3851275"/>
              <a:gd name="connsiteY4"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0 w 3851275"/>
              <a:gd name="connsiteY3" fmla="*/ 5157788 h 5157788"/>
              <a:gd name="connsiteX4" fmla="*/ 1692275 w 3851275"/>
              <a:gd name="connsiteY4" fmla="*/ 0 h 5157788"/>
              <a:gd name="connsiteX0" fmla="*/ 0 w 2159000"/>
              <a:gd name="connsiteY0" fmla="*/ 0 h 5157788"/>
              <a:gd name="connsiteX1" fmla="*/ 2159000 w 2159000"/>
              <a:gd name="connsiteY1" fmla="*/ 0 h 5157788"/>
              <a:gd name="connsiteX2" fmla="*/ 2159000 w 2159000"/>
              <a:gd name="connsiteY2" fmla="*/ 5157788 h 5157788"/>
              <a:gd name="connsiteX3" fmla="*/ 0 w 2159000"/>
              <a:gd name="connsiteY3" fmla="*/ 5157788 h 5157788"/>
              <a:gd name="connsiteX4" fmla="*/ 0 w 2159000"/>
              <a:gd name="connsiteY4" fmla="*/ 0 h 5157788"/>
              <a:gd name="connsiteX0" fmla="*/ 2625271 w 4784271"/>
              <a:gd name="connsiteY0" fmla="*/ 0 h 5157788"/>
              <a:gd name="connsiteX1" fmla="*/ 4784271 w 4784271"/>
              <a:gd name="connsiteY1" fmla="*/ 0 h 5157788"/>
              <a:gd name="connsiteX2" fmla="*/ 4784271 w 4784271"/>
              <a:gd name="connsiteY2" fmla="*/ 5157788 h 5157788"/>
              <a:gd name="connsiteX3" fmla="*/ 2625271 w 4784271"/>
              <a:gd name="connsiteY3" fmla="*/ 5157788 h 5157788"/>
              <a:gd name="connsiteX4" fmla="*/ 2625271 w 4784271"/>
              <a:gd name="connsiteY4" fmla="*/ 0 h 5157788"/>
              <a:gd name="connsiteX0" fmla="*/ 2625271 w 4784271"/>
              <a:gd name="connsiteY0" fmla="*/ 0 h 5157788"/>
              <a:gd name="connsiteX1" fmla="*/ 4784271 w 4784271"/>
              <a:gd name="connsiteY1" fmla="*/ 0 h 5157788"/>
              <a:gd name="connsiteX2" fmla="*/ 4784271 w 4784271"/>
              <a:gd name="connsiteY2" fmla="*/ 5157788 h 5157788"/>
              <a:gd name="connsiteX3" fmla="*/ 2625271 w 4784271"/>
              <a:gd name="connsiteY3" fmla="*/ 5157788 h 5157788"/>
              <a:gd name="connsiteX4" fmla="*/ 2625271 w 4784271"/>
              <a:gd name="connsiteY4" fmla="*/ 0 h 5157788"/>
              <a:gd name="connsiteX0" fmla="*/ 3568576 w 5727576"/>
              <a:gd name="connsiteY0" fmla="*/ 0 h 5157788"/>
              <a:gd name="connsiteX1" fmla="*/ 5727576 w 5727576"/>
              <a:gd name="connsiteY1" fmla="*/ 0 h 5157788"/>
              <a:gd name="connsiteX2" fmla="*/ 5727576 w 5727576"/>
              <a:gd name="connsiteY2" fmla="*/ 5157788 h 5157788"/>
              <a:gd name="connsiteX3" fmla="*/ 3568576 w 5727576"/>
              <a:gd name="connsiteY3" fmla="*/ 5157788 h 5157788"/>
              <a:gd name="connsiteX4" fmla="*/ 3568576 w 5727576"/>
              <a:gd name="connsiteY4" fmla="*/ 0 h 5157788"/>
              <a:gd name="connsiteX0" fmla="*/ 3306355 w 5465355"/>
              <a:gd name="connsiteY0" fmla="*/ 0 h 5157788"/>
              <a:gd name="connsiteX1" fmla="*/ 5465355 w 5465355"/>
              <a:gd name="connsiteY1" fmla="*/ 0 h 5157788"/>
              <a:gd name="connsiteX2" fmla="*/ 5465355 w 5465355"/>
              <a:gd name="connsiteY2" fmla="*/ 5157788 h 5157788"/>
              <a:gd name="connsiteX3" fmla="*/ 3306355 w 5465355"/>
              <a:gd name="connsiteY3" fmla="*/ 5157788 h 5157788"/>
              <a:gd name="connsiteX4" fmla="*/ 3306355 w 5465355"/>
              <a:gd name="connsiteY4" fmla="*/ 0 h 5157788"/>
              <a:gd name="connsiteX0" fmla="*/ 1416957 w 3575957"/>
              <a:gd name="connsiteY0" fmla="*/ 0 h 5157788"/>
              <a:gd name="connsiteX1" fmla="*/ 3575957 w 3575957"/>
              <a:gd name="connsiteY1" fmla="*/ 0 h 5157788"/>
              <a:gd name="connsiteX2" fmla="*/ 3575957 w 3575957"/>
              <a:gd name="connsiteY2" fmla="*/ 5157788 h 5157788"/>
              <a:gd name="connsiteX3" fmla="*/ 1416957 w 3575957"/>
              <a:gd name="connsiteY3" fmla="*/ 5157788 h 5157788"/>
              <a:gd name="connsiteX4" fmla="*/ 0 w 3575957"/>
              <a:gd name="connsiteY4" fmla="*/ 3339193 h 5157788"/>
              <a:gd name="connsiteX5" fmla="*/ 1416957 w 3575957"/>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6017419"/>
              <a:gd name="connsiteX1" fmla="*/ 3851275 w 3851275"/>
              <a:gd name="connsiteY1" fmla="*/ 0 h 6017419"/>
              <a:gd name="connsiteX2" fmla="*/ 3851275 w 3851275"/>
              <a:gd name="connsiteY2" fmla="*/ 5157788 h 6017419"/>
              <a:gd name="connsiteX3" fmla="*/ 1692275 w 3851275"/>
              <a:gd name="connsiteY3" fmla="*/ 5157788 h 6017419"/>
              <a:gd name="connsiteX4" fmla="*/ 0 w 3851275"/>
              <a:gd name="connsiteY4" fmla="*/ 3284984 h 6017419"/>
              <a:gd name="connsiteX5" fmla="*/ 1692275 w 3851275"/>
              <a:gd name="connsiteY5" fmla="*/ 0 h 6017419"/>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429000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429000 h 5157788"/>
              <a:gd name="connsiteX5" fmla="*/ 1710871 w 3869871"/>
              <a:gd name="connsiteY5" fmla="*/ 0 h 5157788"/>
              <a:gd name="connsiteX0" fmla="*/ 1704975 w 3863975"/>
              <a:gd name="connsiteY0" fmla="*/ 0 h 5157788"/>
              <a:gd name="connsiteX1" fmla="*/ 3863975 w 3863975"/>
              <a:gd name="connsiteY1" fmla="*/ 0 h 5157788"/>
              <a:gd name="connsiteX2" fmla="*/ 3863975 w 3863975"/>
              <a:gd name="connsiteY2" fmla="*/ 5157788 h 5157788"/>
              <a:gd name="connsiteX3" fmla="*/ 1704975 w 3863975"/>
              <a:gd name="connsiteY3" fmla="*/ 5157788 h 5157788"/>
              <a:gd name="connsiteX4" fmla="*/ 12700 w 3863975"/>
              <a:gd name="connsiteY4" fmla="*/ 3429000 h 5157788"/>
              <a:gd name="connsiteX5" fmla="*/ 1704975 w 3863975"/>
              <a:gd name="connsiteY5" fmla="*/ 0 h 5157788"/>
              <a:gd name="connsiteX0" fmla="*/ 1707243 w 3866243"/>
              <a:gd name="connsiteY0" fmla="*/ 0 h 5157788"/>
              <a:gd name="connsiteX1" fmla="*/ 3866243 w 3866243"/>
              <a:gd name="connsiteY1" fmla="*/ 0 h 5157788"/>
              <a:gd name="connsiteX2" fmla="*/ 3866243 w 3866243"/>
              <a:gd name="connsiteY2" fmla="*/ 5157788 h 5157788"/>
              <a:gd name="connsiteX3" fmla="*/ 1707243 w 3866243"/>
              <a:gd name="connsiteY3" fmla="*/ 5157788 h 5157788"/>
              <a:gd name="connsiteX4" fmla="*/ 14968 w 3866243"/>
              <a:gd name="connsiteY4" fmla="*/ 3429000 h 5157788"/>
              <a:gd name="connsiteX5" fmla="*/ 1707243 w 3866243"/>
              <a:gd name="connsiteY5" fmla="*/ 0 h 5157788"/>
              <a:gd name="connsiteX0" fmla="*/ 1130447 w 3866243"/>
              <a:gd name="connsiteY0" fmla="*/ 0 h 5157788"/>
              <a:gd name="connsiteX1" fmla="*/ 3866243 w 3866243"/>
              <a:gd name="connsiteY1" fmla="*/ 0 h 5157788"/>
              <a:gd name="connsiteX2" fmla="*/ 3866243 w 3866243"/>
              <a:gd name="connsiteY2" fmla="*/ 5157788 h 5157788"/>
              <a:gd name="connsiteX3" fmla="*/ 1707243 w 3866243"/>
              <a:gd name="connsiteY3" fmla="*/ 5157788 h 5157788"/>
              <a:gd name="connsiteX4" fmla="*/ 14968 w 3866243"/>
              <a:gd name="connsiteY4" fmla="*/ 3429000 h 5157788"/>
              <a:gd name="connsiteX5" fmla="*/ 1130447 w 3866243"/>
              <a:gd name="connsiteY5" fmla="*/ 0 h 5157788"/>
              <a:gd name="connsiteX0" fmla="*/ 2746143 w 5481939"/>
              <a:gd name="connsiteY0" fmla="*/ 0 h 5157788"/>
              <a:gd name="connsiteX1" fmla="*/ 5481939 w 5481939"/>
              <a:gd name="connsiteY1" fmla="*/ 0 h 5157788"/>
              <a:gd name="connsiteX2" fmla="*/ 5481939 w 5481939"/>
              <a:gd name="connsiteY2" fmla="*/ 5157788 h 5157788"/>
              <a:gd name="connsiteX3" fmla="*/ 585903 w 5481939"/>
              <a:gd name="connsiteY3" fmla="*/ 5153180 h 5157788"/>
              <a:gd name="connsiteX4" fmla="*/ 1630664 w 5481939"/>
              <a:gd name="connsiteY4" fmla="*/ 3429000 h 5157788"/>
              <a:gd name="connsiteX5" fmla="*/ 2746143 w 5481939"/>
              <a:gd name="connsiteY5" fmla="*/ 0 h 5157788"/>
              <a:gd name="connsiteX0" fmla="*/ 2746143 w 5481939"/>
              <a:gd name="connsiteY0" fmla="*/ 0 h 5157788"/>
              <a:gd name="connsiteX1" fmla="*/ 5481939 w 5481939"/>
              <a:gd name="connsiteY1" fmla="*/ 0 h 5157788"/>
              <a:gd name="connsiteX2" fmla="*/ 5481939 w 5481939"/>
              <a:gd name="connsiteY2" fmla="*/ 5157788 h 5157788"/>
              <a:gd name="connsiteX3" fmla="*/ 585903 w 5481939"/>
              <a:gd name="connsiteY3" fmla="*/ 5153180 h 5157788"/>
              <a:gd name="connsiteX4" fmla="*/ 1630664 w 5481939"/>
              <a:gd name="connsiteY4" fmla="*/ 3429000 h 5157788"/>
              <a:gd name="connsiteX5" fmla="*/ 2746143 w 548193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3574235 w 6310031"/>
              <a:gd name="connsiteY0" fmla="*/ 0 h 5157788"/>
              <a:gd name="connsiteX1" fmla="*/ 6310031 w 6310031"/>
              <a:gd name="connsiteY1" fmla="*/ 0 h 5157788"/>
              <a:gd name="connsiteX2" fmla="*/ 6310031 w 6310031"/>
              <a:gd name="connsiteY2" fmla="*/ 5157788 h 5157788"/>
              <a:gd name="connsiteX3" fmla="*/ 585903 w 6310031"/>
              <a:gd name="connsiteY3" fmla="*/ 5153180 h 5157788"/>
              <a:gd name="connsiteX4" fmla="*/ 1738031 w 6310031"/>
              <a:gd name="connsiteY4" fmla="*/ 3389965 h 5157788"/>
              <a:gd name="connsiteX5" fmla="*/ 3574235 w 6310031"/>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296143 w 5724128"/>
              <a:gd name="connsiteY4" fmla="*/ 3461908 h 5157788"/>
              <a:gd name="connsiteX5" fmla="*/ 2988332 w 5724128"/>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1188132 w 5760132"/>
              <a:gd name="connsiteY4" fmla="*/ 3425937 h 5157788"/>
              <a:gd name="connsiteX5" fmla="*/ 3024336 w 5760132"/>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2736304 w 5760132"/>
              <a:gd name="connsiteY4" fmla="*/ 3461908 h 5157788"/>
              <a:gd name="connsiteX5" fmla="*/ 3024336 w 5760132"/>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2736304 w 5760132"/>
              <a:gd name="connsiteY4" fmla="*/ 3461908 h 5157788"/>
              <a:gd name="connsiteX5" fmla="*/ 3024336 w 5760132"/>
              <a:gd name="connsiteY5" fmla="*/ 0 h 5157788"/>
              <a:gd name="connsiteX0" fmla="*/ 2160240 w 4896036"/>
              <a:gd name="connsiteY0" fmla="*/ 0 h 5157788"/>
              <a:gd name="connsiteX1" fmla="*/ 4896036 w 4896036"/>
              <a:gd name="connsiteY1" fmla="*/ 0 h 5157788"/>
              <a:gd name="connsiteX2" fmla="*/ 4896036 w 4896036"/>
              <a:gd name="connsiteY2" fmla="*/ 5157788 h 5157788"/>
              <a:gd name="connsiteX3" fmla="*/ 0 w 4896036"/>
              <a:gd name="connsiteY3" fmla="*/ 5153180 h 5157788"/>
              <a:gd name="connsiteX4" fmla="*/ 1872208 w 4896036"/>
              <a:gd name="connsiteY4" fmla="*/ 3461908 h 5157788"/>
              <a:gd name="connsiteX5" fmla="*/ 2160240 w 4896036"/>
              <a:gd name="connsiteY5" fmla="*/ 0 h 5157788"/>
              <a:gd name="connsiteX0" fmla="*/ 2232248 w 4968044"/>
              <a:gd name="connsiteY0" fmla="*/ 0 h 5157788"/>
              <a:gd name="connsiteX1" fmla="*/ 4968044 w 4968044"/>
              <a:gd name="connsiteY1" fmla="*/ 0 h 5157788"/>
              <a:gd name="connsiteX2" fmla="*/ 4968044 w 4968044"/>
              <a:gd name="connsiteY2" fmla="*/ 5157788 h 5157788"/>
              <a:gd name="connsiteX3" fmla="*/ 0 w 4968044"/>
              <a:gd name="connsiteY3" fmla="*/ 5153180 h 5157788"/>
              <a:gd name="connsiteX4" fmla="*/ 1944216 w 4968044"/>
              <a:gd name="connsiteY4" fmla="*/ 3461908 h 5157788"/>
              <a:gd name="connsiteX5" fmla="*/ 2232248 w 4968044"/>
              <a:gd name="connsiteY5" fmla="*/ 0 h 5157788"/>
              <a:gd name="connsiteX0" fmla="*/ 2207679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207679 w 4943475"/>
              <a:gd name="connsiteY5" fmla="*/ 0 h 5157788"/>
              <a:gd name="connsiteX0" fmla="*/ 2963763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963763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092200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71575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343583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675731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675731 w 4943475"/>
              <a:gd name="connsiteY5" fmla="*/ 0 h 5157788"/>
              <a:gd name="connsiteX0" fmla="*/ 2675731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675731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9672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19672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51412" h="5157788">
                <a:moveTo>
                  <a:pt x="2706687" y="0"/>
                </a:moveTo>
                <a:lnTo>
                  <a:pt x="4951412" y="0"/>
                </a:lnTo>
                <a:lnTo>
                  <a:pt x="4951412" y="5157788"/>
                </a:lnTo>
                <a:lnTo>
                  <a:pt x="0" y="5153180"/>
                </a:lnTo>
                <a:cubicBezTo>
                  <a:pt x="84411" y="4542509"/>
                  <a:pt x="183041" y="4024723"/>
                  <a:pt x="1243508" y="2562613"/>
                </a:cubicBezTo>
                <a:cubicBezTo>
                  <a:pt x="1867447" y="1704780"/>
                  <a:pt x="2665955" y="709265"/>
                  <a:pt x="2706687" y="0"/>
                </a:cubicBezTo>
                <a:close/>
              </a:path>
            </a:pathLst>
          </a:custGeom>
          <a:solidFill>
            <a:schemeClr val="bg2"/>
          </a:solidFill>
          <a:ln w="3175">
            <a:noFill/>
          </a:ln>
        </p:spPr>
        <p:txBody>
          <a:bodyPr tIns="720000" rtlCol="0" anchor="ctr">
            <a:noAutofit/>
          </a:bodyPr>
          <a:lstStyle>
            <a:lvl1pPr algn="ctr">
              <a:defRPr sz="1500">
                <a:solidFill>
                  <a:schemeClr val="bg1"/>
                </a:solidFill>
              </a:defRPr>
            </a:lvl1pPr>
          </a:lstStyle>
          <a:p>
            <a:pPr lvl="0"/>
            <a:r>
              <a:rPr lang="en-US" noProof="0"/>
              <a:t>Click icon to add picture</a:t>
            </a:r>
          </a:p>
        </p:txBody>
      </p:sp>
      <p:sp>
        <p:nvSpPr>
          <p:cNvPr id="14" name="Espace réservé de la date 9"/>
          <p:cNvSpPr>
            <a:spLocks noGrp="1"/>
          </p:cNvSpPr>
          <p:nvPr>
            <p:ph type="dt" sz="half" idx="21"/>
          </p:nvPr>
        </p:nvSpPr>
        <p:spPr/>
        <p:txBody>
          <a:bodyPr/>
          <a:lstStyle>
            <a:lvl1pPr>
              <a:defRPr/>
            </a:lvl1pPr>
          </a:lstStyle>
          <a:p>
            <a:pPr>
              <a:defRPr/>
            </a:pPr>
            <a:r>
              <a:rPr lang="en-US">
                <a:solidFill>
                  <a:prstClr val="white">
                    <a:alpha val="0"/>
                  </a:prstClr>
                </a:solidFill>
              </a:rPr>
              <a:t>Date</a:t>
            </a:r>
          </a:p>
        </p:txBody>
      </p:sp>
      <p:sp>
        <p:nvSpPr>
          <p:cNvPr id="16" name="Espace réservé du numéro de diapositive 10"/>
          <p:cNvSpPr>
            <a:spLocks noGrp="1"/>
          </p:cNvSpPr>
          <p:nvPr>
            <p:ph type="sldNum" sz="quarter" idx="22"/>
          </p:nvPr>
        </p:nvSpPr>
        <p:spPr/>
        <p:txBody>
          <a:bodyPr/>
          <a:lstStyle>
            <a:lvl1pPr>
              <a:defRPr sz="100">
                <a:solidFill>
                  <a:schemeClr val="bg1">
                    <a:alpha val="0"/>
                  </a:schemeClr>
                </a:solidFill>
              </a:defRPr>
            </a:lvl1pPr>
          </a:lstStyle>
          <a:p>
            <a:pPr>
              <a:defRPr/>
            </a:pPr>
            <a:r>
              <a:rPr lang="en-US">
                <a:solidFill>
                  <a:prstClr val="white">
                    <a:alpha val="0"/>
                  </a:prstClr>
                </a:solidFill>
              </a:rPr>
              <a:t>Page: </a:t>
            </a:r>
            <a:fld id="{FBC781E1-DB0D-44EA-942B-52789A2EA6EC}" type="slidenum">
              <a:rPr lang="en-US">
                <a:solidFill>
                  <a:prstClr val="white">
                    <a:alpha val="0"/>
                  </a:prstClr>
                </a:solidFill>
              </a:rPr>
              <a:pPr>
                <a:defRPr/>
              </a:pPr>
              <a:t>‹#›</a:t>
            </a:fld>
            <a:endParaRPr lang="en-US">
              <a:solidFill>
                <a:prstClr val="white">
                  <a:alpha val="0"/>
                </a:prstClr>
              </a:solidFill>
            </a:endParaRPr>
          </a:p>
        </p:txBody>
      </p:sp>
      <p:sp>
        <p:nvSpPr>
          <p:cNvPr id="18" name="Espace réservé du pied de page 11"/>
          <p:cNvSpPr>
            <a:spLocks noGrp="1"/>
          </p:cNvSpPr>
          <p:nvPr>
            <p:ph type="ftr" sz="quarter" idx="23"/>
          </p:nvPr>
        </p:nvSpPr>
        <p:spPr>
          <a:xfrm>
            <a:off x="468313" y="523875"/>
            <a:ext cx="4824412" cy="360363"/>
          </a:xfrm>
        </p:spPr>
        <p:txBody>
          <a:bodyPr/>
          <a:lstStyle>
            <a:lvl1pPr algn="l">
              <a:defRPr sz="1800" b="0">
                <a:solidFill>
                  <a:schemeClr val="bg1"/>
                </a:solidFill>
              </a:defRPr>
            </a:lvl1pPr>
          </a:lstStyle>
          <a:p>
            <a:pPr>
              <a:defRPr/>
            </a:pPr>
            <a:r>
              <a:rPr lang="en-US">
                <a:solidFill>
                  <a:prstClr val="white"/>
                </a:solidFill>
              </a:rPr>
              <a:t>#</a:t>
            </a:r>
            <a:r>
              <a:rPr lang="en-US" err="1">
                <a:solidFill>
                  <a:prstClr val="white"/>
                </a:solidFill>
              </a:rPr>
              <a:t>vaccineswork</a:t>
            </a:r>
            <a:endParaRPr lang="en-US">
              <a:solidFill>
                <a:prstClr val="white"/>
              </a:solidFill>
            </a:endParaRPr>
          </a:p>
          <a:p>
            <a:pPr>
              <a:defRPr/>
            </a:pPr>
            <a:endParaRPr lang="en-US">
              <a:solidFill>
                <a:prstClr val="white"/>
              </a:solidFill>
            </a:endParaRPr>
          </a:p>
        </p:txBody>
      </p:sp>
    </p:spTree>
    <p:extLst>
      <p:ext uri="{BB962C8B-B14F-4D97-AF65-F5344CB8AC3E}">
        <p14:creationId xmlns:p14="http://schemas.microsoft.com/office/powerpoint/2010/main" val="59073753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over_Picture_2">
    <p:spTree>
      <p:nvGrpSpPr>
        <p:cNvPr id="1" name=""/>
        <p:cNvGrpSpPr/>
        <p:nvPr/>
      </p:nvGrpSpPr>
      <p:grpSpPr>
        <a:xfrm>
          <a:off x="0" y="0"/>
          <a:ext cx="0" cy="0"/>
          <a:chOff x="0" y="0"/>
          <a:chExt cx="0" cy="0"/>
        </a:xfrm>
      </p:grpSpPr>
      <p:pic>
        <p:nvPicPr>
          <p:cNvPr id="7" name="Image 20" descr="FD_1_L254.png"/>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gray">
          <a:xfrm>
            <a:off x="0" y="0"/>
            <a:ext cx="9144000" cy="51577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0" name="Rectangle 9"/>
          <p:cNvSpPr/>
          <p:nvPr userDrawn="1"/>
        </p:nvSpPr>
        <p:spPr bwMode="gray">
          <a:xfrm>
            <a:off x="3635375" y="5265738"/>
            <a:ext cx="5508625" cy="15922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prstClr val="white"/>
              </a:solidFill>
            </a:endParaRPr>
          </a:p>
        </p:txBody>
      </p:sp>
      <p:pic>
        <p:nvPicPr>
          <p:cNvPr id="11" name="Image 19" descr="Bas_couv.png"/>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gray">
          <a:xfrm>
            <a:off x="0" y="5172075"/>
            <a:ext cx="3635375" cy="16859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2" name="Rectangle 11"/>
          <p:cNvSpPr/>
          <p:nvPr userDrawn="1"/>
        </p:nvSpPr>
        <p:spPr bwMode="gray">
          <a:xfrm>
            <a:off x="3635375" y="6354763"/>
            <a:ext cx="5113338" cy="2873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p>
            <a:pPr algn="r">
              <a:defRPr/>
            </a:pPr>
            <a:r>
              <a:rPr lang="en-US" sz="1000" err="1">
                <a:solidFill>
                  <a:srgbClr val="95D600"/>
                </a:solidFill>
              </a:rPr>
              <a:t>www.gavi.org</a:t>
            </a:r>
            <a:endParaRPr lang="en-US" sz="1000">
              <a:solidFill>
                <a:srgbClr val="95D600"/>
              </a:solidFill>
            </a:endParaRPr>
          </a:p>
        </p:txBody>
      </p:sp>
      <p:cxnSp>
        <p:nvCxnSpPr>
          <p:cNvPr id="13" name="Connecteur droit 13"/>
          <p:cNvCxnSpPr/>
          <p:nvPr userDrawn="1"/>
        </p:nvCxnSpPr>
        <p:spPr bwMode="gray">
          <a:xfrm flipH="1">
            <a:off x="468313" y="3402013"/>
            <a:ext cx="2447925" cy="0"/>
          </a:xfrm>
          <a:prstGeom prst="line">
            <a:avLst/>
          </a:prstGeom>
          <a:ln w="24130">
            <a:solidFill>
              <a:schemeClr val="accent1"/>
            </a:solidFill>
          </a:ln>
        </p:spPr>
        <p:style>
          <a:lnRef idx="1">
            <a:schemeClr val="accent1"/>
          </a:lnRef>
          <a:fillRef idx="0">
            <a:schemeClr val="accent1"/>
          </a:fillRef>
          <a:effectRef idx="0">
            <a:schemeClr val="accent1"/>
          </a:effectRef>
          <a:fontRef idx="minor">
            <a:schemeClr val="tx1"/>
          </a:fontRef>
        </p:style>
      </p:cxnSp>
      <p:sp>
        <p:nvSpPr>
          <p:cNvPr id="9" name="Espace réservé du texte 8"/>
          <p:cNvSpPr>
            <a:spLocks noGrp="1"/>
          </p:cNvSpPr>
          <p:nvPr>
            <p:ph type="body" sz="quarter" idx="13"/>
          </p:nvPr>
        </p:nvSpPr>
        <p:spPr bwMode="gray">
          <a:xfrm>
            <a:off x="468000" y="1036800"/>
            <a:ext cx="4824412" cy="2232000"/>
          </a:xfrm>
        </p:spPr>
        <p:txBody>
          <a:bodyPr anchor="b"/>
          <a:lstStyle>
            <a:lvl1pPr marL="0" indent="0" algn="l">
              <a:lnSpc>
                <a:spcPct val="90000"/>
              </a:lnSpc>
              <a:buNone/>
              <a:defRPr sz="2800" b="1" cap="none" baseline="0">
                <a:solidFill>
                  <a:schemeClr val="bg1"/>
                </a:solidFill>
              </a:defRPr>
            </a:lvl1pPr>
            <a:lvl2pPr marL="0" algn="ctr">
              <a:lnSpc>
                <a:spcPct val="100000"/>
              </a:lnSpc>
              <a:spcBef>
                <a:spcPts val="6900"/>
              </a:spcBef>
              <a:defRPr sz="2000" b="1">
                <a:solidFill>
                  <a:schemeClr val="bg1"/>
                </a:solidFill>
              </a:defRPr>
            </a:lvl2pPr>
          </a:lstStyle>
          <a:p>
            <a:pPr lvl="0"/>
            <a:r>
              <a:rPr lang="en-US" noProof="0"/>
              <a:t>Click to edit Master text styles</a:t>
            </a:r>
          </a:p>
        </p:txBody>
      </p:sp>
      <p:sp>
        <p:nvSpPr>
          <p:cNvPr id="8" name="Espace réservé du texte 8"/>
          <p:cNvSpPr>
            <a:spLocks noGrp="1"/>
          </p:cNvSpPr>
          <p:nvPr>
            <p:ph type="body" sz="quarter" idx="14"/>
          </p:nvPr>
        </p:nvSpPr>
        <p:spPr bwMode="gray">
          <a:xfrm>
            <a:off x="468314" y="3585600"/>
            <a:ext cx="3592800" cy="1479600"/>
          </a:xfrm>
        </p:spPr>
        <p:txBody>
          <a:bodyPr/>
          <a:lstStyle>
            <a:lvl1pPr marL="0" indent="0" algn="l">
              <a:lnSpc>
                <a:spcPct val="90000"/>
              </a:lnSpc>
              <a:buNone/>
              <a:defRPr sz="2000" b="0" baseline="0">
                <a:solidFill>
                  <a:schemeClr val="bg1"/>
                </a:solidFill>
              </a:defRPr>
            </a:lvl1pPr>
            <a:lvl2pPr marL="0" algn="ctr">
              <a:lnSpc>
                <a:spcPct val="100000"/>
              </a:lnSpc>
              <a:spcBef>
                <a:spcPts val="6900"/>
              </a:spcBef>
              <a:defRPr sz="2000" b="1">
                <a:solidFill>
                  <a:schemeClr val="bg1"/>
                </a:solidFill>
              </a:defRPr>
            </a:lvl2pPr>
          </a:lstStyle>
          <a:p>
            <a:pPr lvl="0"/>
            <a:r>
              <a:rPr lang="en-US" noProof="0"/>
              <a:t>Click to edit Master text styles</a:t>
            </a:r>
          </a:p>
        </p:txBody>
      </p:sp>
      <p:sp>
        <p:nvSpPr>
          <p:cNvPr id="15" name="Espace réservé du texte 14"/>
          <p:cNvSpPr>
            <a:spLocks noGrp="1"/>
          </p:cNvSpPr>
          <p:nvPr>
            <p:ph type="body" sz="quarter" idx="19"/>
          </p:nvPr>
        </p:nvSpPr>
        <p:spPr bwMode="gray">
          <a:xfrm>
            <a:off x="3635376" y="6021388"/>
            <a:ext cx="5113338" cy="324000"/>
          </a:xfrm>
        </p:spPr>
        <p:txBody>
          <a:bodyPr anchor="b"/>
          <a:lstStyle>
            <a:lvl1pPr algn="r">
              <a:lnSpc>
                <a:spcPct val="100000"/>
              </a:lnSpc>
              <a:defRPr sz="1000" b="1">
                <a:solidFill>
                  <a:schemeClr val="accent3"/>
                </a:solidFill>
              </a:defRPr>
            </a:lvl1pPr>
          </a:lstStyle>
          <a:p>
            <a:pPr lvl="0"/>
            <a:r>
              <a:rPr lang="en-US" noProof="0"/>
              <a:t>Click to edit Master text styles</a:t>
            </a:r>
          </a:p>
        </p:txBody>
      </p:sp>
      <p:sp>
        <p:nvSpPr>
          <p:cNvPr id="17" name="Espace réservé du texte 16"/>
          <p:cNvSpPr>
            <a:spLocks noGrp="1"/>
          </p:cNvSpPr>
          <p:nvPr>
            <p:ph type="body" sz="quarter" idx="20"/>
          </p:nvPr>
        </p:nvSpPr>
        <p:spPr bwMode="gray">
          <a:xfrm>
            <a:off x="0" y="5157788"/>
            <a:ext cx="9144000" cy="287337"/>
          </a:xfrm>
          <a:solidFill>
            <a:schemeClr val="bg1"/>
          </a:solidFill>
        </p:spPr>
        <p:txBody>
          <a:bodyPr/>
          <a:lstStyle>
            <a:lvl1pPr>
              <a:defRPr sz="100" b="0">
                <a:solidFill>
                  <a:schemeClr val="bg1">
                    <a:alpha val="0"/>
                  </a:schemeClr>
                </a:solidFill>
              </a:defRPr>
            </a:lvl1pPr>
          </a:lstStyle>
          <a:p>
            <a:pPr lvl="0"/>
            <a:r>
              <a:rPr lang="en-US" noProof="0"/>
              <a:t>Click to edit Master text styles</a:t>
            </a:r>
          </a:p>
        </p:txBody>
      </p:sp>
      <p:sp>
        <p:nvSpPr>
          <p:cNvPr id="18" name="Espace réservé pour une image  17"/>
          <p:cNvSpPr>
            <a:spLocks noGrp="1"/>
          </p:cNvSpPr>
          <p:nvPr>
            <p:ph type="pic" sz="quarter" idx="18"/>
          </p:nvPr>
        </p:nvSpPr>
        <p:spPr bwMode="gray">
          <a:xfrm>
            <a:off x="4192588" y="0"/>
            <a:ext cx="4951412" cy="5162400"/>
          </a:xfrm>
          <a:custGeom>
            <a:avLst/>
            <a:gdLst>
              <a:gd name="connsiteX0" fmla="*/ 0 w 3851275"/>
              <a:gd name="connsiteY0" fmla="*/ 0 h 5157788"/>
              <a:gd name="connsiteX1" fmla="*/ 3851275 w 3851275"/>
              <a:gd name="connsiteY1" fmla="*/ 0 h 5157788"/>
              <a:gd name="connsiteX2" fmla="*/ 3851275 w 3851275"/>
              <a:gd name="connsiteY2" fmla="*/ 5157788 h 5157788"/>
              <a:gd name="connsiteX3" fmla="*/ 0 w 3851275"/>
              <a:gd name="connsiteY3" fmla="*/ 5157788 h 5157788"/>
              <a:gd name="connsiteX4" fmla="*/ 0 w 3851275"/>
              <a:gd name="connsiteY4"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0 w 3851275"/>
              <a:gd name="connsiteY3" fmla="*/ 5157788 h 5157788"/>
              <a:gd name="connsiteX4" fmla="*/ 1692275 w 3851275"/>
              <a:gd name="connsiteY4" fmla="*/ 0 h 5157788"/>
              <a:gd name="connsiteX0" fmla="*/ 0 w 2159000"/>
              <a:gd name="connsiteY0" fmla="*/ 0 h 5157788"/>
              <a:gd name="connsiteX1" fmla="*/ 2159000 w 2159000"/>
              <a:gd name="connsiteY1" fmla="*/ 0 h 5157788"/>
              <a:gd name="connsiteX2" fmla="*/ 2159000 w 2159000"/>
              <a:gd name="connsiteY2" fmla="*/ 5157788 h 5157788"/>
              <a:gd name="connsiteX3" fmla="*/ 0 w 2159000"/>
              <a:gd name="connsiteY3" fmla="*/ 5157788 h 5157788"/>
              <a:gd name="connsiteX4" fmla="*/ 0 w 2159000"/>
              <a:gd name="connsiteY4" fmla="*/ 0 h 5157788"/>
              <a:gd name="connsiteX0" fmla="*/ 2625271 w 4784271"/>
              <a:gd name="connsiteY0" fmla="*/ 0 h 5157788"/>
              <a:gd name="connsiteX1" fmla="*/ 4784271 w 4784271"/>
              <a:gd name="connsiteY1" fmla="*/ 0 h 5157788"/>
              <a:gd name="connsiteX2" fmla="*/ 4784271 w 4784271"/>
              <a:gd name="connsiteY2" fmla="*/ 5157788 h 5157788"/>
              <a:gd name="connsiteX3" fmla="*/ 2625271 w 4784271"/>
              <a:gd name="connsiteY3" fmla="*/ 5157788 h 5157788"/>
              <a:gd name="connsiteX4" fmla="*/ 2625271 w 4784271"/>
              <a:gd name="connsiteY4" fmla="*/ 0 h 5157788"/>
              <a:gd name="connsiteX0" fmla="*/ 2625271 w 4784271"/>
              <a:gd name="connsiteY0" fmla="*/ 0 h 5157788"/>
              <a:gd name="connsiteX1" fmla="*/ 4784271 w 4784271"/>
              <a:gd name="connsiteY1" fmla="*/ 0 h 5157788"/>
              <a:gd name="connsiteX2" fmla="*/ 4784271 w 4784271"/>
              <a:gd name="connsiteY2" fmla="*/ 5157788 h 5157788"/>
              <a:gd name="connsiteX3" fmla="*/ 2625271 w 4784271"/>
              <a:gd name="connsiteY3" fmla="*/ 5157788 h 5157788"/>
              <a:gd name="connsiteX4" fmla="*/ 2625271 w 4784271"/>
              <a:gd name="connsiteY4" fmla="*/ 0 h 5157788"/>
              <a:gd name="connsiteX0" fmla="*/ 3568576 w 5727576"/>
              <a:gd name="connsiteY0" fmla="*/ 0 h 5157788"/>
              <a:gd name="connsiteX1" fmla="*/ 5727576 w 5727576"/>
              <a:gd name="connsiteY1" fmla="*/ 0 h 5157788"/>
              <a:gd name="connsiteX2" fmla="*/ 5727576 w 5727576"/>
              <a:gd name="connsiteY2" fmla="*/ 5157788 h 5157788"/>
              <a:gd name="connsiteX3" fmla="*/ 3568576 w 5727576"/>
              <a:gd name="connsiteY3" fmla="*/ 5157788 h 5157788"/>
              <a:gd name="connsiteX4" fmla="*/ 3568576 w 5727576"/>
              <a:gd name="connsiteY4" fmla="*/ 0 h 5157788"/>
              <a:gd name="connsiteX0" fmla="*/ 3306355 w 5465355"/>
              <a:gd name="connsiteY0" fmla="*/ 0 h 5157788"/>
              <a:gd name="connsiteX1" fmla="*/ 5465355 w 5465355"/>
              <a:gd name="connsiteY1" fmla="*/ 0 h 5157788"/>
              <a:gd name="connsiteX2" fmla="*/ 5465355 w 5465355"/>
              <a:gd name="connsiteY2" fmla="*/ 5157788 h 5157788"/>
              <a:gd name="connsiteX3" fmla="*/ 3306355 w 5465355"/>
              <a:gd name="connsiteY3" fmla="*/ 5157788 h 5157788"/>
              <a:gd name="connsiteX4" fmla="*/ 3306355 w 5465355"/>
              <a:gd name="connsiteY4" fmla="*/ 0 h 5157788"/>
              <a:gd name="connsiteX0" fmla="*/ 1416957 w 3575957"/>
              <a:gd name="connsiteY0" fmla="*/ 0 h 5157788"/>
              <a:gd name="connsiteX1" fmla="*/ 3575957 w 3575957"/>
              <a:gd name="connsiteY1" fmla="*/ 0 h 5157788"/>
              <a:gd name="connsiteX2" fmla="*/ 3575957 w 3575957"/>
              <a:gd name="connsiteY2" fmla="*/ 5157788 h 5157788"/>
              <a:gd name="connsiteX3" fmla="*/ 1416957 w 3575957"/>
              <a:gd name="connsiteY3" fmla="*/ 5157788 h 5157788"/>
              <a:gd name="connsiteX4" fmla="*/ 0 w 3575957"/>
              <a:gd name="connsiteY4" fmla="*/ 3339193 h 5157788"/>
              <a:gd name="connsiteX5" fmla="*/ 1416957 w 3575957"/>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6017419"/>
              <a:gd name="connsiteX1" fmla="*/ 3851275 w 3851275"/>
              <a:gd name="connsiteY1" fmla="*/ 0 h 6017419"/>
              <a:gd name="connsiteX2" fmla="*/ 3851275 w 3851275"/>
              <a:gd name="connsiteY2" fmla="*/ 5157788 h 6017419"/>
              <a:gd name="connsiteX3" fmla="*/ 1692275 w 3851275"/>
              <a:gd name="connsiteY3" fmla="*/ 5157788 h 6017419"/>
              <a:gd name="connsiteX4" fmla="*/ 0 w 3851275"/>
              <a:gd name="connsiteY4" fmla="*/ 3284984 h 6017419"/>
              <a:gd name="connsiteX5" fmla="*/ 1692275 w 3851275"/>
              <a:gd name="connsiteY5" fmla="*/ 0 h 6017419"/>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429000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429000 h 5157788"/>
              <a:gd name="connsiteX5" fmla="*/ 1710871 w 3869871"/>
              <a:gd name="connsiteY5" fmla="*/ 0 h 5157788"/>
              <a:gd name="connsiteX0" fmla="*/ 1704975 w 3863975"/>
              <a:gd name="connsiteY0" fmla="*/ 0 h 5157788"/>
              <a:gd name="connsiteX1" fmla="*/ 3863975 w 3863975"/>
              <a:gd name="connsiteY1" fmla="*/ 0 h 5157788"/>
              <a:gd name="connsiteX2" fmla="*/ 3863975 w 3863975"/>
              <a:gd name="connsiteY2" fmla="*/ 5157788 h 5157788"/>
              <a:gd name="connsiteX3" fmla="*/ 1704975 w 3863975"/>
              <a:gd name="connsiteY3" fmla="*/ 5157788 h 5157788"/>
              <a:gd name="connsiteX4" fmla="*/ 12700 w 3863975"/>
              <a:gd name="connsiteY4" fmla="*/ 3429000 h 5157788"/>
              <a:gd name="connsiteX5" fmla="*/ 1704975 w 3863975"/>
              <a:gd name="connsiteY5" fmla="*/ 0 h 5157788"/>
              <a:gd name="connsiteX0" fmla="*/ 1707243 w 3866243"/>
              <a:gd name="connsiteY0" fmla="*/ 0 h 5157788"/>
              <a:gd name="connsiteX1" fmla="*/ 3866243 w 3866243"/>
              <a:gd name="connsiteY1" fmla="*/ 0 h 5157788"/>
              <a:gd name="connsiteX2" fmla="*/ 3866243 w 3866243"/>
              <a:gd name="connsiteY2" fmla="*/ 5157788 h 5157788"/>
              <a:gd name="connsiteX3" fmla="*/ 1707243 w 3866243"/>
              <a:gd name="connsiteY3" fmla="*/ 5157788 h 5157788"/>
              <a:gd name="connsiteX4" fmla="*/ 14968 w 3866243"/>
              <a:gd name="connsiteY4" fmla="*/ 3429000 h 5157788"/>
              <a:gd name="connsiteX5" fmla="*/ 1707243 w 3866243"/>
              <a:gd name="connsiteY5" fmla="*/ 0 h 5157788"/>
              <a:gd name="connsiteX0" fmla="*/ 1130447 w 3866243"/>
              <a:gd name="connsiteY0" fmla="*/ 0 h 5157788"/>
              <a:gd name="connsiteX1" fmla="*/ 3866243 w 3866243"/>
              <a:gd name="connsiteY1" fmla="*/ 0 h 5157788"/>
              <a:gd name="connsiteX2" fmla="*/ 3866243 w 3866243"/>
              <a:gd name="connsiteY2" fmla="*/ 5157788 h 5157788"/>
              <a:gd name="connsiteX3" fmla="*/ 1707243 w 3866243"/>
              <a:gd name="connsiteY3" fmla="*/ 5157788 h 5157788"/>
              <a:gd name="connsiteX4" fmla="*/ 14968 w 3866243"/>
              <a:gd name="connsiteY4" fmla="*/ 3429000 h 5157788"/>
              <a:gd name="connsiteX5" fmla="*/ 1130447 w 3866243"/>
              <a:gd name="connsiteY5" fmla="*/ 0 h 5157788"/>
              <a:gd name="connsiteX0" fmla="*/ 2746143 w 5481939"/>
              <a:gd name="connsiteY0" fmla="*/ 0 h 5157788"/>
              <a:gd name="connsiteX1" fmla="*/ 5481939 w 5481939"/>
              <a:gd name="connsiteY1" fmla="*/ 0 h 5157788"/>
              <a:gd name="connsiteX2" fmla="*/ 5481939 w 5481939"/>
              <a:gd name="connsiteY2" fmla="*/ 5157788 h 5157788"/>
              <a:gd name="connsiteX3" fmla="*/ 585903 w 5481939"/>
              <a:gd name="connsiteY3" fmla="*/ 5153180 h 5157788"/>
              <a:gd name="connsiteX4" fmla="*/ 1630664 w 5481939"/>
              <a:gd name="connsiteY4" fmla="*/ 3429000 h 5157788"/>
              <a:gd name="connsiteX5" fmla="*/ 2746143 w 5481939"/>
              <a:gd name="connsiteY5" fmla="*/ 0 h 5157788"/>
              <a:gd name="connsiteX0" fmla="*/ 2746143 w 5481939"/>
              <a:gd name="connsiteY0" fmla="*/ 0 h 5157788"/>
              <a:gd name="connsiteX1" fmla="*/ 5481939 w 5481939"/>
              <a:gd name="connsiteY1" fmla="*/ 0 h 5157788"/>
              <a:gd name="connsiteX2" fmla="*/ 5481939 w 5481939"/>
              <a:gd name="connsiteY2" fmla="*/ 5157788 h 5157788"/>
              <a:gd name="connsiteX3" fmla="*/ 585903 w 5481939"/>
              <a:gd name="connsiteY3" fmla="*/ 5153180 h 5157788"/>
              <a:gd name="connsiteX4" fmla="*/ 1630664 w 5481939"/>
              <a:gd name="connsiteY4" fmla="*/ 3429000 h 5157788"/>
              <a:gd name="connsiteX5" fmla="*/ 2746143 w 548193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3574235 w 6310031"/>
              <a:gd name="connsiteY0" fmla="*/ 0 h 5157788"/>
              <a:gd name="connsiteX1" fmla="*/ 6310031 w 6310031"/>
              <a:gd name="connsiteY1" fmla="*/ 0 h 5157788"/>
              <a:gd name="connsiteX2" fmla="*/ 6310031 w 6310031"/>
              <a:gd name="connsiteY2" fmla="*/ 5157788 h 5157788"/>
              <a:gd name="connsiteX3" fmla="*/ 585903 w 6310031"/>
              <a:gd name="connsiteY3" fmla="*/ 5153180 h 5157788"/>
              <a:gd name="connsiteX4" fmla="*/ 1738031 w 6310031"/>
              <a:gd name="connsiteY4" fmla="*/ 3389965 h 5157788"/>
              <a:gd name="connsiteX5" fmla="*/ 3574235 w 6310031"/>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296143 w 5724128"/>
              <a:gd name="connsiteY4" fmla="*/ 3461908 h 5157788"/>
              <a:gd name="connsiteX5" fmla="*/ 2988332 w 5724128"/>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1188132 w 5760132"/>
              <a:gd name="connsiteY4" fmla="*/ 3425937 h 5157788"/>
              <a:gd name="connsiteX5" fmla="*/ 3024336 w 5760132"/>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2736304 w 5760132"/>
              <a:gd name="connsiteY4" fmla="*/ 3461908 h 5157788"/>
              <a:gd name="connsiteX5" fmla="*/ 3024336 w 5760132"/>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2736304 w 5760132"/>
              <a:gd name="connsiteY4" fmla="*/ 3461908 h 5157788"/>
              <a:gd name="connsiteX5" fmla="*/ 3024336 w 5760132"/>
              <a:gd name="connsiteY5" fmla="*/ 0 h 5157788"/>
              <a:gd name="connsiteX0" fmla="*/ 2160240 w 4896036"/>
              <a:gd name="connsiteY0" fmla="*/ 0 h 5157788"/>
              <a:gd name="connsiteX1" fmla="*/ 4896036 w 4896036"/>
              <a:gd name="connsiteY1" fmla="*/ 0 h 5157788"/>
              <a:gd name="connsiteX2" fmla="*/ 4896036 w 4896036"/>
              <a:gd name="connsiteY2" fmla="*/ 5157788 h 5157788"/>
              <a:gd name="connsiteX3" fmla="*/ 0 w 4896036"/>
              <a:gd name="connsiteY3" fmla="*/ 5153180 h 5157788"/>
              <a:gd name="connsiteX4" fmla="*/ 1872208 w 4896036"/>
              <a:gd name="connsiteY4" fmla="*/ 3461908 h 5157788"/>
              <a:gd name="connsiteX5" fmla="*/ 2160240 w 4896036"/>
              <a:gd name="connsiteY5" fmla="*/ 0 h 5157788"/>
              <a:gd name="connsiteX0" fmla="*/ 2232248 w 4968044"/>
              <a:gd name="connsiteY0" fmla="*/ 0 h 5157788"/>
              <a:gd name="connsiteX1" fmla="*/ 4968044 w 4968044"/>
              <a:gd name="connsiteY1" fmla="*/ 0 h 5157788"/>
              <a:gd name="connsiteX2" fmla="*/ 4968044 w 4968044"/>
              <a:gd name="connsiteY2" fmla="*/ 5157788 h 5157788"/>
              <a:gd name="connsiteX3" fmla="*/ 0 w 4968044"/>
              <a:gd name="connsiteY3" fmla="*/ 5153180 h 5157788"/>
              <a:gd name="connsiteX4" fmla="*/ 1944216 w 4968044"/>
              <a:gd name="connsiteY4" fmla="*/ 3461908 h 5157788"/>
              <a:gd name="connsiteX5" fmla="*/ 2232248 w 4968044"/>
              <a:gd name="connsiteY5" fmla="*/ 0 h 5157788"/>
              <a:gd name="connsiteX0" fmla="*/ 2207679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207679 w 4943475"/>
              <a:gd name="connsiteY5" fmla="*/ 0 h 5157788"/>
              <a:gd name="connsiteX0" fmla="*/ 2963763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963763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092200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71575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343583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675731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675731 w 4943475"/>
              <a:gd name="connsiteY5" fmla="*/ 0 h 5157788"/>
              <a:gd name="connsiteX0" fmla="*/ 2675731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675731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9672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19672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51412" h="5157788">
                <a:moveTo>
                  <a:pt x="2706687" y="0"/>
                </a:moveTo>
                <a:lnTo>
                  <a:pt x="4951412" y="0"/>
                </a:lnTo>
                <a:lnTo>
                  <a:pt x="4951412" y="5157788"/>
                </a:lnTo>
                <a:lnTo>
                  <a:pt x="0" y="5153180"/>
                </a:lnTo>
                <a:cubicBezTo>
                  <a:pt x="84411" y="4542509"/>
                  <a:pt x="183041" y="4024723"/>
                  <a:pt x="1243508" y="2562613"/>
                </a:cubicBezTo>
                <a:cubicBezTo>
                  <a:pt x="1867447" y="1704780"/>
                  <a:pt x="2665955" y="709265"/>
                  <a:pt x="2706687" y="0"/>
                </a:cubicBezTo>
                <a:close/>
              </a:path>
            </a:pathLst>
          </a:custGeom>
          <a:solidFill>
            <a:schemeClr val="bg2"/>
          </a:solidFill>
          <a:ln w="3175">
            <a:noFill/>
          </a:ln>
        </p:spPr>
        <p:txBody>
          <a:bodyPr tIns="720000" rtlCol="0" anchor="ctr">
            <a:noAutofit/>
          </a:bodyPr>
          <a:lstStyle>
            <a:lvl1pPr algn="ctr">
              <a:defRPr sz="1500">
                <a:solidFill>
                  <a:schemeClr val="bg1"/>
                </a:solidFill>
              </a:defRPr>
            </a:lvl1pPr>
          </a:lstStyle>
          <a:p>
            <a:pPr lvl="0"/>
            <a:r>
              <a:rPr lang="en-US" noProof="0"/>
              <a:t>Click icon to add picture</a:t>
            </a:r>
          </a:p>
        </p:txBody>
      </p:sp>
      <p:sp>
        <p:nvSpPr>
          <p:cNvPr id="14" name="Espace réservé de la date 9"/>
          <p:cNvSpPr>
            <a:spLocks noGrp="1"/>
          </p:cNvSpPr>
          <p:nvPr>
            <p:ph type="dt" sz="half" idx="21"/>
          </p:nvPr>
        </p:nvSpPr>
        <p:spPr/>
        <p:txBody>
          <a:bodyPr/>
          <a:lstStyle>
            <a:lvl1pPr>
              <a:defRPr/>
            </a:lvl1pPr>
          </a:lstStyle>
          <a:p>
            <a:pPr>
              <a:defRPr/>
            </a:pPr>
            <a:r>
              <a:rPr lang="en-US">
                <a:solidFill>
                  <a:prstClr val="white">
                    <a:alpha val="0"/>
                  </a:prstClr>
                </a:solidFill>
              </a:rPr>
              <a:t>Date</a:t>
            </a:r>
          </a:p>
        </p:txBody>
      </p:sp>
      <p:sp>
        <p:nvSpPr>
          <p:cNvPr id="16" name="Espace réservé du numéro de diapositive 10"/>
          <p:cNvSpPr>
            <a:spLocks noGrp="1"/>
          </p:cNvSpPr>
          <p:nvPr>
            <p:ph type="sldNum" sz="quarter" idx="22"/>
          </p:nvPr>
        </p:nvSpPr>
        <p:spPr/>
        <p:txBody>
          <a:bodyPr/>
          <a:lstStyle>
            <a:lvl1pPr>
              <a:defRPr sz="100">
                <a:solidFill>
                  <a:schemeClr val="bg1">
                    <a:alpha val="0"/>
                  </a:schemeClr>
                </a:solidFill>
              </a:defRPr>
            </a:lvl1pPr>
          </a:lstStyle>
          <a:p>
            <a:pPr>
              <a:defRPr/>
            </a:pPr>
            <a:r>
              <a:rPr lang="en-US">
                <a:solidFill>
                  <a:prstClr val="white">
                    <a:alpha val="0"/>
                  </a:prstClr>
                </a:solidFill>
              </a:rPr>
              <a:t>Page: </a:t>
            </a:r>
            <a:fld id="{A170035D-6B8C-439A-85EA-19B5ADE5A975}" type="slidenum">
              <a:rPr lang="en-US">
                <a:solidFill>
                  <a:prstClr val="white">
                    <a:alpha val="0"/>
                  </a:prstClr>
                </a:solidFill>
              </a:rPr>
              <a:pPr>
                <a:defRPr/>
              </a:pPr>
              <a:t>‹#›</a:t>
            </a:fld>
            <a:endParaRPr lang="en-US">
              <a:solidFill>
                <a:prstClr val="white">
                  <a:alpha val="0"/>
                </a:prstClr>
              </a:solidFill>
            </a:endParaRPr>
          </a:p>
        </p:txBody>
      </p:sp>
      <p:sp>
        <p:nvSpPr>
          <p:cNvPr id="19" name="Espace réservé du pied de page 11"/>
          <p:cNvSpPr>
            <a:spLocks noGrp="1"/>
          </p:cNvSpPr>
          <p:nvPr>
            <p:ph type="ftr" sz="quarter" idx="23"/>
          </p:nvPr>
        </p:nvSpPr>
        <p:spPr>
          <a:xfrm>
            <a:off x="468313" y="523875"/>
            <a:ext cx="4824412" cy="360363"/>
          </a:xfrm>
        </p:spPr>
        <p:txBody>
          <a:bodyPr/>
          <a:lstStyle>
            <a:lvl1pPr algn="l">
              <a:defRPr sz="1800" b="0">
                <a:solidFill>
                  <a:schemeClr val="bg1"/>
                </a:solidFill>
              </a:defRPr>
            </a:lvl1pPr>
          </a:lstStyle>
          <a:p>
            <a:pPr>
              <a:defRPr/>
            </a:pPr>
            <a:r>
              <a:rPr lang="en-US">
                <a:solidFill>
                  <a:prstClr val="white"/>
                </a:solidFill>
              </a:rPr>
              <a:t>#</a:t>
            </a:r>
            <a:r>
              <a:rPr lang="en-US" err="1">
                <a:solidFill>
                  <a:prstClr val="white"/>
                </a:solidFill>
              </a:rPr>
              <a:t>vaccineswork</a:t>
            </a:r>
            <a:endParaRPr lang="en-US">
              <a:solidFill>
                <a:prstClr val="white"/>
              </a:solidFill>
            </a:endParaRPr>
          </a:p>
        </p:txBody>
      </p:sp>
    </p:spTree>
    <p:extLst>
      <p:ext uri="{BB962C8B-B14F-4D97-AF65-F5344CB8AC3E}">
        <p14:creationId xmlns:p14="http://schemas.microsoft.com/office/powerpoint/2010/main" val="289809163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hapter_Layout">
    <p:spTree>
      <p:nvGrpSpPr>
        <p:cNvPr id="1" name=""/>
        <p:cNvGrpSpPr/>
        <p:nvPr/>
      </p:nvGrpSpPr>
      <p:grpSpPr>
        <a:xfrm>
          <a:off x="0" y="0"/>
          <a:ext cx="0" cy="0"/>
          <a:chOff x="0" y="0"/>
          <a:chExt cx="0" cy="0"/>
        </a:xfrm>
      </p:grpSpPr>
      <p:pic>
        <p:nvPicPr>
          <p:cNvPr id="6" name="Image 17" descr="FD_03_chap_110x190,5.pn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gray">
          <a:xfrm>
            <a:off x="0" y="0"/>
            <a:ext cx="3959225" cy="68580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cxnSp>
        <p:nvCxnSpPr>
          <p:cNvPr id="7" name="Connecteur droit 14"/>
          <p:cNvCxnSpPr/>
          <p:nvPr userDrawn="1"/>
        </p:nvCxnSpPr>
        <p:spPr bwMode="gray">
          <a:xfrm flipH="1">
            <a:off x="3635375" y="2389188"/>
            <a:ext cx="1584325" cy="0"/>
          </a:xfrm>
          <a:prstGeom prst="line">
            <a:avLst/>
          </a:prstGeom>
          <a:ln w="24130">
            <a:solidFill>
              <a:schemeClr val="accent1"/>
            </a:solidFill>
          </a:ln>
        </p:spPr>
        <p:style>
          <a:lnRef idx="1">
            <a:schemeClr val="accent1"/>
          </a:lnRef>
          <a:fillRef idx="0">
            <a:schemeClr val="accent1"/>
          </a:fillRef>
          <a:effectRef idx="0">
            <a:schemeClr val="accent1"/>
          </a:effectRef>
          <a:fontRef idx="minor">
            <a:schemeClr val="tx1"/>
          </a:fontRef>
        </p:style>
      </p:cxnSp>
      <p:sp>
        <p:nvSpPr>
          <p:cNvPr id="2" name="Titre 1"/>
          <p:cNvSpPr>
            <a:spLocks noGrp="1"/>
          </p:cNvSpPr>
          <p:nvPr>
            <p:ph type="title"/>
          </p:nvPr>
        </p:nvSpPr>
        <p:spPr bwMode="gray">
          <a:xfrm>
            <a:off x="3635374" y="1036638"/>
            <a:ext cx="3263901" cy="1268759"/>
          </a:xfrm>
        </p:spPr>
        <p:txBody>
          <a:bodyPr/>
          <a:lstStyle/>
          <a:p>
            <a:r>
              <a:rPr lang="en-US" noProof="0"/>
              <a:t>Click to edit Master title style</a:t>
            </a:r>
          </a:p>
        </p:txBody>
      </p:sp>
      <p:sp>
        <p:nvSpPr>
          <p:cNvPr id="10" name="Espace réservé du texte 9"/>
          <p:cNvSpPr>
            <a:spLocks noGrp="1"/>
          </p:cNvSpPr>
          <p:nvPr>
            <p:ph type="body" sz="quarter" idx="13"/>
          </p:nvPr>
        </p:nvSpPr>
        <p:spPr bwMode="gray">
          <a:xfrm>
            <a:off x="3635376" y="2574000"/>
            <a:ext cx="3263900" cy="3447388"/>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Espace réservé du texte 9"/>
          <p:cNvSpPr>
            <a:spLocks noGrp="1"/>
          </p:cNvSpPr>
          <p:nvPr>
            <p:ph type="body" sz="quarter" idx="14"/>
          </p:nvPr>
        </p:nvSpPr>
        <p:spPr bwMode="gray">
          <a:xfrm>
            <a:off x="0" y="139974"/>
            <a:ext cx="2628000" cy="5017814"/>
          </a:xfrm>
        </p:spPr>
        <p:txBody>
          <a:bodyPr/>
          <a:lstStyle>
            <a:lvl1pPr algn="r">
              <a:defRPr sz="16600" b="1">
                <a:solidFill>
                  <a:schemeClr val="bg1"/>
                </a:solidFill>
              </a:defRPr>
            </a:lvl1pPr>
          </a:lstStyle>
          <a:p>
            <a:pPr lvl="0"/>
            <a:r>
              <a:rPr lang="en-US" noProof="0"/>
              <a:t>Click to edit Master text styles</a:t>
            </a:r>
          </a:p>
        </p:txBody>
      </p:sp>
      <p:sp>
        <p:nvSpPr>
          <p:cNvPr id="19" name="Espace réservé pour une image  17"/>
          <p:cNvSpPr>
            <a:spLocks noGrp="1"/>
          </p:cNvSpPr>
          <p:nvPr>
            <p:ph type="pic" sz="quarter" idx="18"/>
          </p:nvPr>
        </p:nvSpPr>
        <p:spPr bwMode="gray">
          <a:xfrm>
            <a:off x="7254332" y="132082"/>
            <a:ext cx="1899827" cy="5812641"/>
          </a:xfrm>
          <a:custGeom>
            <a:avLst/>
            <a:gdLst>
              <a:gd name="connsiteX0" fmla="*/ 0 w 3851275"/>
              <a:gd name="connsiteY0" fmla="*/ 0 h 5157788"/>
              <a:gd name="connsiteX1" fmla="*/ 3851275 w 3851275"/>
              <a:gd name="connsiteY1" fmla="*/ 0 h 5157788"/>
              <a:gd name="connsiteX2" fmla="*/ 3851275 w 3851275"/>
              <a:gd name="connsiteY2" fmla="*/ 5157788 h 5157788"/>
              <a:gd name="connsiteX3" fmla="*/ 0 w 3851275"/>
              <a:gd name="connsiteY3" fmla="*/ 5157788 h 5157788"/>
              <a:gd name="connsiteX4" fmla="*/ 0 w 3851275"/>
              <a:gd name="connsiteY4"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0 w 3851275"/>
              <a:gd name="connsiteY3" fmla="*/ 5157788 h 5157788"/>
              <a:gd name="connsiteX4" fmla="*/ 1692275 w 3851275"/>
              <a:gd name="connsiteY4" fmla="*/ 0 h 5157788"/>
              <a:gd name="connsiteX0" fmla="*/ 0 w 2159000"/>
              <a:gd name="connsiteY0" fmla="*/ 0 h 5157788"/>
              <a:gd name="connsiteX1" fmla="*/ 2159000 w 2159000"/>
              <a:gd name="connsiteY1" fmla="*/ 0 h 5157788"/>
              <a:gd name="connsiteX2" fmla="*/ 2159000 w 2159000"/>
              <a:gd name="connsiteY2" fmla="*/ 5157788 h 5157788"/>
              <a:gd name="connsiteX3" fmla="*/ 0 w 2159000"/>
              <a:gd name="connsiteY3" fmla="*/ 5157788 h 5157788"/>
              <a:gd name="connsiteX4" fmla="*/ 0 w 2159000"/>
              <a:gd name="connsiteY4" fmla="*/ 0 h 5157788"/>
              <a:gd name="connsiteX0" fmla="*/ 2625271 w 4784271"/>
              <a:gd name="connsiteY0" fmla="*/ 0 h 5157788"/>
              <a:gd name="connsiteX1" fmla="*/ 4784271 w 4784271"/>
              <a:gd name="connsiteY1" fmla="*/ 0 h 5157788"/>
              <a:gd name="connsiteX2" fmla="*/ 4784271 w 4784271"/>
              <a:gd name="connsiteY2" fmla="*/ 5157788 h 5157788"/>
              <a:gd name="connsiteX3" fmla="*/ 2625271 w 4784271"/>
              <a:gd name="connsiteY3" fmla="*/ 5157788 h 5157788"/>
              <a:gd name="connsiteX4" fmla="*/ 2625271 w 4784271"/>
              <a:gd name="connsiteY4" fmla="*/ 0 h 5157788"/>
              <a:gd name="connsiteX0" fmla="*/ 2625271 w 4784271"/>
              <a:gd name="connsiteY0" fmla="*/ 0 h 5157788"/>
              <a:gd name="connsiteX1" fmla="*/ 4784271 w 4784271"/>
              <a:gd name="connsiteY1" fmla="*/ 0 h 5157788"/>
              <a:gd name="connsiteX2" fmla="*/ 4784271 w 4784271"/>
              <a:gd name="connsiteY2" fmla="*/ 5157788 h 5157788"/>
              <a:gd name="connsiteX3" fmla="*/ 2625271 w 4784271"/>
              <a:gd name="connsiteY3" fmla="*/ 5157788 h 5157788"/>
              <a:gd name="connsiteX4" fmla="*/ 2625271 w 4784271"/>
              <a:gd name="connsiteY4" fmla="*/ 0 h 5157788"/>
              <a:gd name="connsiteX0" fmla="*/ 3568576 w 5727576"/>
              <a:gd name="connsiteY0" fmla="*/ 0 h 5157788"/>
              <a:gd name="connsiteX1" fmla="*/ 5727576 w 5727576"/>
              <a:gd name="connsiteY1" fmla="*/ 0 h 5157788"/>
              <a:gd name="connsiteX2" fmla="*/ 5727576 w 5727576"/>
              <a:gd name="connsiteY2" fmla="*/ 5157788 h 5157788"/>
              <a:gd name="connsiteX3" fmla="*/ 3568576 w 5727576"/>
              <a:gd name="connsiteY3" fmla="*/ 5157788 h 5157788"/>
              <a:gd name="connsiteX4" fmla="*/ 3568576 w 5727576"/>
              <a:gd name="connsiteY4" fmla="*/ 0 h 5157788"/>
              <a:gd name="connsiteX0" fmla="*/ 3306355 w 5465355"/>
              <a:gd name="connsiteY0" fmla="*/ 0 h 5157788"/>
              <a:gd name="connsiteX1" fmla="*/ 5465355 w 5465355"/>
              <a:gd name="connsiteY1" fmla="*/ 0 h 5157788"/>
              <a:gd name="connsiteX2" fmla="*/ 5465355 w 5465355"/>
              <a:gd name="connsiteY2" fmla="*/ 5157788 h 5157788"/>
              <a:gd name="connsiteX3" fmla="*/ 3306355 w 5465355"/>
              <a:gd name="connsiteY3" fmla="*/ 5157788 h 5157788"/>
              <a:gd name="connsiteX4" fmla="*/ 3306355 w 5465355"/>
              <a:gd name="connsiteY4" fmla="*/ 0 h 5157788"/>
              <a:gd name="connsiteX0" fmla="*/ 1416957 w 3575957"/>
              <a:gd name="connsiteY0" fmla="*/ 0 h 5157788"/>
              <a:gd name="connsiteX1" fmla="*/ 3575957 w 3575957"/>
              <a:gd name="connsiteY1" fmla="*/ 0 h 5157788"/>
              <a:gd name="connsiteX2" fmla="*/ 3575957 w 3575957"/>
              <a:gd name="connsiteY2" fmla="*/ 5157788 h 5157788"/>
              <a:gd name="connsiteX3" fmla="*/ 1416957 w 3575957"/>
              <a:gd name="connsiteY3" fmla="*/ 5157788 h 5157788"/>
              <a:gd name="connsiteX4" fmla="*/ 0 w 3575957"/>
              <a:gd name="connsiteY4" fmla="*/ 3339193 h 5157788"/>
              <a:gd name="connsiteX5" fmla="*/ 1416957 w 3575957"/>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6017419"/>
              <a:gd name="connsiteX1" fmla="*/ 3851275 w 3851275"/>
              <a:gd name="connsiteY1" fmla="*/ 0 h 6017419"/>
              <a:gd name="connsiteX2" fmla="*/ 3851275 w 3851275"/>
              <a:gd name="connsiteY2" fmla="*/ 5157788 h 6017419"/>
              <a:gd name="connsiteX3" fmla="*/ 1692275 w 3851275"/>
              <a:gd name="connsiteY3" fmla="*/ 5157788 h 6017419"/>
              <a:gd name="connsiteX4" fmla="*/ 0 w 3851275"/>
              <a:gd name="connsiteY4" fmla="*/ 3284984 h 6017419"/>
              <a:gd name="connsiteX5" fmla="*/ 1692275 w 3851275"/>
              <a:gd name="connsiteY5" fmla="*/ 0 h 6017419"/>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429000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429000 h 5157788"/>
              <a:gd name="connsiteX5" fmla="*/ 1710871 w 3869871"/>
              <a:gd name="connsiteY5" fmla="*/ 0 h 5157788"/>
              <a:gd name="connsiteX0" fmla="*/ 1704975 w 3863975"/>
              <a:gd name="connsiteY0" fmla="*/ 0 h 5157788"/>
              <a:gd name="connsiteX1" fmla="*/ 3863975 w 3863975"/>
              <a:gd name="connsiteY1" fmla="*/ 0 h 5157788"/>
              <a:gd name="connsiteX2" fmla="*/ 3863975 w 3863975"/>
              <a:gd name="connsiteY2" fmla="*/ 5157788 h 5157788"/>
              <a:gd name="connsiteX3" fmla="*/ 1704975 w 3863975"/>
              <a:gd name="connsiteY3" fmla="*/ 5157788 h 5157788"/>
              <a:gd name="connsiteX4" fmla="*/ 12700 w 3863975"/>
              <a:gd name="connsiteY4" fmla="*/ 3429000 h 5157788"/>
              <a:gd name="connsiteX5" fmla="*/ 1704975 w 3863975"/>
              <a:gd name="connsiteY5" fmla="*/ 0 h 5157788"/>
              <a:gd name="connsiteX0" fmla="*/ 1707243 w 3866243"/>
              <a:gd name="connsiteY0" fmla="*/ 0 h 5157788"/>
              <a:gd name="connsiteX1" fmla="*/ 3866243 w 3866243"/>
              <a:gd name="connsiteY1" fmla="*/ 0 h 5157788"/>
              <a:gd name="connsiteX2" fmla="*/ 3866243 w 3866243"/>
              <a:gd name="connsiteY2" fmla="*/ 5157788 h 5157788"/>
              <a:gd name="connsiteX3" fmla="*/ 1707243 w 3866243"/>
              <a:gd name="connsiteY3" fmla="*/ 5157788 h 5157788"/>
              <a:gd name="connsiteX4" fmla="*/ 14968 w 3866243"/>
              <a:gd name="connsiteY4" fmla="*/ 3429000 h 5157788"/>
              <a:gd name="connsiteX5" fmla="*/ 1707243 w 3866243"/>
              <a:gd name="connsiteY5" fmla="*/ 0 h 5157788"/>
              <a:gd name="connsiteX0" fmla="*/ 1130447 w 3866243"/>
              <a:gd name="connsiteY0" fmla="*/ 0 h 5157788"/>
              <a:gd name="connsiteX1" fmla="*/ 3866243 w 3866243"/>
              <a:gd name="connsiteY1" fmla="*/ 0 h 5157788"/>
              <a:gd name="connsiteX2" fmla="*/ 3866243 w 3866243"/>
              <a:gd name="connsiteY2" fmla="*/ 5157788 h 5157788"/>
              <a:gd name="connsiteX3" fmla="*/ 1707243 w 3866243"/>
              <a:gd name="connsiteY3" fmla="*/ 5157788 h 5157788"/>
              <a:gd name="connsiteX4" fmla="*/ 14968 w 3866243"/>
              <a:gd name="connsiteY4" fmla="*/ 3429000 h 5157788"/>
              <a:gd name="connsiteX5" fmla="*/ 1130447 w 3866243"/>
              <a:gd name="connsiteY5" fmla="*/ 0 h 5157788"/>
              <a:gd name="connsiteX0" fmla="*/ 2746143 w 5481939"/>
              <a:gd name="connsiteY0" fmla="*/ 0 h 5157788"/>
              <a:gd name="connsiteX1" fmla="*/ 5481939 w 5481939"/>
              <a:gd name="connsiteY1" fmla="*/ 0 h 5157788"/>
              <a:gd name="connsiteX2" fmla="*/ 5481939 w 5481939"/>
              <a:gd name="connsiteY2" fmla="*/ 5157788 h 5157788"/>
              <a:gd name="connsiteX3" fmla="*/ 585903 w 5481939"/>
              <a:gd name="connsiteY3" fmla="*/ 5153180 h 5157788"/>
              <a:gd name="connsiteX4" fmla="*/ 1630664 w 5481939"/>
              <a:gd name="connsiteY4" fmla="*/ 3429000 h 5157788"/>
              <a:gd name="connsiteX5" fmla="*/ 2746143 w 5481939"/>
              <a:gd name="connsiteY5" fmla="*/ 0 h 5157788"/>
              <a:gd name="connsiteX0" fmla="*/ 2746143 w 5481939"/>
              <a:gd name="connsiteY0" fmla="*/ 0 h 5157788"/>
              <a:gd name="connsiteX1" fmla="*/ 5481939 w 5481939"/>
              <a:gd name="connsiteY1" fmla="*/ 0 h 5157788"/>
              <a:gd name="connsiteX2" fmla="*/ 5481939 w 5481939"/>
              <a:gd name="connsiteY2" fmla="*/ 5157788 h 5157788"/>
              <a:gd name="connsiteX3" fmla="*/ 585903 w 5481939"/>
              <a:gd name="connsiteY3" fmla="*/ 5153180 h 5157788"/>
              <a:gd name="connsiteX4" fmla="*/ 1630664 w 5481939"/>
              <a:gd name="connsiteY4" fmla="*/ 3429000 h 5157788"/>
              <a:gd name="connsiteX5" fmla="*/ 2746143 w 548193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3574235 w 6310031"/>
              <a:gd name="connsiteY0" fmla="*/ 0 h 5157788"/>
              <a:gd name="connsiteX1" fmla="*/ 6310031 w 6310031"/>
              <a:gd name="connsiteY1" fmla="*/ 0 h 5157788"/>
              <a:gd name="connsiteX2" fmla="*/ 6310031 w 6310031"/>
              <a:gd name="connsiteY2" fmla="*/ 5157788 h 5157788"/>
              <a:gd name="connsiteX3" fmla="*/ 585903 w 6310031"/>
              <a:gd name="connsiteY3" fmla="*/ 5153180 h 5157788"/>
              <a:gd name="connsiteX4" fmla="*/ 1738031 w 6310031"/>
              <a:gd name="connsiteY4" fmla="*/ 3389965 h 5157788"/>
              <a:gd name="connsiteX5" fmla="*/ 3574235 w 6310031"/>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296143 w 5724128"/>
              <a:gd name="connsiteY4" fmla="*/ 3461908 h 5157788"/>
              <a:gd name="connsiteX5" fmla="*/ 2988332 w 5724128"/>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1188132 w 5760132"/>
              <a:gd name="connsiteY4" fmla="*/ 3425937 h 5157788"/>
              <a:gd name="connsiteX5" fmla="*/ 3024336 w 5760132"/>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2736304 w 5760132"/>
              <a:gd name="connsiteY4" fmla="*/ 3461908 h 5157788"/>
              <a:gd name="connsiteX5" fmla="*/ 3024336 w 5760132"/>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2736304 w 5760132"/>
              <a:gd name="connsiteY4" fmla="*/ 3461908 h 5157788"/>
              <a:gd name="connsiteX5" fmla="*/ 3024336 w 5760132"/>
              <a:gd name="connsiteY5" fmla="*/ 0 h 5157788"/>
              <a:gd name="connsiteX0" fmla="*/ 2160240 w 4896036"/>
              <a:gd name="connsiteY0" fmla="*/ 0 h 5157788"/>
              <a:gd name="connsiteX1" fmla="*/ 4896036 w 4896036"/>
              <a:gd name="connsiteY1" fmla="*/ 0 h 5157788"/>
              <a:gd name="connsiteX2" fmla="*/ 4896036 w 4896036"/>
              <a:gd name="connsiteY2" fmla="*/ 5157788 h 5157788"/>
              <a:gd name="connsiteX3" fmla="*/ 0 w 4896036"/>
              <a:gd name="connsiteY3" fmla="*/ 5153180 h 5157788"/>
              <a:gd name="connsiteX4" fmla="*/ 1872208 w 4896036"/>
              <a:gd name="connsiteY4" fmla="*/ 3461908 h 5157788"/>
              <a:gd name="connsiteX5" fmla="*/ 2160240 w 4896036"/>
              <a:gd name="connsiteY5" fmla="*/ 0 h 5157788"/>
              <a:gd name="connsiteX0" fmla="*/ 2232248 w 4968044"/>
              <a:gd name="connsiteY0" fmla="*/ 0 h 5157788"/>
              <a:gd name="connsiteX1" fmla="*/ 4968044 w 4968044"/>
              <a:gd name="connsiteY1" fmla="*/ 0 h 5157788"/>
              <a:gd name="connsiteX2" fmla="*/ 4968044 w 4968044"/>
              <a:gd name="connsiteY2" fmla="*/ 5157788 h 5157788"/>
              <a:gd name="connsiteX3" fmla="*/ 0 w 4968044"/>
              <a:gd name="connsiteY3" fmla="*/ 5153180 h 5157788"/>
              <a:gd name="connsiteX4" fmla="*/ 1944216 w 4968044"/>
              <a:gd name="connsiteY4" fmla="*/ 3461908 h 5157788"/>
              <a:gd name="connsiteX5" fmla="*/ 2232248 w 4968044"/>
              <a:gd name="connsiteY5" fmla="*/ 0 h 5157788"/>
              <a:gd name="connsiteX0" fmla="*/ 2207679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207679 w 4943475"/>
              <a:gd name="connsiteY5" fmla="*/ 0 h 5157788"/>
              <a:gd name="connsiteX0" fmla="*/ 2963763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963763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092200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71575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343583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675731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675731 w 4943475"/>
              <a:gd name="connsiteY5" fmla="*/ 0 h 5157788"/>
              <a:gd name="connsiteX0" fmla="*/ 2675731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675731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9672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19672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1668519 w 3913244"/>
              <a:gd name="connsiteY0" fmla="*/ 0 h 5183692"/>
              <a:gd name="connsiteX1" fmla="*/ 3913244 w 3913244"/>
              <a:gd name="connsiteY1" fmla="*/ 0 h 5183692"/>
              <a:gd name="connsiteX2" fmla="*/ 3913244 w 3913244"/>
              <a:gd name="connsiteY2" fmla="*/ 5157788 h 5183692"/>
              <a:gd name="connsiteX3" fmla="*/ 2456872 w 3913244"/>
              <a:gd name="connsiteY3" fmla="*/ 5183633 h 5183692"/>
              <a:gd name="connsiteX4" fmla="*/ 205340 w 3913244"/>
              <a:gd name="connsiteY4" fmla="*/ 2562613 h 5183692"/>
              <a:gd name="connsiteX5" fmla="*/ 1668519 w 3913244"/>
              <a:gd name="connsiteY5" fmla="*/ 0 h 5183692"/>
              <a:gd name="connsiteX0" fmla="*/ 1668519 w 3923404"/>
              <a:gd name="connsiteY0" fmla="*/ 0 h 5939409"/>
              <a:gd name="connsiteX1" fmla="*/ 3913244 w 3923404"/>
              <a:gd name="connsiteY1" fmla="*/ 0 h 5939409"/>
              <a:gd name="connsiteX2" fmla="*/ 3923404 w 3923404"/>
              <a:gd name="connsiteY2" fmla="*/ 5939409 h 5939409"/>
              <a:gd name="connsiteX3" fmla="*/ 2456872 w 3923404"/>
              <a:gd name="connsiteY3" fmla="*/ 5183633 h 5939409"/>
              <a:gd name="connsiteX4" fmla="*/ 205340 w 3923404"/>
              <a:gd name="connsiteY4" fmla="*/ 2562613 h 5939409"/>
              <a:gd name="connsiteX5" fmla="*/ 1668519 w 3923404"/>
              <a:gd name="connsiteY5" fmla="*/ 0 h 5939409"/>
              <a:gd name="connsiteX0" fmla="*/ 1668519 w 3923404"/>
              <a:gd name="connsiteY0" fmla="*/ 0 h 5939409"/>
              <a:gd name="connsiteX1" fmla="*/ 3913244 w 3923404"/>
              <a:gd name="connsiteY1" fmla="*/ 0 h 5939409"/>
              <a:gd name="connsiteX2" fmla="*/ 3923404 w 3923404"/>
              <a:gd name="connsiteY2" fmla="*/ 5939409 h 5939409"/>
              <a:gd name="connsiteX3" fmla="*/ 2456872 w 3923404"/>
              <a:gd name="connsiteY3" fmla="*/ 5183633 h 5939409"/>
              <a:gd name="connsiteX4" fmla="*/ 205340 w 3923404"/>
              <a:gd name="connsiteY4" fmla="*/ 2562613 h 5939409"/>
              <a:gd name="connsiteX5" fmla="*/ 1668519 w 3923404"/>
              <a:gd name="connsiteY5" fmla="*/ 0 h 5939409"/>
              <a:gd name="connsiteX0" fmla="*/ 1696047 w 3950932"/>
              <a:gd name="connsiteY0" fmla="*/ 0 h 5939409"/>
              <a:gd name="connsiteX1" fmla="*/ 3940772 w 3950932"/>
              <a:gd name="connsiteY1" fmla="*/ 0 h 5939409"/>
              <a:gd name="connsiteX2" fmla="*/ 3950932 w 3950932"/>
              <a:gd name="connsiteY2" fmla="*/ 5939409 h 5939409"/>
              <a:gd name="connsiteX3" fmla="*/ 2484400 w 3950932"/>
              <a:gd name="connsiteY3" fmla="*/ 5183633 h 5939409"/>
              <a:gd name="connsiteX4" fmla="*/ 232868 w 3950932"/>
              <a:gd name="connsiteY4" fmla="*/ 2562613 h 5939409"/>
              <a:gd name="connsiteX5" fmla="*/ 1696047 w 3950932"/>
              <a:gd name="connsiteY5" fmla="*/ 0 h 5939409"/>
              <a:gd name="connsiteX0" fmla="*/ 1463179 w 3718064"/>
              <a:gd name="connsiteY0" fmla="*/ 0 h 5983194"/>
              <a:gd name="connsiteX1" fmla="*/ 3707904 w 3718064"/>
              <a:gd name="connsiteY1" fmla="*/ 0 h 5983194"/>
              <a:gd name="connsiteX2" fmla="*/ 3718064 w 3718064"/>
              <a:gd name="connsiteY2" fmla="*/ 5939409 h 5983194"/>
              <a:gd name="connsiteX3" fmla="*/ 0 w 3718064"/>
              <a:gd name="connsiteY3" fmla="*/ 2562613 h 5983194"/>
              <a:gd name="connsiteX4" fmla="*/ 1463179 w 3718064"/>
              <a:gd name="connsiteY4" fmla="*/ 0 h 5983194"/>
              <a:gd name="connsiteX0" fmla="*/ 1464005 w 3718890"/>
              <a:gd name="connsiteY0" fmla="*/ 0 h 5987401"/>
              <a:gd name="connsiteX1" fmla="*/ 3708730 w 3718890"/>
              <a:gd name="connsiteY1" fmla="*/ 0 h 5987401"/>
              <a:gd name="connsiteX2" fmla="*/ 3718890 w 3718890"/>
              <a:gd name="connsiteY2" fmla="*/ 5939409 h 5987401"/>
              <a:gd name="connsiteX3" fmla="*/ 826 w 3718890"/>
              <a:gd name="connsiteY3" fmla="*/ 2562613 h 5987401"/>
              <a:gd name="connsiteX4" fmla="*/ 1464005 w 3718890"/>
              <a:gd name="connsiteY4" fmla="*/ 0 h 5987401"/>
              <a:gd name="connsiteX0" fmla="*/ 1267 w 2256152"/>
              <a:gd name="connsiteY0" fmla="*/ 0 h 6002954"/>
              <a:gd name="connsiteX1" fmla="*/ 2245992 w 2256152"/>
              <a:gd name="connsiteY1" fmla="*/ 0 h 6002954"/>
              <a:gd name="connsiteX2" fmla="*/ 2256152 w 2256152"/>
              <a:gd name="connsiteY2" fmla="*/ 5939409 h 6002954"/>
              <a:gd name="connsiteX3" fmla="*/ 956168 w 2256152"/>
              <a:gd name="connsiteY3" fmla="*/ 3273178 h 6002954"/>
              <a:gd name="connsiteX4" fmla="*/ 1267 w 2256152"/>
              <a:gd name="connsiteY4" fmla="*/ 0 h 6002954"/>
              <a:gd name="connsiteX0" fmla="*/ 2 w 1299986"/>
              <a:gd name="connsiteY0" fmla="*/ 3321709 h 6044422"/>
              <a:gd name="connsiteX1" fmla="*/ 1289826 w 1299986"/>
              <a:gd name="connsiteY1" fmla="*/ 48531 h 6044422"/>
              <a:gd name="connsiteX2" fmla="*/ 1299986 w 1299986"/>
              <a:gd name="connsiteY2" fmla="*/ 5987940 h 6044422"/>
              <a:gd name="connsiteX3" fmla="*/ 2 w 1299986"/>
              <a:gd name="connsiteY3" fmla="*/ 3321709 h 6044422"/>
              <a:gd name="connsiteX0" fmla="*/ 2 w 1299986"/>
              <a:gd name="connsiteY0" fmla="*/ 3273178 h 5995891"/>
              <a:gd name="connsiteX1" fmla="*/ 1289826 w 1299986"/>
              <a:gd name="connsiteY1" fmla="*/ 0 h 5995891"/>
              <a:gd name="connsiteX2" fmla="*/ 1299986 w 1299986"/>
              <a:gd name="connsiteY2" fmla="*/ 5939409 h 5995891"/>
              <a:gd name="connsiteX3" fmla="*/ 2 w 1299986"/>
              <a:gd name="connsiteY3" fmla="*/ 3273178 h 5995891"/>
              <a:gd name="connsiteX0" fmla="*/ 2 w 1299986"/>
              <a:gd name="connsiteY0" fmla="*/ 3273178 h 5995891"/>
              <a:gd name="connsiteX1" fmla="*/ 1289826 w 1299986"/>
              <a:gd name="connsiteY1" fmla="*/ 0 h 5995891"/>
              <a:gd name="connsiteX2" fmla="*/ 1299986 w 1299986"/>
              <a:gd name="connsiteY2" fmla="*/ 5939409 h 5995891"/>
              <a:gd name="connsiteX3" fmla="*/ 2 w 1299986"/>
              <a:gd name="connsiteY3" fmla="*/ 3273178 h 5995891"/>
              <a:gd name="connsiteX0" fmla="*/ 2 w 1299986"/>
              <a:gd name="connsiteY0" fmla="*/ 3273178 h 5995891"/>
              <a:gd name="connsiteX1" fmla="*/ 1289826 w 1299986"/>
              <a:gd name="connsiteY1" fmla="*/ 0 h 5995891"/>
              <a:gd name="connsiteX2" fmla="*/ 1299986 w 1299986"/>
              <a:gd name="connsiteY2" fmla="*/ 5939409 h 5995891"/>
              <a:gd name="connsiteX3" fmla="*/ 2 w 1299986"/>
              <a:gd name="connsiteY3" fmla="*/ 3273178 h 5995891"/>
              <a:gd name="connsiteX0" fmla="*/ 2 w 1299986"/>
              <a:gd name="connsiteY0" fmla="*/ 2725028 h 5445777"/>
              <a:gd name="connsiteX1" fmla="*/ 1289826 w 1299986"/>
              <a:gd name="connsiteY1" fmla="*/ 0 h 5445777"/>
              <a:gd name="connsiteX2" fmla="*/ 1299986 w 1299986"/>
              <a:gd name="connsiteY2" fmla="*/ 5391259 h 5445777"/>
              <a:gd name="connsiteX3" fmla="*/ 2 w 1299986"/>
              <a:gd name="connsiteY3" fmla="*/ 2725028 h 5445777"/>
              <a:gd name="connsiteX0" fmla="*/ 2 w 1299986"/>
              <a:gd name="connsiteY0" fmla="*/ 3141216 h 5863443"/>
              <a:gd name="connsiteX1" fmla="*/ 1289826 w 1299986"/>
              <a:gd name="connsiteY1" fmla="*/ 0 h 5863443"/>
              <a:gd name="connsiteX2" fmla="*/ 1299986 w 1299986"/>
              <a:gd name="connsiteY2" fmla="*/ 5807447 h 5863443"/>
              <a:gd name="connsiteX3" fmla="*/ 2 w 1299986"/>
              <a:gd name="connsiteY3" fmla="*/ 3141216 h 5863443"/>
              <a:gd name="connsiteX0" fmla="*/ 2 w 1299986"/>
              <a:gd name="connsiteY0" fmla="*/ 3141216 h 5863444"/>
              <a:gd name="connsiteX1" fmla="*/ 1289826 w 1299986"/>
              <a:gd name="connsiteY1" fmla="*/ 0 h 5863444"/>
              <a:gd name="connsiteX2" fmla="*/ 1299986 w 1299986"/>
              <a:gd name="connsiteY2" fmla="*/ 5807447 h 5863444"/>
              <a:gd name="connsiteX3" fmla="*/ 2 w 1299986"/>
              <a:gd name="connsiteY3" fmla="*/ 3141216 h 5863444"/>
              <a:gd name="connsiteX0" fmla="*/ 1 w 1889265"/>
              <a:gd name="connsiteY0" fmla="*/ 3851780 h 5885741"/>
              <a:gd name="connsiteX1" fmla="*/ 1879105 w 1889265"/>
              <a:gd name="connsiteY1" fmla="*/ 0 h 5885741"/>
              <a:gd name="connsiteX2" fmla="*/ 1889265 w 1889265"/>
              <a:gd name="connsiteY2" fmla="*/ 5807447 h 5885741"/>
              <a:gd name="connsiteX3" fmla="*/ 1 w 1889265"/>
              <a:gd name="connsiteY3" fmla="*/ 3851780 h 5885741"/>
              <a:gd name="connsiteX0" fmla="*/ 694 w 1889958"/>
              <a:gd name="connsiteY0" fmla="*/ 3851780 h 5898819"/>
              <a:gd name="connsiteX1" fmla="*/ 1879798 w 1889958"/>
              <a:gd name="connsiteY1" fmla="*/ 0 h 5898819"/>
              <a:gd name="connsiteX2" fmla="*/ 1889958 w 1889958"/>
              <a:gd name="connsiteY2" fmla="*/ 5807447 h 5898819"/>
              <a:gd name="connsiteX3" fmla="*/ 694 w 1889958"/>
              <a:gd name="connsiteY3" fmla="*/ 3851780 h 5898819"/>
              <a:gd name="connsiteX0" fmla="*/ 694 w 1889958"/>
              <a:gd name="connsiteY0" fmla="*/ 3740120 h 5892762"/>
              <a:gd name="connsiteX1" fmla="*/ 1879798 w 1889958"/>
              <a:gd name="connsiteY1" fmla="*/ 0 h 5892762"/>
              <a:gd name="connsiteX2" fmla="*/ 1889958 w 1889958"/>
              <a:gd name="connsiteY2" fmla="*/ 5807447 h 5892762"/>
              <a:gd name="connsiteX3" fmla="*/ 694 w 1889958"/>
              <a:gd name="connsiteY3" fmla="*/ 3740120 h 5892762"/>
              <a:gd name="connsiteX0" fmla="*/ 690 w 1900114"/>
              <a:gd name="connsiteY0" fmla="*/ 3811177 h 5896524"/>
              <a:gd name="connsiteX1" fmla="*/ 1889954 w 1900114"/>
              <a:gd name="connsiteY1" fmla="*/ 0 h 5896524"/>
              <a:gd name="connsiteX2" fmla="*/ 1900114 w 1900114"/>
              <a:gd name="connsiteY2" fmla="*/ 5807447 h 5896524"/>
              <a:gd name="connsiteX3" fmla="*/ 690 w 1900114"/>
              <a:gd name="connsiteY3" fmla="*/ 3811177 h 5896524"/>
              <a:gd name="connsiteX0" fmla="*/ 690 w 1900114"/>
              <a:gd name="connsiteY0" fmla="*/ 3811177 h 5807447"/>
              <a:gd name="connsiteX1" fmla="*/ 1889954 w 1900114"/>
              <a:gd name="connsiteY1" fmla="*/ 0 h 5807447"/>
              <a:gd name="connsiteX2" fmla="*/ 1900114 w 1900114"/>
              <a:gd name="connsiteY2" fmla="*/ 5807447 h 5807447"/>
              <a:gd name="connsiteX3" fmla="*/ 690 w 1900114"/>
              <a:gd name="connsiteY3" fmla="*/ 3811177 h 5807447"/>
              <a:gd name="connsiteX0" fmla="*/ 690 w 1900114"/>
              <a:gd name="connsiteY0" fmla="*/ 3811177 h 5807447"/>
              <a:gd name="connsiteX1" fmla="*/ 1889954 w 1900114"/>
              <a:gd name="connsiteY1" fmla="*/ 0 h 5807447"/>
              <a:gd name="connsiteX2" fmla="*/ 1900114 w 1900114"/>
              <a:gd name="connsiteY2" fmla="*/ 5807447 h 5807447"/>
              <a:gd name="connsiteX3" fmla="*/ 690 w 1900114"/>
              <a:gd name="connsiteY3" fmla="*/ 3811177 h 5807447"/>
              <a:gd name="connsiteX0" fmla="*/ 403 w 1899827"/>
              <a:gd name="connsiteY0" fmla="*/ 3811177 h 5807447"/>
              <a:gd name="connsiteX1" fmla="*/ 1889667 w 1899827"/>
              <a:gd name="connsiteY1" fmla="*/ 0 h 5807447"/>
              <a:gd name="connsiteX2" fmla="*/ 1899827 w 1899827"/>
              <a:gd name="connsiteY2" fmla="*/ 5807447 h 5807447"/>
              <a:gd name="connsiteX3" fmla="*/ 403 w 1899827"/>
              <a:gd name="connsiteY3" fmla="*/ 3811177 h 5807447"/>
            </a:gdLst>
            <a:ahLst/>
            <a:cxnLst>
              <a:cxn ang="0">
                <a:pos x="connsiteX0" y="connsiteY0"/>
              </a:cxn>
              <a:cxn ang="0">
                <a:pos x="connsiteX1" y="connsiteY1"/>
              </a:cxn>
              <a:cxn ang="0">
                <a:pos x="connsiteX2" y="connsiteY2"/>
              </a:cxn>
              <a:cxn ang="0">
                <a:pos x="connsiteX3" y="connsiteY3"/>
              </a:cxn>
            </a:cxnLst>
            <a:rect l="l" t="t" r="r" b="b"/>
            <a:pathLst>
              <a:path w="1899827" h="5807447">
                <a:moveTo>
                  <a:pt x="403" y="3811177"/>
                </a:moveTo>
                <a:cubicBezTo>
                  <a:pt x="-31770" y="2467685"/>
                  <a:pt x="1876203" y="854946"/>
                  <a:pt x="1889667" y="0"/>
                </a:cubicBezTo>
                <a:cubicBezTo>
                  <a:pt x="1893054" y="1979803"/>
                  <a:pt x="1896440" y="3827644"/>
                  <a:pt x="1899827" y="5807447"/>
                </a:cubicBezTo>
                <a:cubicBezTo>
                  <a:pt x="1007523" y="5706703"/>
                  <a:pt x="32576" y="5154669"/>
                  <a:pt x="403" y="3811177"/>
                </a:cubicBezTo>
                <a:close/>
              </a:path>
            </a:pathLst>
          </a:custGeom>
          <a:solidFill>
            <a:schemeClr val="bg2"/>
          </a:solidFill>
          <a:ln w="3175">
            <a:noFill/>
          </a:ln>
        </p:spPr>
        <p:txBody>
          <a:bodyPr tIns="720000" rtlCol="0" anchor="ctr">
            <a:noAutofit/>
          </a:bodyPr>
          <a:lstStyle>
            <a:lvl1pPr algn="ctr">
              <a:defRPr sz="1500">
                <a:solidFill>
                  <a:schemeClr val="bg1"/>
                </a:solidFill>
              </a:defRPr>
            </a:lvl1pPr>
          </a:lstStyle>
          <a:p>
            <a:pPr lvl="0"/>
            <a:r>
              <a:rPr lang="en-US" noProof="0"/>
              <a:t>Click icon to add picture</a:t>
            </a:r>
          </a:p>
        </p:txBody>
      </p:sp>
      <p:sp>
        <p:nvSpPr>
          <p:cNvPr id="8" name="Espace réservé de la date 10"/>
          <p:cNvSpPr>
            <a:spLocks noGrp="1"/>
          </p:cNvSpPr>
          <p:nvPr>
            <p:ph type="dt" sz="half" idx="19"/>
          </p:nvPr>
        </p:nvSpPr>
        <p:spPr/>
        <p:txBody>
          <a:bodyPr/>
          <a:lstStyle>
            <a:lvl1pPr>
              <a:defRPr/>
            </a:lvl1pPr>
          </a:lstStyle>
          <a:p>
            <a:pPr>
              <a:defRPr/>
            </a:pPr>
            <a:r>
              <a:rPr lang="en-US">
                <a:solidFill>
                  <a:prstClr val="white">
                    <a:alpha val="0"/>
                  </a:prstClr>
                </a:solidFill>
              </a:rPr>
              <a:t>Date</a:t>
            </a:r>
          </a:p>
        </p:txBody>
      </p:sp>
      <p:sp>
        <p:nvSpPr>
          <p:cNvPr id="9" name="Espace réservé du numéro de diapositive 11"/>
          <p:cNvSpPr>
            <a:spLocks noGrp="1"/>
          </p:cNvSpPr>
          <p:nvPr>
            <p:ph type="sldNum" sz="quarter" idx="20"/>
          </p:nvPr>
        </p:nvSpPr>
        <p:spPr/>
        <p:txBody>
          <a:bodyPr/>
          <a:lstStyle>
            <a:lvl1pPr>
              <a:defRPr/>
            </a:lvl1pPr>
          </a:lstStyle>
          <a:p>
            <a:pPr>
              <a:defRPr/>
            </a:pPr>
            <a:fld id="{669CD8F2-86ED-43C7-A24E-82A206DEE6AE}" type="slidenum">
              <a:rPr lang="en-US">
                <a:solidFill>
                  <a:srgbClr val="343434"/>
                </a:solidFill>
              </a:rPr>
              <a:pPr>
                <a:defRPr/>
              </a:pPr>
              <a:t>‹#›</a:t>
            </a:fld>
            <a:endParaRPr lang="en-US">
              <a:solidFill>
                <a:srgbClr val="343434"/>
              </a:solidFill>
            </a:endParaRPr>
          </a:p>
        </p:txBody>
      </p:sp>
      <p:sp>
        <p:nvSpPr>
          <p:cNvPr id="11" name="Espace réservé du pied de page 12"/>
          <p:cNvSpPr>
            <a:spLocks noGrp="1"/>
          </p:cNvSpPr>
          <p:nvPr>
            <p:ph type="ftr" sz="quarter" idx="21"/>
          </p:nvPr>
        </p:nvSpPr>
        <p:spPr/>
        <p:txBody>
          <a:bodyPr/>
          <a:lstStyle>
            <a:lvl1pPr>
              <a:defRPr/>
            </a:lvl1pPr>
          </a:lstStyle>
          <a:p>
            <a:pPr>
              <a:defRPr/>
            </a:pPr>
            <a:r>
              <a:rPr lang="en-US">
                <a:solidFill>
                  <a:srgbClr val="005CB9"/>
                </a:solidFill>
              </a:rPr>
              <a:t>#</a:t>
            </a:r>
            <a:r>
              <a:rPr lang="en-US" err="1">
                <a:solidFill>
                  <a:srgbClr val="005CB9"/>
                </a:solidFill>
              </a:rPr>
              <a:t>vaccineswork</a:t>
            </a:r>
            <a:endParaRPr lang="en-US">
              <a:solidFill>
                <a:srgbClr val="005CB9"/>
              </a:solidFill>
            </a:endParaRPr>
          </a:p>
        </p:txBody>
      </p:sp>
    </p:spTree>
    <p:extLst>
      <p:ext uri="{BB962C8B-B14F-4D97-AF65-F5344CB8AC3E}">
        <p14:creationId xmlns:p14="http://schemas.microsoft.com/office/powerpoint/2010/main" val="271399578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obj">
  <p:cSld name="Content_Layout">
    <p:spTree>
      <p:nvGrpSpPr>
        <p:cNvPr id="1" name=""/>
        <p:cNvGrpSpPr/>
        <p:nvPr/>
      </p:nvGrpSpPr>
      <p:grpSpPr>
        <a:xfrm>
          <a:off x="0" y="0"/>
          <a:ext cx="0" cy="0"/>
          <a:chOff x="0" y="0"/>
          <a:chExt cx="0" cy="0"/>
        </a:xfrm>
      </p:grpSpPr>
      <p:sp>
        <p:nvSpPr>
          <p:cNvPr id="2" name="Titre 1"/>
          <p:cNvSpPr>
            <a:spLocks noGrp="1"/>
          </p:cNvSpPr>
          <p:nvPr>
            <p:ph type="title"/>
          </p:nvPr>
        </p:nvSpPr>
        <p:spPr bwMode="gray"/>
        <p:txBody>
          <a:bodyPr/>
          <a:lstStyle/>
          <a:p>
            <a:r>
              <a:rPr lang="en-US" noProof="0"/>
              <a:t>Click to edit Master title style</a:t>
            </a:r>
          </a:p>
        </p:txBody>
      </p:sp>
      <p:sp>
        <p:nvSpPr>
          <p:cNvPr id="3" name="Espace réservé du contenu 2"/>
          <p:cNvSpPr>
            <a:spLocks noGrp="1"/>
          </p:cNvSpPr>
          <p:nvPr>
            <p:ph idx="1"/>
          </p:nvPr>
        </p:nvSpPr>
        <p:spPr bwMode="gray"/>
        <p:txBody>
          <a:bodyPr/>
          <a:lstStyle>
            <a:lvl2pPr>
              <a:defRPr/>
            </a:lvl2pPr>
            <a:lvl3pPr>
              <a:defRPr/>
            </a:lvl3pPr>
            <a:lvl4pPr>
              <a:defRPr baseline="0"/>
            </a:lvl4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Espace réservé de la date 3"/>
          <p:cNvSpPr>
            <a:spLocks noGrp="1"/>
          </p:cNvSpPr>
          <p:nvPr>
            <p:ph type="dt" sz="half" idx="10"/>
          </p:nvPr>
        </p:nvSpPr>
        <p:spPr/>
        <p:txBody>
          <a:bodyPr/>
          <a:lstStyle>
            <a:lvl1pPr>
              <a:defRPr/>
            </a:lvl1pPr>
          </a:lstStyle>
          <a:p>
            <a:pPr>
              <a:defRPr/>
            </a:pPr>
            <a:r>
              <a:rPr lang="en-US">
                <a:solidFill>
                  <a:prstClr val="white">
                    <a:alpha val="0"/>
                  </a:prstClr>
                </a:solidFill>
              </a:rPr>
              <a:t>Date</a:t>
            </a:r>
          </a:p>
        </p:txBody>
      </p:sp>
      <p:sp>
        <p:nvSpPr>
          <p:cNvPr id="5" name="Espace réservé du pied de page 4"/>
          <p:cNvSpPr>
            <a:spLocks noGrp="1"/>
          </p:cNvSpPr>
          <p:nvPr>
            <p:ph type="ftr" sz="quarter" idx="11"/>
          </p:nvPr>
        </p:nvSpPr>
        <p:spPr/>
        <p:txBody>
          <a:bodyPr/>
          <a:lstStyle>
            <a:lvl1pPr>
              <a:defRPr/>
            </a:lvl1pPr>
          </a:lstStyle>
          <a:p>
            <a:pPr>
              <a:defRPr/>
            </a:pPr>
            <a:r>
              <a:rPr lang="en-US">
                <a:solidFill>
                  <a:srgbClr val="005CB9"/>
                </a:solidFill>
              </a:rPr>
              <a:t>#</a:t>
            </a:r>
            <a:r>
              <a:rPr lang="en-US" err="1">
                <a:solidFill>
                  <a:srgbClr val="005CB9"/>
                </a:solidFill>
              </a:rPr>
              <a:t>vaccineswork</a:t>
            </a:r>
            <a:endParaRPr lang="en-US">
              <a:solidFill>
                <a:srgbClr val="005CB9"/>
              </a:solidFill>
            </a:endParaRPr>
          </a:p>
        </p:txBody>
      </p:sp>
      <p:sp>
        <p:nvSpPr>
          <p:cNvPr id="6" name="Espace réservé du numéro de diapositive 5"/>
          <p:cNvSpPr>
            <a:spLocks noGrp="1"/>
          </p:cNvSpPr>
          <p:nvPr>
            <p:ph type="sldNum" sz="quarter" idx="12"/>
          </p:nvPr>
        </p:nvSpPr>
        <p:spPr/>
        <p:txBody>
          <a:bodyPr/>
          <a:lstStyle>
            <a:lvl1pPr>
              <a:defRPr/>
            </a:lvl1pPr>
          </a:lstStyle>
          <a:p>
            <a:pPr>
              <a:defRPr/>
            </a:pPr>
            <a:fld id="{02A591CC-FF3A-423F-AEE4-347403BE7256}" type="slidenum">
              <a:rPr lang="en-US">
                <a:solidFill>
                  <a:srgbClr val="343434"/>
                </a:solidFill>
              </a:rPr>
              <a:pPr>
                <a:defRPr/>
              </a:pPr>
              <a:t>‹#›</a:t>
            </a:fld>
            <a:endParaRPr lang="en-US">
              <a:solidFill>
                <a:srgbClr val="343434"/>
              </a:solidFill>
            </a:endParaRPr>
          </a:p>
        </p:txBody>
      </p:sp>
    </p:spTree>
    <p:extLst>
      <p:ext uri="{BB962C8B-B14F-4D97-AF65-F5344CB8AC3E}">
        <p14:creationId xmlns:p14="http://schemas.microsoft.com/office/powerpoint/2010/main" val="550184081"/>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Picture_Layout">
    <p:spTree>
      <p:nvGrpSpPr>
        <p:cNvPr id="1" name=""/>
        <p:cNvGrpSpPr/>
        <p:nvPr/>
      </p:nvGrpSpPr>
      <p:grpSpPr>
        <a:xfrm>
          <a:off x="0" y="0"/>
          <a:ext cx="0" cy="0"/>
          <a:chOff x="0" y="0"/>
          <a:chExt cx="0" cy="0"/>
        </a:xfrm>
      </p:grpSpPr>
      <p:sp>
        <p:nvSpPr>
          <p:cNvPr id="2" name="Titre 1"/>
          <p:cNvSpPr>
            <a:spLocks noGrp="1"/>
          </p:cNvSpPr>
          <p:nvPr>
            <p:ph type="title"/>
          </p:nvPr>
        </p:nvSpPr>
        <p:spPr bwMode="gray"/>
        <p:txBody>
          <a:bodyPr/>
          <a:lstStyle/>
          <a:p>
            <a:r>
              <a:rPr lang="en-US" noProof="0"/>
              <a:t>Click to edit Master title style</a:t>
            </a:r>
          </a:p>
        </p:txBody>
      </p:sp>
      <p:sp>
        <p:nvSpPr>
          <p:cNvPr id="3" name="Espace réservé du contenu 2"/>
          <p:cNvSpPr>
            <a:spLocks noGrp="1"/>
          </p:cNvSpPr>
          <p:nvPr>
            <p:ph idx="1"/>
          </p:nvPr>
        </p:nvSpPr>
        <p:spPr bwMode="gray">
          <a:xfrm>
            <a:off x="3635896" y="1304925"/>
            <a:ext cx="4644504" cy="4716463"/>
          </a:xfrm>
        </p:spPr>
        <p:txBody>
          <a:bodyPr/>
          <a:lstStyle>
            <a:lvl2pPr>
              <a:defRPr/>
            </a:lvl2pPr>
            <a:lvl3pPr>
              <a:defRPr/>
            </a:lvl3pPr>
            <a:lvl4pPr>
              <a:defRPr baseline="0"/>
            </a:lvl4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Espace réservé pour une image  8"/>
          <p:cNvSpPr>
            <a:spLocks noGrp="1"/>
          </p:cNvSpPr>
          <p:nvPr>
            <p:ph type="pic" sz="quarter" idx="13"/>
          </p:nvPr>
        </p:nvSpPr>
        <p:spPr bwMode="gray">
          <a:xfrm>
            <a:off x="0" y="1341438"/>
            <a:ext cx="3419038" cy="4679950"/>
          </a:xfrm>
        </p:spPr>
        <p:txBody>
          <a:bodyPr tIns="1008000" rtlCol="0" anchor="ctr">
            <a:noAutofit/>
          </a:bodyPr>
          <a:lstStyle>
            <a:lvl1pPr algn="ctr">
              <a:defRPr/>
            </a:lvl1pPr>
          </a:lstStyle>
          <a:p>
            <a:pPr lvl="0"/>
            <a:r>
              <a:rPr lang="en-US" noProof="0"/>
              <a:t>Click icon to add picture</a:t>
            </a:r>
          </a:p>
        </p:txBody>
      </p:sp>
      <p:sp>
        <p:nvSpPr>
          <p:cNvPr id="5" name="Espace réservé de la date 3"/>
          <p:cNvSpPr>
            <a:spLocks noGrp="1"/>
          </p:cNvSpPr>
          <p:nvPr>
            <p:ph type="dt" sz="half" idx="14"/>
          </p:nvPr>
        </p:nvSpPr>
        <p:spPr/>
        <p:txBody>
          <a:bodyPr/>
          <a:lstStyle>
            <a:lvl1pPr>
              <a:defRPr/>
            </a:lvl1pPr>
          </a:lstStyle>
          <a:p>
            <a:pPr>
              <a:defRPr/>
            </a:pPr>
            <a:r>
              <a:rPr lang="en-US">
                <a:solidFill>
                  <a:prstClr val="white">
                    <a:alpha val="0"/>
                  </a:prstClr>
                </a:solidFill>
              </a:rPr>
              <a:t>Date</a:t>
            </a:r>
          </a:p>
        </p:txBody>
      </p:sp>
      <p:sp>
        <p:nvSpPr>
          <p:cNvPr id="6" name="Espace réservé du pied de page 4"/>
          <p:cNvSpPr>
            <a:spLocks noGrp="1"/>
          </p:cNvSpPr>
          <p:nvPr>
            <p:ph type="ftr" sz="quarter" idx="15"/>
          </p:nvPr>
        </p:nvSpPr>
        <p:spPr/>
        <p:txBody>
          <a:bodyPr/>
          <a:lstStyle>
            <a:lvl1pPr>
              <a:defRPr/>
            </a:lvl1pPr>
          </a:lstStyle>
          <a:p>
            <a:pPr>
              <a:defRPr/>
            </a:pPr>
            <a:r>
              <a:rPr lang="en-US">
                <a:solidFill>
                  <a:srgbClr val="005CB9"/>
                </a:solidFill>
              </a:rPr>
              <a:t>#</a:t>
            </a:r>
            <a:r>
              <a:rPr lang="en-US" err="1">
                <a:solidFill>
                  <a:srgbClr val="005CB9"/>
                </a:solidFill>
              </a:rPr>
              <a:t>vaccineswork</a:t>
            </a:r>
            <a:endParaRPr lang="en-US">
              <a:solidFill>
                <a:srgbClr val="005CB9"/>
              </a:solidFill>
            </a:endParaRPr>
          </a:p>
        </p:txBody>
      </p:sp>
      <p:sp>
        <p:nvSpPr>
          <p:cNvPr id="7" name="Espace réservé du numéro de diapositive 5"/>
          <p:cNvSpPr>
            <a:spLocks noGrp="1"/>
          </p:cNvSpPr>
          <p:nvPr>
            <p:ph type="sldNum" sz="quarter" idx="16"/>
          </p:nvPr>
        </p:nvSpPr>
        <p:spPr/>
        <p:txBody>
          <a:bodyPr/>
          <a:lstStyle>
            <a:lvl1pPr>
              <a:defRPr/>
            </a:lvl1pPr>
          </a:lstStyle>
          <a:p>
            <a:pPr>
              <a:defRPr/>
            </a:pPr>
            <a:fld id="{D8886677-8A24-41A7-8E0F-301076E1EA36}" type="slidenum">
              <a:rPr lang="en-US">
                <a:solidFill>
                  <a:srgbClr val="343434"/>
                </a:solidFill>
              </a:rPr>
              <a:pPr>
                <a:defRPr/>
              </a:pPr>
              <a:t>‹#›</a:t>
            </a:fld>
            <a:endParaRPr lang="en-US">
              <a:solidFill>
                <a:srgbClr val="343434"/>
              </a:solidFill>
            </a:endParaRPr>
          </a:p>
        </p:txBody>
      </p:sp>
    </p:spTree>
    <p:extLst>
      <p:ext uri="{BB962C8B-B14F-4D97-AF65-F5344CB8AC3E}">
        <p14:creationId xmlns:p14="http://schemas.microsoft.com/office/powerpoint/2010/main" val="126775618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ext&amp;Content_Layout">
    <p:spTree>
      <p:nvGrpSpPr>
        <p:cNvPr id="1" name=""/>
        <p:cNvGrpSpPr/>
        <p:nvPr/>
      </p:nvGrpSpPr>
      <p:grpSpPr>
        <a:xfrm>
          <a:off x="0" y="0"/>
          <a:ext cx="0" cy="0"/>
          <a:chOff x="0" y="0"/>
          <a:chExt cx="0" cy="0"/>
        </a:xfrm>
      </p:grpSpPr>
      <p:sp>
        <p:nvSpPr>
          <p:cNvPr id="2" name="Titre 1"/>
          <p:cNvSpPr>
            <a:spLocks noGrp="1"/>
          </p:cNvSpPr>
          <p:nvPr>
            <p:ph type="title"/>
          </p:nvPr>
        </p:nvSpPr>
        <p:spPr bwMode="gray"/>
        <p:txBody>
          <a:bodyPr/>
          <a:lstStyle/>
          <a:p>
            <a:r>
              <a:rPr lang="en-US" noProof="0"/>
              <a:t>Click to edit Master title style</a:t>
            </a:r>
          </a:p>
        </p:txBody>
      </p:sp>
      <p:sp>
        <p:nvSpPr>
          <p:cNvPr id="3" name="Espace réservé du contenu 2"/>
          <p:cNvSpPr>
            <a:spLocks noGrp="1"/>
          </p:cNvSpPr>
          <p:nvPr>
            <p:ph idx="1"/>
          </p:nvPr>
        </p:nvSpPr>
        <p:spPr bwMode="gray">
          <a:xfrm>
            <a:off x="935038" y="2781388"/>
            <a:ext cx="7345362" cy="3240000"/>
          </a:xfrm>
        </p:spPr>
        <p:txBody>
          <a:bodyPr/>
          <a:lstStyle>
            <a:lvl2pPr>
              <a:defRPr/>
            </a:lvl2pPr>
            <a:lvl3pPr>
              <a:defRPr/>
            </a:lvl3pPr>
            <a:lvl4pPr>
              <a:defRPr baseline="0"/>
            </a:lvl4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Espace réservé du texte 9"/>
          <p:cNvSpPr>
            <a:spLocks noGrp="1"/>
          </p:cNvSpPr>
          <p:nvPr>
            <p:ph type="body" sz="quarter" idx="13"/>
          </p:nvPr>
        </p:nvSpPr>
        <p:spPr bwMode="gray">
          <a:xfrm>
            <a:off x="935038" y="1304924"/>
            <a:ext cx="7345362" cy="126000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Espace réservé de la date 3"/>
          <p:cNvSpPr>
            <a:spLocks noGrp="1"/>
          </p:cNvSpPr>
          <p:nvPr>
            <p:ph type="dt" sz="half" idx="14"/>
          </p:nvPr>
        </p:nvSpPr>
        <p:spPr/>
        <p:txBody>
          <a:bodyPr/>
          <a:lstStyle>
            <a:lvl1pPr>
              <a:defRPr/>
            </a:lvl1pPr>
          </a:lstStyle>
          <a:p>
            <a:pPr>
              <a:defRPr/>
            </a:pPr>
            <a:r>
              <a:rPr lang="en-US">
                <a:solidFill>
                  <a:prstClr val="white">
                    <a:alpha val="0"/>
                  </a:prstClr>
                </a:solidFill>
              </a:rPr>
              <a:t>Date</a:t>
            </a:r>
          </a:p>
        </p:txBody>
      </p:sp>
      <p:sp>
        <p:nvSpPr>
          <p:cNvPr id="6" name="Espace réservé du pied de page 4"/>
          <p:cNvSpPr>
            <a:spLocks noGrp="1"/>
          </p:cNvSpPr>
          <p:nvPr>
            <p:ph type="ftr" sz="quarter" idx="15"/>
          </p:nvPr>
        </p:nvSpPr>
        <p:spPr/>
        <p:txBody>
          <a:bodyPr/>
          <a:lstStyle>
            <a:lvl1pPr>
              <a:defRPr/>
            </a:lvl1pPr>
          </a:lstStyle>
          <a:p>
            <a:pPr>
              <a:defRPr/>
            </a:pPr>
            <a:r>
              <a:rPr lang="en-US">
                <a:solidFill>
                  <a:srgbClr val="005CB9"/>
                </a:solidFill>
              </a:rPr>
              <a:t>#</a:t>
            </a:r>
            <a:r>
              <a:rPr lang="en-US" err="1">
                <a:solidFill>
                  <a:srgbClr val="005CB9"/>
                </a:solidFill>
              </a:rPr>
              <a:t>vaccineswork</a:t>
            </a:r>
            <a:endParaRPr lang="en-US">
              <a:solidFill>
                <a:srgbClr val="005CB9"/>
              </a:solidFill>
            </a:endParaRPr>
          </a:p>
        </p:txBody>
      </p:sp>
      <p:sp>
        <p:nvSpPr>
          <p:cNvPr id="7" name="Espace réservé du numéro de diapositive 5"/>
          <p:cNvSpPr>
            <a:spLocks noGrp="1"/>
          </p:cNvSpPr>
          <p:nvPr>
            <p:ph type="sldNum" sz="quarter" idx="16"/>
          </p:nvPr>
        </p:nvSpPr>
        <p:spPr/>
        <p:txBody>
          <a:bodyPr/>
          <a:lstStyle>
            <a:lvl1pPr>
              <a:defRPr/>
            </a:lvl1pPr>
          </a:lstStyle>
          <a:p>
            <a:pPr>
              <a:defRPr/>
            </a:pPr>
            <a:fld id="{8779425B-3CAA-48C9-9B95-57BAD5A3D82E}" type="slidenum">
              <a:rPr lang="en-US">
                <a:solidFill>
                  <a:srgbClr val="343434"/>
                </a:solidFill>
              </a:rPr>
              <a:pPr>
                <a:defRPr/>
              </a:pPr>
              <a:t>‹#›</a:t>
            </a:fld>
            <a:endParaRPr lang="en-US">
              <a:solidFill>
                <a:srgbClr val="343434"/>
              </a:solidFill>
            </a:endParaRPr>
          </a:p>
        </p:txBody>
      </p:sp>
    </p:spTree>
    <p:extLst>
      <p:ext uri="{BB962C8B-B14F-4D97-AF65-F5344CB8AC3E}">
        <p14:creationId xmlns:p14="http://schemas.microsoft.com/office/powerpoint/2010/main" val="382074247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hank_you_1">
    <p:spTree>
      <p:nvGrpSpPr>
        <p:cNvPr id="1" name=""/>
        <p:cNvGrpSpPr/>
        <p:nvPr/>
      </p:nvGrpSpPr>
      <p:grpSpPr>
        <a:xfrm>
          <a:off x="0" y="0"/>
          <a:ext cx="0" cy="0"/>
          <a:chOff x="0" y="0"/>
          <a:chExt cx="0" cy="0"/>
        </a:xfrm>
      </p:grpSpPr>
      <p:pic>
        <p:nvPicPr>
          <p:cNvPr id="5" name="Image 18" descr="FD_1_L254.png"/>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gray">
          <a:xfrm>
            <a:off x="0" y="0"/>
            <a:ext cx="9144000" cy="51577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6" name="Rectangle 5"/>
          <p:cNvSpPr/>
          <p:nvPr userDrawn="1"/>
        </p:nvSpPr>
        <p:spPr bwMode="gray">
          <a:xfrm>
            <a:off x="3635375" y="5265738"/>
            <a:ext cx="5508625" cy="15922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prstClr val="white"/>
              </a:solidFill>
            </a:endParaRPr>
          </a:p>
        </p:txBody>
      </p:sp>
      <p:pic>
        <p:nvPicPr>
          <p:cNvPr id="7" name="Image 19" descr="Bas_couv.png"/>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gray">
          <a:xfrm>
            <a:off x="0" y="5172075"/>
            <a:ext cx="3635375" cy="16859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8" name="Rectangle 7"/>
          <p:cNvSpPr/>
          <p:nvPr userDrawn="1"/>
        </p:nvSpPr>
        <p:spPr bwMode="gray">
          <a:xfrm>
            <a:off x="3635375" y="6354763"/>
            <a:ext cx="5113338" cy="2873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p>
            <a:pPr algn="r">
              <a:defRPr/>
            </a:pPr>
            <a:r>
              <a:rPr lang="en-US" sz="1000" err="1">
                <a:solidFill>
                  <a:srgbClr val="95D600"/>
                </a:solidFill>
              </a:rPr>
              <a:t>www.gavi.org</a:t>
            </a:r>
            <a:endParaRPr lang="en-US" sz="1000">
              <a:solidFill>
                <a:srgbClr val="95D600"/>
              </a:solidFill>
            </a:endParaRPr>
          </a:p>
        </p:txBody>
      </p:sp>
      <p:cxnSp>
        <p:nvCxnSpPr>
          <p:cNvPr id="10" name="Connecteur droit 13"/>
          <p:cNvCxnSpPr/>
          <p:nvPr userDrawn="1"/>
        </p:nvCxnSpPr>
        <p:spPr bwMode="gray">
          <a:xfrm flipH="1">
            <a:off x="468313" y="3400425"/>
            <a:ext cx="2447925" cy="0"/>
          </a:xfrm>
          <a:prstGeom prst="line">
            <a:avLst/>
          </a:prstGeom>
          <a:ln w="24130">
            <a:solidFill>
              <a:schemeClr val="accent1"/>
            </a:solidFill>
          </a:ln>
        </p:spPr>
        <p:style>
          <a:lnRef idx="1">
            <a:schemeClr val="accent1"/>
          </a:lnRef>
          <a:fillRef idx="0">
            <a:schemeClr val="accent1"/>
          </a:fillRef>
          <a:effectRef idx="0">
            <a:schemeClr val="accent1"/>
          </a:effectRef>
          <a:fontRef idx="minor">
            <a:schemeClr val="tx1"/>
          </a:fontRef>
        </p:style>
      </p:cxnSp>
      <p:sp>
        <p:nvSpPr>
          <p:cNvPr id="9" name="Espace réservé du texte 8"/>
          <p:cNvSpPr>
            <a:spLocks noGrp="1"/>
          </p:cNvSpPr>
          <p:nvPr>
            <p:ph type="body" sz="quarter" idx="13"/>
          </p:nvPr>
        </p:nvSpPr>
        <p:spPr bwMode="gray">
          <a:xfrm>
            <a:off x="468314" y="1036638"/>
            <a:ext cx="4824412" cy="2242966"/>
          </a:xfrm>
        </p:spPr>
        <p:txBody>
          <a:bodyPr anchor="b"/>
          <a:lstStyle>
            <a:lvl1pPr marL="0" indent="0" algn="l">
              <a:lnSpc>
                <a:spcPct val="90000"/>
              </a:lnSpc>
              <a:buNone/>
              <a:defRPr sz="2800" b="1" cap="none" baseline="0">
                <a:solidFill>
                  <a:schemeClr val="bg1"/>
                </a:solidFill>
              </a:defRPr>
            </a:lvl1pPr>
            <a:lvl2pPr marL="0" algn="ctr">
              <a:lnSpc>
                <a:spcPct val="100000"/>
              </a:lnSpc>
              <a:spcBef>
                <a:spcPts val="6900"/>
              </a:spcBef>
              <a:defRPr sz="2000" b="1">
                <a:solidFill>
                  <a:schemeClr val="bg1"/>
                </a:solidFill>
              </a:defRPr>
            </a:lvl2pPr>
          </a:lstStyle>
          <a:p>
            <a:pPr lvl="0"/>
            <a:r>
              <a:rPr lang="en-US" noProof="0"/>
              <a:t>Click to edit Master text styles</a:t>
            </a:r>
          </a:p>
        </p:txBody>
      </p:sp>
      <p:sp>
        <p:nvSpPr>
          <p:cNvPr id="15" name="Espace réservé du texte 14"/>
          <p:cNvSpPr>
            <a:spLocks noGrp="1"/>
          </p:cNvSpPr>
          <p:nvPr>
            <p:ph type="body" sz="quarter" idx="19"/>
          </p:nvPr>
        </p:nvSpPr>
        <p:spPr bwMode="gray">
          <a:xfrm>
            <a:off x="3635376" y="6021388"/>
            <a:ext cx="5113338" cy="324000"/>
          </a:xfrm>
        </p:spPr>
        <p:txBody>
          <a:bodyPr anchor="b"/>
          <a:lstStyle>
            <a:lvl1pPr algn="r">
              <a:lnSpc>
                <a:spcPct val="100000"/>
              </a:lnSpc>
              <a:defRPr sz="1000" b="1">
                <a:solidFill>
                  <a:schemeClr val="accent3"/>
                </a:solidFill>
              </a:defRPr>
            </a:lvl1pPr>
          </a:lstStyle>
          <a:p>
            <a:pPr lvl="0"/>
            <a:r>
              <a:rPr lang="en-US" noProof="0"/>
              <a:t>Click to edit Master text styles</a:t>
            </a:r>
          </a:p>
        </p:txBody>
      </p:sp>
      <p:sp>
        <p:nvSpPr>
          <p:cNvPr id="13" name="Espace réservé pour une image  17"/>
          <p:cNvSpPr>
            <a:spLocks noGrp="1"/>
          </p:cNvSpPr>
          <p:nvPr>
            <p:ph type="pic" sz="quarter" idx="18"/>
          </p:nvPr>
        </p:nvSpPr>
        <p:spPr bwMode="gray">
          <a:xfrm>
            <a:off x="4192588" y="0"/>
            <a:ext cx="4951412" cy="5162400"/>
          </a:xfrm>
          <a:custGeom>
            <a:avLst/>
            <a:gdLst>
              <a:gd name="connsiteX0" fmla="*/ 0 w 3851275"/>
              <a:gd name="connsiteY0" fmla="*/ 0 h 5157788"/>
              <a:gd name="connsiteX1" fmla="*/ 3851275 w 3851275"/>
              <a:gd name="connsiteY1" fmla="*/ 0 h 5157788"/>
              <a:gd name="connsiteX2" fmla="*/ 3851275 w 3851275"/>
              <a:gd name="connsiteY2" fmla="*/ 5157788 h 5157788"/>
              <a:gd name="connsiteX3" fmla="*/ 0 w 3851275"/>
              <a:gd name="connsiteY3" fmla="*/ 5157788 h 5157788"/>
              <a:gd name="connsiteX4" fmla="*/ 0 w 3851275"/>
              <a:gd name="connsiteY4"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0 w 3851275"/>
              <a:gd name="connsiteY3" fmla="*/ 5157788 h 5157788"/>
              <a:gd name="connsiteX4" fmla="*/ 1692275 w 3851275"/>
              <a:gd name="connsiteY4" fmla="*/ 0 h 5157788"/>
              <a:gd name="connsiteX0" fmla="*/ 0 w 2159000"/>
              <a:gd name="connsiteY0" fmla="*/ 0 h 5157788"/>
              <a:gd name="connsiteX1" fmla="*/ 2159000 w 2159000"/>
              <a:gd name="connsiteY1" fmla="*/ 0 h 5157788"/>
              <a:gd name="connsiteX2" fmla="*/ 2159000 w 2159000"/>
              <a:gd name="connsiteY2" fmla="*/ 5157788 h 5157788"/>
              <a:gd name="connsiteX3" fmla="*/ 0 w 2159000"/>
              <a:gd name="connsiteY3" fmla="*/ 5157788 h 5157788"/>
              <a:gd name="connsiteX4" fmla="*/ 0 w 2159000"/>
              <a:gd name="connsiteY4" fmla="*/ 0 h 5157788"/>
              <a:gd name="connsiteX0" fmla="*/ 2625271 w 4784271"/>
              <a:gd name="connsiteY0" fmla="*/ 0 h 5157788"/>
              <a:gd name="connsiteX1" fmla="*/ 4784271 w 4784271"/>
              <a:gd name="connsiteY1" fmla="*/ 0 h 5157788"/>
              <a:gd name="connsiteX2" fmla="*/ 4784271 w 4784271"/>
              <a:gd name="connsiteY2" fmla="*/ 5157788 h 5157788"/>
              <a:gd name="connsiteX3" fmla="*/ 2625271 w 4784271"/>
              <a:gd name="connsiteY3" fmla="*/ 5157788 h 5157788"/>
              <a:gd name="connsiteX4" fmla="*/ 2625271 w 4784271"/>
              <a:gd name="connsiteY4" fmla="*/ 0 h 5157788"/>
              <a:gd name="connsiteX0" fmla="*/ 2625271 w 4784271"/>
              <a:gd name="connsiteY0" fmla="*/ 0 h 5157788"/>
              <a:gd name="connsiteX1" fmla="*/ 4784271 w 4784271"/>
              <a:gd name="connsiteY1" fmla="*/ 0 h 5157788"/>
              <a:gd name="connsiteX2" fmla="*/ 4784271 w 4784271"/>
              <a:gd name="connsiteY2" fmla="*/ 5157788 h 5157788"/>
              <a:gd name="connsiteX3" fmla="*/ 2625271 w 4784271"/>
              <a:gd name="connsiteY3" fmla="*/ 5157788 h 5157788"/>
              <a:gd name="connsiteX4" fmla="*/ 2625271 w 4784271"/>
              <a:gd name="connsiteY4" fmla="*/ 0 h 5157788"/>
              <a:gd name="connsiteX0" fmla="*/ 3568576 w 5727576"/>
              <a:gd name="connsiteY0" fmla="*/ 0 h 5157788"/>
              <a:gd name="connsiteX1" fmla="*/ 5727576 w 5727576"/>
              <a:gd name="connsiteY1" fmla="*/ 0 h 5157788"/>
              <a:gd name="connsiteX2" fmla="*/ 5727576 w 5727576"/>
              <a:gd name="connsiteY2" fmla="*/ 5157788 h 5157788"/>
              <a:gd name="connsiteX3" fmla="*/ 3568576 w 5727576"/>
              <a:gd name="connsiteY3" fmla="*/ 5157788 h 5157788"/>
              <a:gd name="connsiteX4" fmla="*/ 3568576 w 5727576"/>
              <a:gd name="connsiteY4" fmla="*/ 0 h 5157788"/>
              <a:gd name="connsiteX0" fmla="*/ 3306355 w 5465355"/>
              <a:gd name="connsiteY0" fmla="*/ 0 h 5157788"/>
              <a:gd name="connsiteX1" fmla="*/ 5465355 w 5465355"/>
              <a:gd name="connsiteY1" fmla="*/ 0 h 5157788"/>
              <a:gd name="connsiteX2" fmla="*/ 5465355 w 5465355"/>
              <a:gd name="connsiteY2" fmla="*/ 5157788 h 5157788"/>
              <a:gd name="connsiteX3" fmla="*/ 3306355 w 5465355"/>
              <a:gd name="connsiteY3" fmla="*/ 5157788 h 5157788"/>
              <a:gd name="connsiteX4" fmla="*/ 3306355 w 5465355"/>
              <a:gd name="connsiteY4" fmla="*/ 0 h 5157788"/>
              <a:gd name="connsiteX0" fmla="*/ 1416957 w 3575957"/>
              <a:gd name="connsiteY0" fmla="*/ 0 h 5157788"/>
              <a:gd name="connsiteX1" fmla="*/ 3575957 w 3575957"/>
              <a:gd name="connsiteY1" fmla="*/ 0 h 5157788"/>
              <a:gd name="connsiteX2" fmla="*/ 3575957 w 3575957"/>
              <a:gd name="connsiteY2" fmla="*/ 5157788 h 5157788"/>
              <a:gd name="connsiteX3" fmla="*/ 1416957 w 3575957"/>
              <a:gd name="connsiteY3" fmla="*/ 5157788 h 5157788"/>
              <a:gd name="connsiteX4" fmla="*/ 0 w 3575957"/>
              <a:gd name="connsiteY4" fmla="*/ 3339193 h 5157788"/>
              <a:gd name="connsiteX5" fmla="*/ 1416957 w 3575957"/>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6017419"/>
              <a:gd name="connsiteX1" fmla="*/ 3851275 w 3851275"/>
              <a:gd name="connsiteY1" fmla="*/ 0 h 6017419"/>
              <a:gd name="connsiteX2" fmla="*/ 3851275 w 3851275"/>
              <a:gd name="connsiteY2" fmla="*/ 5157788 h 6017419"/>
              <a:gd name="connsiteX3" fmla="*/ 1692275 w 3851275"/>
              <a:gd name="connsiteY3" fmla="*/ 5157788 h 6017419"/>
              <a:gd name="connsiteX4" fmla="*/ 0 w 3851275"/>
              <a:gd name="connsiteY4" fmla="*/ 3284984 h 6017419"/>
              <a:gd name="connsiteX5" fmla="*/ 1692275 w 3851275"/>
              <a:gd name="connsiteY5" fmla="*/ 0 h 6017419"/>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429000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429000 h 5157788"/>
              <a:gd name="connsiteX5" fmla="*/ 1710871 w 3869871"/>
              <a:gd name="connsiteY5" fmla="*/ 0 h 5157788"/>
              <a:gd name="connsiteX0" fmla="*/ 1704975 w 3863975"/>
              <a:gd name="connsiteY0" fmla="*/ 0 h 5157788"/>
              <a:gd name="connsiteX1" fmla="*/ 3863975 w 3863975"/>
              <a:gd name="connsiteY1" fmla="*/ 0 h 5157788"/>
              <a:gd name="connsiteX2" fmla="*/ 3863975 w 3863975"/>
              <a:gd name="connsiteY2" fmla="*/ 5157788 h 5157788"/>
              <a:gd name="connsiteX3" fmla="*/ 1704975 w 3863975"/>
              <a:gd name="connsiteY3" fmla="*/ 5157788 h 5157788"/>
              <a:gd name="connsiteX4" fmla="*/ 12700 w 3863975"/>
              <a:gd name="connsiteY4" fmla="*/ 3429000 h 5157788"/>
              <a:gd name="connsiteX5" fmla="*/ 1704975 w 3863975"/>
              <a:gd name="connsiteY5" fmla="*/ 0 h 5157788"/>
              <a:gd name="connsiteX0" fmla="*/ 1707243 w 3866243"/>
              <a:gd name="connsiteY0" fmla="*/ 0 h 5157788"/>
              <a:gd name="connsiteX1" fmla="*/ 3866243 w 3866243"/>
              <a:gd name="connsiteY1" fmla="*/ 0 h 5157788"/>
              <a:gd name="connsiteX2" fmla="*/ 3866243 w 3866243"/>
              <a:gd name="connsiteY2" fmla="*/ 5157788 h 5157788"/>
              <a:gd name="connsiteX3" fmla="*/ 1707243 w 3866243"/>
              <a:gd name="connsiteY3" fmla="*/ 5157788 h 5157788"/>
              <a:gd name="connsiteX4" fmla="*/ 14968 w 3866243"/>
              <a:gd name="connsiteY4" fmla="*/ 3429000 h 5157788"/>
              <a:gd name="connsiteX5" fmla="*/ 1707243 w 3866243"/>
              <a:gd name="connsiteY5" fmla="*/ 0 h 5157788"/>
              <a:gd name="connsiteX0" fmla="*/ 1130447 w 3866243"/>
              <a:gd name="connsiteY0" fmla="*/ 0 h 5157788"/>
              <a:gd name="connsiteX1" fmla="*/ 3866243 w 3866243"/>
              <a:gd name="connsiteY1" fmla="*/ 0 h 5157788"/>
              <a:gd name="connsiteX2" fmla="*/ 3866243 w 3866243"/>
              <a:gd name="connsiteY2" fmla="*/ 5157788 h 5157788"/>
              <a:gd name="connsiteX3" fmla="*/ 1707243 w 3866243"/>
              <a:gd name="connsiteY3" fmla="*/ 5157788 h 5157788"/>
              <a:gd name="connsiteX4" fmla="*/ 14968 w 3866243"/>
              <a:gd name="connsiteY4" fmla="*/ 3429000 h 5157788"/>
              <a:gd name="connsiteX5" fmla="*/ 1130447 w 3866243"/>
              <a:gd name="connsiteY5" fmla="*/ 0 h 5157788"/>
              <a:gd name="connsiteX0" fmla="*/ 2746143 w 5481939"/>
              <a:gd name="connsiteY0" fmla="*/ 0 h 5157788"/>
              <a:gd name="connsiteX1" fmla="*/ 5481939 w 5481939"/>
              <a:gd name="connsiteY1" fmla="*/ 0 h 5157788"/>
              <a:gd name="connsiteX2" fmla="*/ 5481939 w 5481939"/>
              <a:gd name="connsiteY2" fmla="*/ 5157788 h 5157788"/>
              <a:gd name="connsiteX3" fmla="*/ 585903 w 5481939"/>
              <a:gd name="connsiteY3" fmla="*/ 5153180 h 5157788"/>
              <a:gd name="connsiteX4" fmla="*/ 1630664 w 5481939"/>
              <a:gd name="connsiteY4" fmla="*/ 3429000 h 5157788"/>
              <a:gd name="connsiteX5" fmla="*/ 2746143 w 5481939"/>
              <a:gd name="connsiteY5" fmla="*/ 0 h 5157788"/>
              <a:gd name="connsiteX0" fmla="*/ 2746143 w 5481939"/>
              <a:gd name="connsiteY0" fmla="*/ 0 h 5157788"/>
              <a:gd name="connsiteX1" fmla="*/ 5481939 w 5481939"/>
              <a:gd name="connsiteY1" fmla="*/ 0 h 5157788"/>
              <a:gd name="connsiteX2" fmla="*/ 5481939 w 5481939"/>
              <a:gd name="connsiteY2" fmla="*/ 5157788 h 5157788"/>
              <a:gd name="connsiteX3" fmla="*/ 585903 w 5481939"/>
              <a:gd name="connsiteY3" fmla="*/ 5153180 h 5157788"/>
              <a:gd name="connsiteX4" fmla="*/ 1630664 w 5481939"/>
              <a:gd name="connsiteY4" fmla="*/ 3429000 h 5157788"/>
              <a:gd name="connsiteX5" fmla="*/ 2746143 w 548193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3574235 w 6310031"/>
              <a:gd name="connsiteY0" fmla="*/ 0 h 5157788"/>
              <a:gd name="connsiteX1" fmla="*/ 6310031 w 6310031"/>
              <a:gd name="connsiteY1" fmla="*/ 0 h 5157788"/>
              <a:gd name="connsiteX2" fmla="*/ 6310031 w 6310031"/>
              <a:gd name="connsiteY2" fmla="*/ 5157788 h 5157788"/>
              <a:gd name="connsiteX3" fmla="*/ 585903 w 6310031"/>
              <a:gd name="connsiteY3" fmla="*/ 5153180 h 5157788"/>
              <a:gd name="connsiteX4" fmla="*/ 1738031 w 6310031"/>
              <a:gd name="connsiteY4" fmla="*/ 3389965 h 5157788"/>
              <a:gd name="connsiteX5" fmla="*/ 3574235 w 6310031"/>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296143 w 5724128"/>
              <a:gd name="connsiteY4" fmla="*/ 3461908 h 5157788"/>
              <a:gd name="connsiteX5" fmla="*/ 2988332 w 5724128"/>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1188132 w 5760132"/>
              <a:gd name="connsiteY4" fmla="*/ 3425937 h 5157788"/>
              <a:gd name="connsiteX5" fmla="*/ 3024336 w 5760132"/>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2736304 w 5760132"/>
              <a:gd name="connsiteY4" fmla="*/ 3461908 h 5157788"/>
              <a:gd name="connsiteX5" fmla="*/ 3024336 w 5760132"/>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2736304 w 5760132"/>
              <a:gd name="connsiteY4" fmla="*/ 3461908 h 5157788"/>
              <a:gd name="connsiteX5" fmla="*/ 3024336 w 5760132"/>
              <a:gd name="connsiteY5" fmla="*/ 0 h 5157788"/>
              <a:gd name="connsiteX0" fmla="*/ 2160240 w 4896036"/>
              <a:gd name="connsiteY0" fmla="*/ 0 h 5157788"/>
              <a:gd name="connsiteX1" fmla="*/ 4896036 w 4896036"/>
              <a:gd name="connsiteY1" fmla="*/ 0 h 5157788"/>
              <a:gd name="connsiteX2" fmla="*/ 4896036 w 4896036"/>
              <a:gd name="connsiteY2" fmla="*/ 5157788 h 5157788"/>
              <a:gd name="connsiteX3" fmla="*/ 0 w 4896036"/>
              <a:gd name="connsiteY3" fmla="*/ 5153180 h 5157788"/>
              <a:gd name="connsiteX4" fmla="*/ 1872208 w 4896036"/>
              <a:gd name="connsiteY4" fmla="*/ 3461908 h 5157788"/>
              <a:gd name="connsiteX5" fmla="*/ 2160240 w 4896036"/>
              <a:gd name="connsiteY5" fmla="*/ 0 h 5157788"/>
              <a:gd name="connsiteX0" fmla="*/ 2232248 w 4968044"/>
              <a:gd name="connsiteY0" fmla="*/ 0 h 5157788"/>
              <a:gd name="connsiteX1" fmla="*/ 4968044 w 4968044"/>
              <a:gd name="connsiteY1" fmla="*/ 0 h 5157788"/>
              <a:gd name="connsiteX2" fmla="*/ 4968044 w 4968044"/>
              <a:gd name="connsiteY2" fmla="*/ 5157788 h 5157788"/>
              <a:gd name="connsiteX3" fmla="*/ 0 w 4968044"/>
              <a:gd name="connsiteY3" fmla="*/ 5153180 h 5157788"/>
              <a:gd name="connsiteX4" fmla="*/ 1944216 w 4968044"/>
              <a:gd name="connsiteY4" fmla="*/ 3461908 h 5157788"/>
              <a:gd name="connsiteX5" fmla="*/ 2232248 w 4968044"/>
              <a:gd name="connsiteY5" fmla="*/ 0 h 5157788"/>
              <a:gd name="connsiteX0" fmla="*/ 2207679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207679 w 4943475"/>
              <a:gd name="connsiteY5" fmla="*/ 0 h 5157788"/>
              <a:gd name="connsiteX0" fmla="*/ 2963763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963763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092200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71575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343583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675731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675731 w 4943475"/>
              <a:gd name="connsiteY5" fmla="*/ 0 h 5157788"/>
              <a:gd name="connsiteX0" fmla="*/ 2675731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675731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9672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19672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51412" h="5157788">
                <a:moveTo>
                  <a:pt x="2706687" y="0"/>
                </a:moveTo>
                <a:lnTo>
                  <a:pt x="4951412" y="0"/>
                </a:lnTo>
                <a:lnTo>
                  <a:pt x="4951412" y="5157788"/>
                </a:lnTo>
                <a:lnTo>
                  <a:pt x="0" y="5153180"/>
                </a:lnTo>
                <a:cubicBezTo>
                  <a:pt x="84411" y="4542509"/>
                  <a:pt x="183041" y="4024723"/>
                  <a:pt x="1243508" y="2562613"/>
                </a:cubicBezTo>
                <a:cubicBezTo>
                  <a:pt x="1867447" y="1704780"/>
                  <a:pt x="2665955" y="709265"/>
                  <a:pt x="2706687" y="0"/>
                </a:cubicBezTo>
                <a:close/>
              </a:path>
            </a:pathLst>
          </a:custGeom>
          <a:solidFill>
            <a:schemeClr val="bg2"/>
          </a:solidFill>
          <a:ln w="3175">
            <a:noFill/>
          </a:ln>
        </p:spPr>
        <p:txBody>
          <a:bodyPr tIns="720000" rtlCol="0" anchor="ctr">
            <a:noAutofit/>
          </a:bodyPr>
          <a:lstStyle>
            <a:lvl1pPr algn="ctr">
              <a:defRPr sz="1500">
                <a:solidFill>
                  <a:schemeClr val="bg1"/>
                </a:solidFill>
              </a:defRPr>
            </a:lvl1pPr>
          </a:lstStyle>
          <a:p>
            <a:pPr lvl="0"/>
            <a:r>
              <a:rPr lang="en-US" noProof="0"/>
              <a:t>Click icon to add picture</a:t>
            </a:r>
          </a:p>
        </p:txBody>
      </p:sp>
      <p:sp>
        <p:nvSpPr>
          <p:cNvPr id="11" name="Espace réservé de la date 9"/>
          <p:cNvSpPr>
            <a:spLocks noGrp="1"/>
          </p:cNvSpPr>
          <p:nvPr>
            <p:ph type="dt" sz="half" idx="20"/>
          </p:nvPr>
        </p:nvSpPr>
        <p:spPr/>
        <p:txBody>
          <a:bodyPr/>
          <a:lstStyle>
            <a:lvl1pPr>
              <a:defRPr/>
            </a:lvl1pPr>
          </a:lstStyle>
          <a:p>
            <a:pPr>
              <a:defRPr/>
            </a:pPr>
            <a:r>
              <a:rPr lang="en-US">
                <a:solidFill>
                  <a:prstClr val="white">
                    <a:alpha val="0"/>
                  </a:prstClr>
                </a:solidFill>
              </a:rPr>
              <a:t>Date</a:t>
            </a:r>
          </a:p>
        </p:txBody>
      </p:sp>
      <p:sp>
        <p:nvSpPr>
          <p:cNvPr id="12" name="Espace réservé du numéro de diapositive 10"/>
          <p:cNvSpPr>
            <a:spLocks noGrp="1"/>
          </p:cNvSpPr>
          <p:nvPr>
            <p:ph type="sldNum" sz="quarter" idx="21"/>
          </p:nvPr>
        </p:nvSpPr>
        <p:spPr/>
        <p:txBody>
          <a:bodyPr/>
          <a:lstStyle>
            <a:lvl1pPr>
              <a:defRPr sz="100">
                <a:solidFill>
                  <a:schemeClr val="bg1">
                    <a:alpha val="0"/>
                  </a:schemeClr>
                </a:solidFill>
              </a:defRPr>
            </a:lvl1pPr>
          </a:lstStyle>
          <a:p>
            <a:pPr>
              <a:defRPr/>
            </a:pPr>
            <a:r>
              <a:rPr lang="en-US">
                <a:solidFill>
                  <a:prstClr val="white">
                    <a:alpha val="0"/>
                  </a:prstClr>
                </a:solidFill>
              </a:rPr>
              <a:t>Page: </a:t>
            </a:r>
            <a:fld id="{4AF4F797-1FBC-44F9-B7CF-6A5F893B852E}" type="slidenum">
              <a:rPr lang="en-US">
                <a:solidFill>
                  <a:prstClr val="white">
                    <a:alpha val="0"/>
                  </a:prstClr>
                </a:solidFill>
              </a:rPr>
              <a:pPr>
                <a:defRPr/>
              </a:pPr>
              <a:t>‹#›</a:t>
            </a:fld>
            <a:endParaRPr lang="en-US">
              <a:solidFill>
                <a:prstClr val="white">
                  <a:alpha val="0"/>
                </a:prstClr>
              </a:solidFill>
            </a:endParaRPr>
          </a:p>
        </p:txBody>
      </p:sp>
      <p:sp>
        <p:nvSpPr>
          <p:cNvPr id="14" name="Espace réservé du pied de page 11"/>
          <p:cNvSpPr>
            <a:spLocks noGrp="1"/>
          </p:cNvSpPr>
          <p:nvPr>
            <p:ph type="ftr" sz="quarter" idx="22"/>
          </p:nvPr>
        </p:nvSpPr>
        <p:spPr>
          <a:xfrm>
            <a:off x="468313" y="523875"/>
            <a:ext cx="4824412" cy="360363"/>
          </a:xfrm>
        </p:spPr>
        <p:txBody>
          <a:bodyPr/>
          <a:lstStyle>
            <a:lvl1pPr algn="l">
              <a:defRPr sz="1800" b="0">
                <a:solidFill>
                  <a:schemeClr val="bg1"/>
                </a:solidFill>
              </a:defRPr>
            </a:lvl1pPr>
          </a:lstStyle>
          <a:p>
            <a:pPr>
              <a:defRPr/>
            </a:pPr>
            <a:r>
              <a:rPr lang="en-US">
                <a:solidFill>
                  <a:prstClr val="white"/>
                </a:solidFill>
              </a:rPr>
              <a:t>#</a:t>
            </a:r>
            <a:r>
              <a:rPr lang="en-US" err="1">
                <a:solidFill>
                  <a:prstClr val="white"/>
                </a:solidFill>
              </a:rPr>
              <a:t>vaccineswork</a:t>
            </a:r>
            <a:endParaRPr lang="en-US">
              <a:solidFill>
                <a:prstClr val="white"/>
              </a:solidFill>
            </a:endParaRPr>
          </a:p>
        </p:txBody>
      </p:sp>
    </p:spTree>
    <p:extLst>
      <p:ext uri="{BB962C8B-B14F-4D97-AF65-F5344CB8AC3E}">
        <p14:creationId xmlns:p14="http://schemas.microsoft.com/office/powerpoint/2010/main" val="122038403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hapter_Layout">
    <p:spTree>
      <p:nvGrpSpPr>
        <p:cNvPr id="1" name=""/>
        <p:cNvGrpSpPr/>
        <p:nvPr/>
      </p:nvGrpSpPr>
      <p:grpSpPr>
        <a:xfrm>
          <a:off x="0" y="0"/>
          <a:ext cx="0" cy="0"/>
          <a:chOff x="0" y="0"/>
          <a:chExt cx="0" cy="0"/>
        </a:xfrm>
      </p:grpSpPr>
      <p:pic>
        <p:nvPicPr>
          <p:cNvPr id="18" name="Image 17" descr="FD_03_chap_110x190,5.png"/>
          <p:cNvPicPr>
            <a:picLocks noChangeAspect="1"/>
          </p:cNvPicPr>
          <p:nvPr userDrawn="1"/>
        </p:nvPicPr>
        <p:blipFill>
          <a:blip r:embed="rId2" cstate="print"/>
          <a:stretch>
            <a:fillRect/>
          </a:stretch>
        </p:blipFill>
        <p:spPr bwMode="gray">
          <a:xfrm>
            <a:off x="0" y="0"/>
            <a:ext cx="3959352" cy="6858000"/>
          </a:xfrm>
          <a:prstGeom prst="rect">
            <a:avLst/>
          </a:prstGeom>
        </p:spPr>
      </p:pic>
      <p:sp>
        <p:nvSpPr>
          <p:cNvPr id="2" name="Titre 1"/>
          <p:cNvSpPr>
            <a:spLocks noGrp="1"/>
          </p:cNvSpPr>
          <p:nvPr>
            <p:ph type="title" hasCustomPrompt="1"/>
          </p:nvPr>
        </p:nvSpPr>
        <p:spPr bwMode="gray">
          <a:xfrm>
            <a:off x="3635374" y="1036638"/>
            <a:ext cx="4645025" cy="1268759"/>
          </a:xfrm>
        </p:spPr>
        <p:txBody>
          <a:bodyPr/>
          <a:lstStyle/>
          <a:p>
            <a:r>
              <a:rPr lang="en-US" noProof="0"/>
              <a:t>TITLE</a:t>
            </a:r>
          </a:p>
        </p:txBody>
      </p:sp>
      <p:sp>
        <p:nvSpPr>
          <p:cNvPr id="10" name="Espace réservé du texte 9"/>
          <p:cNvSpPr>
            <a:spLocks noGrp="1"/>
          </p:cNvSpPr>
          <p:nvPr>
            <p:ph type="body" sz="quarter" idx="13" hasCustomPrompt="1"/>
          </p:nvPr>
        </p:nvSpPr>
        <p:spPr bwMode="gray">
          <a:xfrm>
            <a:off x="3635375" y="2574000"/>
            <a:ext cx="4645025" cy="3447388"/>
          </a:xfrm>
        </p:spPr>
        <p:txBody>
          <a:bodyPr/>
          <a:lstStyle/>
          <a:p>
            <a:pPr lvl="0"/>
            <a:r>
              <a:rPr lang="en-US" noProof="0"/>
              <a:t>Text level 1</a:t>
            </a:r>
          </a:p>
          <a:p>
            <a:pPr lvl="1"/>
            <a:r>
              <a:rPr lang="en-US" noProof="0"/>
              <a:t>Text level 2</a:t>
            </a:r>
          </a:p>
          <a:p>
            <a:pPr lvl="2"/>
            <a:r>
              <a:rPr lang="en-US" noProof="0"/>
              <a:t>Text level 3</a:t>
            </a:r>
          </a:p>
          <a:p>
            <a:pPr lvl="3"/>
            <a:r>
              <a:rPr lang="en-US" noProof="0"/>
              <a:t>Text level 4</a:t>
            </a:r>
          </a:p>
          <a:p>
            <a:pPr lvl="4"/>
            <a:r>
              <a:rPr lang="en-US" noProof="0"/>
              <a:t>Text level 5</a:t>
            </a:r>
          </a:p>
        </p:txBody>
      </p:sp>
      <p:sp>
        <p:nvSpPr>
          <p:cNvPr id="14" name="Espace réservé du texte 9"/>
          <p:cNvSpPr>
            <a:spLocks noGrp="1"/>
          </p:cNvSpPr>
          <p:nvPr>
            <p:ph type="body" sz="quarter" idx="14" hasCustomPrompt="1"/>
          </p:nvPr>
        </p:nvSpPr>
        <p:spPr bwMode="gray">
          <a:xfrm>
            <a:off x="0" y="139974"/>
            <a:ext cx="2628000" cy="5017814"/>
          </a:xfrm>
        </p:spPr>
        <p:txBody>
          <a:bodyPr/>
          <a:lstStyle>
            <a:lvl1pPr algn="r">
              <a:defRPr sz="16600" b="1">
                <a:solidFill>
                  <a:schemeClr val="bg1"/>
                </a:solidFill>
              </a:defRPr>
            </a:lvl1pPr>
          </a:lstStyle>
          <a:p>
            <a:pPr lvl="0"/>
            <a:r>
              <a:rPr lang="en-US" noProof="0"/>
              <a:t>0</a:t>
            </a:r>
          </a:p>
        </p:txBody>
      </p:sp>
      <p:sp>
        <p:nvSpPr>
          <p:cNvPr id="11" name="Espace réservé de la date 10"/>
          <p:cNvSpPr>
            <a:spLocks noGrp="1"/>
          </p:cNvSpPr>
          <p:nvPr>
            <p:ph type="dt" sz="half" idx="15"/>
          </p:nvPr>
        </p:nvSpPr>
        <p:spPr bwMode="gray"/>
        <p:txBody>
          <a:bodyPr/>
          <a:lstStyle/>
          <a:p>
            <a:r>
              <a:rPr lang="en-US" noProof="0"/>
              <a:t>Date</a:t>
            </a:r>
          </a:p>
        </p:txBody>
      </p:sp>
      <p:sp>
        <p:nvSpPr>
          <p:cNvPr id="12" name="Espace réservé du numéro de diapositive 11"/>
          <p:cNvSpPr>
            <a:spLocks noGrp="1"/>
          </p:cNvSpPr>
          <p:nvPr>
            <p:ph type="sldNum" sz="quarter" idx="16"/>
          </p:nvPr>
        </p:nvSpPr>
        <p:spPr bwMode="gray"/>
        <p:txBody>
          <a:bodyPr/>
          <a:lstStyle/>
          <a:p>
            <a:pPr algn="l"/>
            <a:fld id="{733122C9-A0B9-462F-8757-0847AD287B63}" type="slidenum">
              <a:rPr lang="en-US" noProof="0" smtClean="0"/>
              <a:pPr algn="l"/>
              <a:t>‹#›</a:t>
            </a:fld>
            <a:endParaRPr lang="en-US" noProof="0"/>
          </a:p>
        </p:txBody>
      </p:sp>
      <p:sp>
        <p:nvSpPr>
          <p:cNvPr id="13" name="Espace réservé du pied de page 12"/>
          <p:cNvSpPr>
            <a:spLocks noGrp="1"/>
          </p:cNvSpPr>
          <p:nvPr>
            <p:ph type="ftr" sz="quarter" idx="17"/>
          </p:nvPr>
        </p:nvSpPr>
        <p:spPr bwMode="gray"/>
        <p:txBody>
          <a:bodyPr/>
          <a:lstStyle/>
          <a:p>
            <a:r>
              <a:rPr lang="en-US" noProof="0"/>
              <a:t>#add your hashtag</a:t>
            </a:r>
          </a:p>
        </p:txBody>
      </p:sp>
      <p:sp>
        <p:nvSpPr>
          <p:cNvPr id="16" name="Rectangle 15"/>
          <p:cNvSpPr/>
          <p:nvPr userDrawn="1"/>
        </p:nvSpPr>
        <p:spPr bwMode="gray">
          <a:xfrm>
            <a:off x="3636000" y="2377741"/>
            <a:ext cx="1583668" cy="252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hank_you_2">
    <p:spTree>
      <p:nvGrpSpPr>
        <p:cNvPr id="1" name=""/>
        <p:cNvGrpSpPr/>
        <p:nvPr/>
      </p:nvGrpSpPr>
      <p:grpSpPr>
        <a:xfrm>
          <a:off x="0" y="0"/>
          <a:ext cx="0" cy="0"/>
          <a:chOff x="0" y="0"/>
          <a:chExt cx="0" cy="0"/>
        </a:xfrm>
      </p:grpSpPr>
      <p:sp>
        <p:nvSpPr>
          <p:cNvPr id="5" name="Rectangle 4"/>
          <p:cNvSpPr/>
          <p:nvPr userDrawn="1"/>
        </p:nvSpPr>
        <p:spPr bwMode="gray">
          <a:xfrm>
            <a:off x="3635375" y="5265738"/>
            <a:ext cx="5508625" cy="15922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prstClr val="white"/>
              </a:solidFill>
            </a:endParaRPr>
          </a:p>
        </p:txBody>
      </p:sp>
      <p:pic>
        <p:nvPicPr>
          <p:cNvPr id="6" name="Image 20" descr="FD_1_L254.png"/>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gray">
          <a:xfrm>
            <a:off x="0" y="0"/>
            <a:ext cx="9144000" cy="51577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7" name="Image 19" descr="Bas_couv.png"/>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gray">
          <a:xfrm>
            <a:off x="0" y="5172075"/>
            <a:ext cx="3635375" cy="16859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8" name="Rectangle 7"/>
          <p:cNvSpPr/>
          <p:nvPr userDrawn="1"/>
        </p:nvSpPr>
        <p:spPr bwMode="gray">
          <a:xfrm>
            <a:off x="3635375" y="6354763"/>
            <a:ext cx="5113338" cy="2873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p>
            <a:pPr algn="r">
              <a:defRPr/>
            </a:pPr>
            <a:r>
              <a:rPr lang="en-US" sz="1000" err="1">
                <a:solidFill>
                  <a:srgbClr val="95D600"/>
                </a:solidFill>
              </a:rPr>
              <a:t>www.gavi.org</a:t>
            </a:r>
            <a:endParaRPr lang="en-US" sz="1000">
              <a:solidFill>
                <a:srgbClr val="95D600"/>
              </a:solidFill>
            </a:endParaRPr>
          </a:p>
        </p:txBody>
      </p:sp>
      <p:cxnSp>
        <p:nvCxnSpPr>
          <p:cNvPr id="10" name="Connecteur droit 13"/>
          <p:cNvCxnSpPr/>
          <p:nvPr userDrawn="1"/>
        </p:nvCxnSpPr>
        <p:spPr bwMode="gray">
          <a:xfrm flipH="1">
            <a:off x="468313" y="3402013"/>
            <a:ext cx="2447925" cy="0"/>
          </a:xfrm>
          <a:prstGeom prst="line">
            <a:avLst/>
          </a:prstGeom>
          <a:ln w="24130">
            <a:solidFill>
              <a:schemeClr val="accent1"/>
            </a:solidFill>
          </a:ln>
        </p:spPr>
        <p:style>
          <a:lnRef idx="1">
            <a:schemeClr val="accent1"/>
          </a:lnRef>
          <a:fillRef idx="0">
            <a:schemeClr val="accent1"/>
          </a:fillRef>
          <a:effectRef idx="0">
            <a:schemeClr val="accent1"/>
          </a:effectRef>
          <a:fontRef idx="minor">
            <a:schemeClr val="tx1"/>
          </a:fontRef>
        </p:style>
      </p:cxnSp>
      <p:sp>
        <p:nvSpPr>
          <p:cNvPr id="9" name="Espace réservé du texte 8"/>
          <p:cNvSpPr>
            <a:spLocks noGrp="1"/>
          </p:cNvSpPr>
          <p:nvPr>
            <p:ph type="body" sz="quarter" idx="13"/>
          </p:nvPr>
        </p:nvSpPr>
        <p:spPr bwMode="gray">
          <a:xfrm>
            <a:off x="468314" y="1036800"/>
            <a:ext cx="4824000" cy="2242800"/>
          </a:xfrm>
        </p:spPr>
        <p:txBody>
          <a:bodyPr anchor="b"/>
          <a:lstStyle>
            <a:lvl1pPr marL="0" indent="0" algn="l">
              <a:lnSpc>
                <a:spcPct val="90000"/>
              </a:lnSpc>
              <a:buNone/>
              <a:defRPr sz="2800" b="1" cap="none" baseline="0">
                <a:solidFill>
                  <a:schemeClr val="bg1"/>
                </a:solidFill>
              </a:defRPr>
            </a:lvl1pPr>
            <a:lvl2pPr marL="0" algn="ctr">
              <a:lnSpc>
                <a:spcPct val="100000"/>
              </a:lnSpc>
              <a:spcBef>
                <a:spcPts val="6900"/>
              </a:spcBef>
              <a:defRPr sz="2000" b="1">
                <a:solidFill>
                  <a:schemeClr val="bg1"/>
                </a:solidFill>
              </a:defRPr>
            </a:lvl2pPr>
          </a:lstStyle>
          <a:p>
            <a:pPr lvl="0"/>
            <a:r>
              <a:rPr lang="en-US" noProof="0"/>
              <a:t>Click to edit Master text styles</a:t>
            </a:r>
          </a:p>
        </p:txBody>
      </p:sp>
      <p:sp>
        <p:nvSpPr>
          <p:cNvPr id="15" name="Espace réservé du texte 14"/>
          <p:cNvSpPr>
            <a:spLocks noGrp="1"/>
          </p:cNvSpPr>
          <p:nvPr>
            <p:ph type="body" sz="quarter" idx="19"/>
          </p:nvPr>
        </p:nvSpPr>
        <p:spPr bwMode="gray">
          <a:xfrm>
            <a:off x="3635376" y="6021388"/>
            <a:ext cx="5113338" cy="324000"/>
          </a:xfrm>
        </p:spPr>
        <p:txBody>
          <a:bodyPr anchor="b"/>
          <a:lstStyle>
            <a:lvl1pPr algn="r">
              <a:lnSpc>
                <a:spcPct val="100000"/>
              </a:lnSpc>
              <a:defRPr sz="1000" b="1">
                <a:solidFill>
                  <a:schemeClr val="accent3"/>
                </a:solidFill>
              </a:defRPr>
            </a:lvl1pPr>
          </a:lstStyle>
          <a:p>
            <a:pPr lvl="0"/>
            <a:r>
              <a:rPr lang="en-US" noProof="0"/>
              <a:t>Click to edit Master text styles</a:t>
            </a:r>
          </a:p>
        </p:txBody>
      </p:sp>
      <p:sp>
        <p:nvSpPr>
          <p:cNvPr id="13" name="Espace réservé pour une image  17"/>
          <p:cNvSpPr>
            <a:spLocks noGrp="1"/>
          </p:cNvSpPr>
          <p:nvPr>
            <p:ph type="pic" sz="quarter" idx="18"/>
          </p:nvPr>
        </p:nvSpPr>
        <p:spPr bwMode="gray">
          <a:xfrm>
            <a:off x="4192588" y="0"/>
            <a:ext cx="4951412" cy="5162400"/>
          </a:xfrm>
          <a:custGeom>
            <a:avLst/>
            <a:gdLst>
              <a:gd name="connsiteX0" fmla="*/ 0 w 3851275"/>
              <a:gd name="connsiteY0" fmla="*/ 0 h 5157788"/>
              <a:gd name="connsiteX1" fmla="*/ 3851275 w 3851275"/>
              <a:gd name="connsiteY1" fmla="*/ 0 h 5157788"/>
              <a:gd name="connsiteX2" fmla="*/ 3851275 w 3851275"/>
              <a:gd name="connsiteY2" fmla="*/ 5157788 h 5157788"/>
              <a:gd name="connsiteX3" fmla="*/ 0 w 3851275"/>
              <a:gd name="connsiteY3" fmla="*/ 5157788 h 5157788"/>
              <a:gd name="connsiteX4" fmla="*/ 0 w 3851275"/>
              <a:gd name="connsiteY4"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0 w 3851275"/>
              <a:gd name="connsiteY3" fmla="*/ 5157788 h 5157788"/>
              <a:gd name="connsiteX4" fmla="*/ 1692275 w 3851275"/>
              <a:gd name="connsiteY4" fmla="*/ 0 h 5157788"/>
              <a:gd name="connsiteX0" fmla="*/ 0 w 2159000"/>
              <a:gd name="connsiteY0" fmla="*/ 0 h 5157788"/>
              <a:gd name="connsiteX1" fmla="*/ 2159000 w 2159000"/>
              <a:gd name="connsiteY1" fmla="*/ 0 h 5157788"/>
              <a:gd name="connsiteX2" fmla="*/ 2159000 w 2159000"/>
              <a:gd name="connsiteY2" fmla="*/ 5157788 h 5157788"/>
              <a:gd name="connsiteX3" fmla="*/ 0 w 2159000"/>
              <a:gd name="connsiteY3" fmla="*/ 5157788 h 5157788"/>
              <a:gd name="connsiteX4" fmla="*/ 0 w 2159000"/>
              <a:gd name="connsiteY4" fmla="*/ 0 h 5157788"/>
              <a:gd name="connsiteX0" fmla="*/ 2625271 w 4784271"/>
              <a:gd name="connsiteY0" fmla="*/ 0 h 5157788"/>
              <a:gd name="connsiteX1" fmla="*/ 4784271 w 4784271"/>
              <a:gd name="connsiteY1" fmla="*/ 0 h 5157788"/>
              <a:gd name="connsiteX2" fmla="*/ 4784271 w 4784271"/>
              <a:gd name="connsiteY2" fmla="*/ 5157788 h 5157788"/>
              <a:gd name="connsiteX3" fmla="*/ 2625271 w 4784271"/>
              <a:gd name="connsiteY3" fmla="*/ 5157788 h 5157788"/>
              <a:gd name="connsiteX4" fmla="*/ 2625271 w 4784271"/>
              <a:gd name="connsiteY4" fmla="*/ 0 h 5157788"/>
              <a:gd name="connsiteX0" fmla="*/ 2625271 w 4784271"/>
              <a:gd name="connsiteY0" fmla="*/ 0 h 5157788"/>
              <a:gd name="connsiteX1" fmla="*/ 4784271 w 4784271"/>
              <a:gd name="connsiteY1" fmla="*/ 0 h 5157788"/>
              <a:gd name="connsiteX2" fmla="*/ 4784271 w 4784271"/>
              <a:gd name="connsiteY2" fmla="*/ 5157788 h 5157788"/>
              <a:gd name="connsiteX3" fmla="*/ 2625271 w 4784271"/>
              <a:gd name="connsiteY3" fmla="*/ 5157788 h 5157788"/>
              <a:gd name="connsiteX4" fmla="*/ 2625271 w 4784271"/>
              <a:gd name="connsiteY4" fmla="*/ 0 h 5157788"/>
              <a:gd name="connsiteX0" fmla="*/ 3568576 w 5727576"/>
              <a:gd name="connsiteY0" fmla="*/ 0 h 5157788"/>
              <a:gd name="connsiteX1" fmla="*/ 5727576 w 5727576"/>
              <a:gd name="connsiteY1" fmla="*/ 0 h 5157788"/>
              <a:gd name="connsiteX2" fmla="*/ 5727576 w 5727576"/>
              <a:gd name="connsiteY2" fmla="*/ 5157788 h 5157788"/>
              <a:gd name="connsiteX3" fmla="*/ 3568576 w 5727576"/>
              <a:gd name="connsiteY3" fmla="*/ 5157788 h 5157788"/>
              <a:gd name="connsiteX4" fmla="*/ 3568576 w 5727576"/>
              <a:gd name="connsiteY4" fmla="*/ 0 h 5157788"/>
              <a:gd name="connsiteX0" fmla="*/ 3306355 w 5465355"/>
              <a:gd name="connsiteY0" fmla="*/ 0 h 5157788"/>
              <a:gd name="connsiteX1" fmla="*/ 5465355 w 5465355"/>
              <a:gd name="connsiteY1" fmla="*/ 0 h 5157788"/>
              <a:gd name="connsiteX2" fmla="*/ 5465355 w 5465355"/>
              <a:gd name="connsiteY2" fmla="*/ 5157788 h 5157788"/>
              <a:gd name="connsiteX3" fmla="*/ 3306355 w 5465355"/>
              <a:gd name="connsiteY3" fmla="*/ 5157788 h 5157788"/>
              <a:gd name="connsiteX4" fmla="*/ 3306355 w 5465355"/>
              <a:gd name="connsiteY4" fmla="*/ 0 h 5157788"/>
              <a:gd name="connsiteX0" fmla="*/ 1416957 w 3575957"/>
              <a:gd name="connsiteY0" fmla="*/ 0 h 5157788"/>
              <a:gd name="connsiteX1" fmla="*/ 3575957 w 3575957"/>
              <a:gd name="connsiteY1" fmla="*/ 0 h 5157788"/>
              <a:gd name="connsiteX2" fmla="*/ 3575957 w 3575957"/>
              <a:gd name="connsiteY2" fmla="*/ 5157788 h 5157788"/>
              <a:gd name="connsiteX3" fmla="*/ 1416957 w 3575957"/>
              <a:gd name="connsiteY3" fmla="*/ 5157788 h 5157788"/>
              <a:gd name="connsiteX4" fmla="*/ 0 w 3575957"/>
              <a:gd name="connsiteY4" fmla="*/ 3339193 h 5157788"/>
              <a:gd name="connsiteX5" fmla="*/ 1416957 w 3575957"/>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6017419"/>
              <a:gd name="connsiteX1" fmla="*/ 3851275 w 3851275"/>
              <a:gd name="connsiteY1" fmla="*/ 0 h 6017419"/>
              <a:gd name="connsiteX2" fmla="*/ 3851275 w 3851275"/>
              <a:gd name="connsiteY2" fmla="*/ 5157788 h 6017419"/>
              <a:gd name="connsiteX3" fmla="*/ 1692275 w 3851275"/>
              <a:gd name="connsiteY3" fmla="*/ 5157788 h 6017419"/>
              <a:gd name="connsiteX4" fmla="*/ 0 w 3851275"/>
              <a:gd name="connsiteY4" fmla="*/ 3284984 h 6017419"/>
              <a:gd name="connsiteX5" fmla="*/ 1692275 w 3851275"/>
              <a:gd name="connsiteY5" fmla="*/ 0 h 6017419"/>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429000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429000 h 5157788"/>
              <a:gd name="connsiteX5" fmla="*/ 1710871 w 3869871"/>
              <a:gd name="connsiteY5" fmla="*/ 0 h 5157788"/>
              <a:gd name="connsiteX0" fmla="*/ 1704975 w 3863975"/>
              <a:gd name="connsiteY0" fmla="*/ 0 h 5157788"/>
              <a:gd name="connsiteX1" fmla="*/ 3863975 w 3863975"/>
              <a:gd name="connsiteY1" fmla="*/ 0 h 5157788"/>
              <a:gd name="connsiteX2" fmla="*/ 3863975 w 3863975"/>
              <a:gd name="connsiteY2" fmla="*/ 5157788 h 5157788"/>
              <a:gd name="connsiteX3" fmla="*/ 1704975 w 3863975"/>
              <a:gd name="connsiteY3" fmla="*/ 5157788 h 5157788"/>
              <a:gd name="connsiteX4" fmla="*/ 12700 w 3863975"/>
              <a:gd name="connsiteY4" fmla="*/ 3429000 h 5157788"/>
              <a:gd name="connsiteX5" fmla="*/ 1704975 w 3863975"/>
              <a:gd name="connsiteY5" fmla="*/ 0 h 5157788"/>
              <a:gd name="connsiteX0" fmla="*/ 1707243 w 3866243"/>
              <a:gd name="connsiteY0" fmla="*/ 0 h 5157788"/>
              <a:gd name="connsiteX1" fmla="*/ 3866243 w 3866243"/>
              <a:gd name="connsiteY1" fmla="*/ 0 h 5157788"/>
              <a:gd name="connsiteX2" fmla="*/ 3866243 w 3866243"/>
              <a:gd name="connsiteY2" fmla="*/ 5157788 h 5157788"/>
              <a:gd name="connsiteX3" fmla="*/ 1707243 w 3866243"/>
              <a:gd name="connsiteY3" fmla="*/ 5157788 h 5157788"/>
              <a:gd name="connsiteX4" fmla="*/ 14968 w 3866243"/>
              <a:gd name="connsiteY4" fmla="*/ 3429000 h 5157788"/>
              <a:gd name="connsiteX5" fmla="*/ 1707243 w 3866243"/>
              <a:gd name="connsiteY5" fmla="*/ 0 h 5157788"/>
              <a:gd name="connsiteX0" fmla="*/ 1130447 w 3866243"/>
              <a:gd name="connsiteY0" fmla="*/ 0 h 5157788"/>
              <a:gd name="connsiteX1" fmla="*/ 3866243 w 3866243"/>
              <a:gd name="connsiteY1" fmla="*/ 0 h 5157788"/>
              <a:gd name="connsiteX2" fmla="*/ 3866243 w 3866243"/>
              <a:gd name="connsiteY2" fmla="*/ 5157788 h 5157788"/>
              <a:gd name="connsiteX3" fmla="*/ 1707243 w 3866243"/>
              <a:gd name="connsiteY3" fmla="*/ 5157788 h 5157788"/>
              <a:gd name="connsiteX4" fmla="*/ 14968 w 3866243"/>
              <a:gd name="connsiteY4" fmla="*/ 3429000 h 5157788"/>
              <a:gd name="connsiteX5" fmla="*/ 1130447 w 3866243"/>
              <a:gd name="connsiteY5" fmla="*/ 0 h 5157788"/>
              <a:gd name="connsiteX0" fmla="*/ 2746143 w 5481939"/>
              <a:gd name="connsiteY0" fmla="*/ 0 h 5157788"/>
              <a:gd name="connsiteX1" fmla="*/ 5481939 w 5481939"/>
              <a:gd name="connsiteY1" fmla="*/ 0 h 5157788"/>
              <a:gd name="connsiteX2" fmla="*/ 5481939 w 5481939"/>
              <a:gd name="connsiteY2" fmla="*/ 5157788 h 5157788"/>
              <a:gd name="connsiteX3" fmla="*/ 585903 w 5481939"/>
              <a:gd name="connsiteY3" fmla="*/ 5153180 h 5157788"/>
              <a:gd name="connsiteX4" fmla="*/ 1630664 w 5481939"/>
              <a:gd name="connsiteY4" fmla="*/ 3429000 h 5157788"/>
              <a:gd name="connsiteX5" fmla="*/ 2746143 w 5481939"/>
              <a:gd name="connsiteY5" fmla="*/ 0 h 5157788"/>
              <a:gd name="connsiteX0" fmla="*/ 2746143 w 5481939"/>
              <a:gd name="connsiteY0" fmla="*/ 0 h 5157788"/>
              <a:gd name="connsiteX1" fmla="*/ 5481939 w 5481939"/>
              <a:gd name="connsiteY1" fmla="*/ 0 h 5157788"/>
              <a:gd name="connsiteX2" fmla="*/ 5481939 w 5481939"/>
              <a:gd name="connsiteY2" fmla="*/ 5157788 h 5157788"/>
              <a:gd name="connsiteX3" fmla="*/ 585903 w 5481939"/>
              <a:gd name="connsiteY3" fmla="*/ 5153180 h 5157788"/>
              <a:gd name="connsiteX4" fmla="*/ 1630664 w 5481939"/>
              <a:gd name="connsiteY4" fmla="*/ 3429000 h 5157788"/>
              <a:gd name="connsiteX5" fmla="*/ 2746143 w 548193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3574235 w 6310031"/>
              <a:gd name="connsiteY0" fmla="*/ 0 h 5157788"/>
              <a:gd name="connsiteX1" fmla="*/ 6310031 w 6310031"/>
              <a:gd name="connsiteY1" fmla="*/ 0 h 5157788"/>
              <a:gd name="connsiteX2" fmla="*/ 6310031 w 6310031"/>
              <a:gd name="connsiteY2" fmla="*/ 5157788 h 5157788"/>
              <a:gd name="connsiteX3" fmla="*/ 585903 w 6310031"/>
              <a:gd name="connsiteY3" fmla="*/ 5153180 h 5157788"/>
              <a:gd name="connsiteX4" fmla="*/ 1738031 w 6310031"/>
              <a:gd name="connsiteY4" fmla="*/ 3389965 h 5157788"/>
              <a:gd name="connsiteX5" fmla="*/ 3574235 w 6310031"/>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296143 w 5724128"/>
              <a:gd name="connsiteY4" fmla="*/ 3461908 h 5157788"/>
              <a:gd name="connsiteX5" fmla="*/ 2988332 w 5724128"/>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1188132 w 5760132"/>
              <a:gd name="connsiteY4" fmla="*/ 3425937 h 5157788"/>
              <a:gd name="connsiteX5" fmla="*/ 3024336 w 5760132"/>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2736304 w 5760132"/>
              <a:gd name="connsiteY4" fmla="*/ 3461908 h 5157788"/>
              <a:gd name="connsiteX5" fmla="*/ 3024336 w 5760132"/>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2736304 w 5760132"/>
              <a:gd name="connsiteY4" fmla="*/ 3461908 h 5157788"/>
              <a:gd name="connsiteX5" fmla="*/ 3024336 w 5760132"/>
              <a:gd name="connsiteY5" fmla="*/ 0 h 5157788"/>
              <a:gd name="connsiteX0" fmla="*/ 2160240 w 4896036"/>
              <a:gd name="connsiteY0" fmla="*/ 0 h 5157788"/>
              <a:gd name="connsiteX1" fmla="*/ 4896036 w 4896036"/>
              <a:gd name="connsiteY1" fmla="*/ 0 h 5157788"/>
              <a:gd name="connsiteX2" fmla="*/ 4896036 w 4896036"/>
              <a:gd name="connsiteY2" fmla="*/ 5157788 h 5157788"/>
              <a:gd name="connsiteX3" fmla="*/ 0 w 4896036"/>
              <a:gd name="connsiteY3" fmla="*/ 5153180 h 5157788"/>
              <a:gd name="connsiteX4" fmla="*/ 1872208 w 4896036"/>
              <a:gd name="connsiteY4" fmla="*/ 3461908 h 5157788"/>
              <a:gd name="connsiteX5" fmla="*/ 2160240 w 4896036"/>
              <a:gd name="connsiteY5" fmla="*/ 0 h 5157788"/>
              <a:gd name="connsiteX0" fmla="*/ 2232248 w 4968044"/>
              <a:gd name="connsiteY0" fmla="*/ 0 h 5157788"/>
              <a:gd name="connsiteX1" fmla="*/ 4968044 w 4968044"/>
              <a:gd name="connsiteY1" fmla="*/ 0 h 5157788"/>
              <a:gd name="connsiteX2" fmla="*/ 4968044 w 4968044"/>
              <a:gd name="connsiteY2" fmla="*/ 5157788 h 5157788"/>
              <a:gd name="connsiteX3" fmla="*/ 0 w 4968044"/>
              <a:gd name="connsiteY3" fmla="*/ 5153180 h 5157788"/>
              <a:gd name="connsiteX4" fmla="*/ 1944216 w 4968044"/>
              <a:gd name="connsiteY4" fmla="*/ 3461908 h 5157788"/>
              <a:gd name="connsiteX5" fmla="*/ 2232248 w 4968044"/>
              <a:gd name="connsiteY5" fmla="*/ 0 h 5157788"/>
              <a:gd name="connsiteX0" fmla="*/ 2207679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207679 w 4943475"/>
              <a:gd name="connsiteY5" fmla="*/ 0 h 5157788"/>
              <a:gd name="connsiteX0" fmla="*/ 2963763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963763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092200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71575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343583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675731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675731 w 4943475"/>
              <a:gd name="connsiteY5" fmla="*/ 0 h 5157788"/>
              <a:gd name="connsiteX0" fmla="*/ 2675731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675731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9672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19672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51412" h="5157788">
                <a:moveTo>
                  <a:pt x="2706687" y="0"/>
                </a:moveTo>
                <a:lnTo>
                  <a:pt x="4951412" y="0"/>
                </a:lnTo>
                <a:lnTo>
                  <a:pt x="4951412" y="5157788"/>
                </a:lnTo>
                <a:lnTo>
                  <a:pt x="0" y="5153180"/>
                </a:lnTo>
                <a:cubicBezTo>
                  <a:pt x="84411" y="4542509"/>
                  <a:pt x="183041" y="4024723"/>
                  <a:pt x="1243508" y="2562613"/>
                </a:cubicBezTo>
                <a:cubicBezTo>
                  <a:pt x="1867447" y="1704780"/>
                  <a:pt x="2665955" y="709265"/>
                  <a:pt x="2706687" y="0"/>
                </a:cubicBezTo>
                <a:close/>
              </a:path>
            </a:pathLst>
          </a:custGeom>
          <a:solidFill>
            <a:schemeClr val="bg2"/>
          </a:solidFill>
          <a:ln w="3175">
            <a:noFill/>
          </a:ln>
        </p:spPr>
        <p:txBody>
          <a:bodyPr tIns="720000" rtlCol="0" anchor="ctr">
            <a:noAutofit/>
          </a:bodyPr>
          <a:lstStyle>
            <a:lvl1pPr algn="ctr">
              <a:defRPr sz="1500">
                <a:solidFill>
                  <a:schemeClr val="bg1"/>
                </a:solidFill>
              </a:defRPr>
            </a:lvl1pPr>
          </a:lstStyle>
          <a:p>
            <a:pPr lvl="0"/>
            <a:r>
              <a:rPr lang="en-US" noProof="0"/>
              <a:t>Click icon to add picture</a:t>
            </a:r>
          </a:p>
        </p:txBody>
      </p:sp>
      <p:sp>
        <p:nvSpPr>
          <p:cNvPr id="11" name="Espace réservé de la date 9"/>
          <p:cNvSpPr>
            <a:spLocks noGrp="1"/>
          </p:cNvSpPr>
          <p:nvPr>
            <p:ph type="dt" sz="half" idx="20"/>
          </p:nvPr>
        </p:nvSpPr>
        <p:spPr/>
        <p:txBody>
          <a:bodyPr/>
          <a:lstStyle>
            <a:lvl1pPr>
              <a:defRPr/>
            </a:lvl1pPr>
          </a:lstStyle>
          <a:p>
            <a:pPr>
              <a:defRPr/>
            </a:pPr>
            <a:r>
              <a:rPr lang="en-US">
                <a:solidFill>
                  <a:prstClr val="white">
                    <a:alpha val="0"/>
                  </a:prstClr>
                </a:solidFill>
              </a:rPr>
              <a:t>Date</a:t>
            </a:r>
          </a:p>
        </p:txBody>
      </p:sp>
      <p:sp>
        <p:nvSpPr>
          <p:cNvPr id="12" name="Espace réservé du numéro de diapositive 10"/>
          <p:cNvSpPr>
            <a:spLocks noGrp="1"/>
          </p:cNvSpPr>
          <p:nvPr>
            <p:ph type="sldNum" sz="quarter" idx="21"/>
          </p:nvPr>
        </p:nvSpPr>
        <p:spPr/>
        <p:txBody>
          <a:bodyPr/>
          <a:lstStyle>
            <a:lvl1pPr>
              <a:defRPr sz="100">
                <a:solidFill>
                  <a:schemeClr val="bg1">
                    <a:alpha val="0"/>
                  </a:schemeClr>
                </a:solidFill>
              </a:defRPr>
            </a:lvl1pPr>
          </a:lstStyle>
          <a:p>
            <a:pPr>
              <a:defRPr/>
            </a:pPr>
            <a:r>
              <a:rPr lang="en-US">
                <a:solidFill>
                  <a:prstClr val="white">
                    <a:alpha val="0"/>
                  </a:prstClr>
                </a:solidFill>
              </a:rPr>
              <a:t>Page: </a:t>
            </a:r>
            <a:fld id="{168EB3F5-198F-4211-80D0-E690EB6CEA77}" type="slidenum">
              <a:rPr lang="en-US">
                <a:solidFill>
                  <a:prstClr val="white">
                    <a:alpha val="0"/>
                  </a:prstClr>
                </a:solidFill>
              </a:rPr>
              <a:pPr>
                <a:defRPr/>
              </a:pPr>
              <a:t>‹#›</a:t>
            </a:fld>
            <a:endParaRPr lang="en-US">
              <a:solidFill>
                <a:prstClr val="white">
                  <a:alpha val="0"/>
                </a:prstClr>
              </a:solidFill>
            </a:endParaRPr>
          </a:p>
        </p:txBody>
      </p:sp>
      <p:sp>
        <p:nvSpPr>
          <p:cNvPr id="14" name="Espace réservé du pied de page 11"/>
          <p:cNvSpPr>
            <a:spLocks noGrp="1"/>
          </p:cNvSpPr>
          <p:nvPr>
            <p:ph type="ftr" sz="quarter" idx="22"/>
          </p:nvPr>
        </p:nvSpPr>
        <p:spPr>
          <a:xfrm>
            <a:off x="468313" y="523875"/>
            <a:ext cx="4824412" cy="360363"/>
          </a:xfrm>
        </p:spPr>
        <p:txBody>
          <a:bodyPr/>
          <a:lstStyle>
            <a:lvl1pPr algn="l">
              <a:defRPr sz="1800" b="0">
                <a:solidFill>
                  <a:schemeClr val="bg1"/>
                </a:solidFill>
              </a:defRPr>
            </a:lvl1pPr>
          </a:lstStyle>
          <a:p>
            <a:pPr>
              <a:defRPr/>
            </a:pPr>
            <a:r>
              <a:rPr lang="en-US">
                <a:solidFill>
                  <a:prstClr val="white"/>
                </a:solidFill>
              </a:rPr>
              <a:t>#</a:t>
            </a:r>
            <a:r>
              <a:rPr lang="en-US" err="1">
                <a:solidFill>
                  <a:prstClr val="white"/>
                </a:solidFill>
              </a:rPr>
              <a:t>vaccineswork</a:t>
            </a:r>
            <a:endParaRPr lang="en-US">
              <a:solidFill>
                <a:prstClr val="white"/>
              </a:solidFill>
            </a:endParaRPr>
          </a:p>
        </p:txBody>
      </p:sp>
    </p:spTree>
    <p:extLst>
      <p:ext uri="{BB962C8B-B14F-4D97-AF65-F5344CB8AC3E}">
        <p14:creationId xmlns:p14="http://schemas.microsoft.com/office/powerpoint/2010/main" val="161424668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Text and Visual">
    <p:spTree>
      <p:nvGrpSpPr>
        <p:cNvPr id="1" name=""/>
        <p:cNvGrpSpPr/>
        <p:nvPr/>
      </p:nvGrpSpPr>
      <p:grpSpPr>
        <a:xfrm>
          <a:off x="0" y="0"/>
          <a:ext cx="0" cy="0"/>
          <a:chOff x="0" y="0"/>
          <a:chExt cx="0" cy="0"/>
        </a:xfrm>
      </p:grpSpPr>
      <p:sp>
        <p:nvSpPr>
          <p:cNvPr id="2" name="Title 1"/>
          <p:cNvSpPr>
            <a:spLocks noGrp="1"/>
          </p:cNvSpPr>
          <p:nvPr>
            <p:ph type="title"/>
          </p:nvPr>
        </p:nvSpPr>
        <p:spPr>
          <a:xfrm>
            <a:off x="973138" y="225211"/>
            <a:ext cx="7207249" cy="697999"/>
          </a:xfrm>
        </p:spPr>
        <p:txBody>
          <a:bodyPr/>
          <a:lstStyle/>
          <a:p>
            <a:r>
              <a:rPr lang="en-US"/>
              <a:t>Click to edit Master title style</a:t>
            </a:r>
          </a:p>
        </p:txBody>
      </p:sp>
      <p:sp>
        <p:nvSpPr>
          <p:cNvPr id="4" name="Content Placeholder 3"/>
          <p:cNvSpPr>
            <a:spLocks noGrp="1"/>
          </p:cNvSpPr>
          <p:nvPr>
            <p:ph sz="half" idx="2"/>
          </p:nvPr>
        </p:nvSpPr>
        <p:spPr>
          <a:xfrm>
            <a:off x="3425825" y="2302159"/>
            <a:ext cx="4754564" cy="2541673"/>
          </a:xfrm>
        </p:spPr>
        <p:txBody>
          <a:bodyPr/>
          <a:lstStyle>
            <a:lvl1pPr>
              <a:defRPr sz="1600"/>
            </a:lvl1pPr>
            <a:lvl2pPr marL="457200" indent="0">
              <a:buNone/>
              <a:defRPr sz="1600"/>
            </a:lvl2pPr>
            <a:lvl3pPr marL="914400" indent="0">
              <a:buNone/>
              <a:defRPr sz="1600"/>
            </a:lvl3pPr>
            <a:lvl4pPr marL="1371600" indent="0">
              <a:buNone/>
              <a:defRPr sz="1600"/>
            </a:lvl4pPr>
            <a:lvl5pPr marL="1828800" indent="0">
              <a:buNone/>
              <a:defRPr sz="16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p:cNvSpPr>
            <a:spLocks noGrp="1"/>
          </p:cNvSpPr>
          <p:nvPr>
            <p:ph type="pic" sz="quarter" idx="13"/>
          </p:nvPr>
        </p:nvSpPr>
        <p:spPr>
          <a:xfrm>
            <a:off x="973138" y="1247776"/>
            <a:ext cx="2300287" cy="3450384"/>
          </a:xfrm>
        </p:spPr>
        <p:txBody>
          <a:bodyPr rtlCol="0">
            <a:noAutofit/>
          </a:bodyPr>
          <a:lstStyle/>
          <a:p>
            <a:pPr lvl="0"/>
            <a:endParaRPr lang="en-US" noProof="0"/>
          </a:p>
        </p:txBody>
      </p:sp>
      <p:sp>
        <p:nvSpPr>
          <p:cNvPr id="10" name="Content Placeholder 3"/>
          <p:cNvSpPr>
            <a:spLocks noGrp="1"/>
          </p:cNvSpPr>
          <p:nvPr>
            <p:ph sz="half" idx="14"/>
          </p:nvPr>
        </p:nvSpPr>
        <p:spPr>
          <a:xfrm>
            <a:off x="3425825" y="1241426"/>
            <a:ext cx="4754564" cy="879316"/>
          </a:xfrm>
        </p:spPr>
        <p:txBody>
          <a:bodyPr/>
          <a:lstStyle>
            <a:lvl1pPr marL="0" indent="0">
              <a:buNone/>
              <a:defRPr sz="1600">
                <a:solidFill>
                  <a:srgbClr val="005CB9"/>
                </a:solidFill>
              </a:defRPr>
            </a:lvl1pPr>
            <a:lvl2pPr marL="457200" indent="0">
              <a:buNone/>
              <a:defRPr sz="1400">
                <a:solidFill>
                  <a:srgbClr val="005CB9"/>
                </a:solidFill>
              </a:defRPr>
            </a:lvl2pPr>
            <a:lvl3pPr marL="914400" indent="0">
              <a:buNone/>
              <a:defRPr sz="1400">
                <a:solidFill>
                  <a:srgbClr val="005CB9"/>
                </a:solidFill>
              </a:defRPr>
            </a:lvl3pPr>
            <a:lvl4pPr marL="1371600" indent="0">
              <a:buNone/>
              <a:defRPr sz="1400">
                <a:solidFill>
                  <a:srgbClr val="005CB9"/>
                </a:solidFill>
              </a:defRPr>
            </a:lvl4pPr>
            <a:lvl5pPr marL="1828800" indent="0">
              <a:buNone/>
              <a:defRPr sz="1400">
                <a:solidFill>
                  <a:srgbClr val="005CB9"/>
                </a:solidFill>
              </a:defRPr>
            </a:lvl5pPr>
            <a:lvl6pPr>
              <a:defRPr sz="1800"/>
            </a:lvl6pPr>
            <a:lvl7pPr>
              <a:defRPr sz="1800"/>
            </a:lvl7pPr>
            <a:lvl8pPr>
              <a:defRPr sz="1800"/>
            </a:lvl8pPr>
            <a:lvl9pPr>
              <a:defRPr sz="1800"/>
            </a:lvl9pPr>
          </a:lstStyle>
          <a:p>
            <a:pPr lvl="0"/>
            <a:r>
              <a:rPr lang="en-US"/>
              <a:t>Click to edit Master text styles</a:t>
            </a:r>
          </a:p>
        </p:txBody>
      </p:sp>
      <p:sp>
        <p:nvSpPr>
          <p:cNvPr id="6" name="Footer Placeholder 5"/>
          <p:cNvSpPr>
            <a:spLocks noGrp="1"/>
          </p:cNvSpPr>
          <p:nvPr>
            <p:ph type="ftr" sz="quarter" idx="15"/>
          </p:nvPr>
        </p:nvSpPr>
        <p:spPr/>
        <p:txBody>
          <a:bodyPr/>
          <a:lstStyle>
            <a:lvl1pPr>
              <a:defRPr/>
            </a:lvl1pPr>
          </a:lstStyle>
          <a:p>
            <a:pPr>
              <a:defRPr/>
            </a:pPr>
            <a:r>
              <a:rPr lang="en-US">
                <a:solidFill>
                  <a:srgbClr val="005CB9"/>
                </a:solidFill>
              </a:rPr>
              <a:t>Basic facts about </a:t>
            </a:r>
            <a:r>
              <a:rPr lang="en-US" err="1">
                <a:solidFill>
                  <a:srgbClr val="005CB9"/>
                </a:solidFill>
              </a:rPr>
              <a:t>Gavi</a:t>
            </a:r>
            <a:r>
              <a:rPr lang="en-US">
                <a:solidFill>
                  <a:srgbClr val="005CB9"/>
                </a:solidFill>
              </a:rPr>
              <a:t> the Vaccine Alliance</a:t>
            </a:r>
          </a:p>
        </p:txBody>
      </p:sp>
      <p:sp>
        <p:nvSpPr>
          <p:cNvPr id="7" name="Slide Number Placeholder 6"/>
          <p:cNvSpPr>
            <a:spLocks noGrp="1"/>
          </p:cNvSpPr>
          <p:nvPr>
            <p:ph type="sldNum" sz="quarter" idx="16"/>
          </p:nvPr>
        </p:nvSpPr>
        <p:spPr/>
        <p:txBody>
          <a:bodyPr/>
          <a:lstStyle>
            <a:lvl1pPr algn="ctr">
              <a:defRPr/>
            </a:lvl1pPr>
          </a:lstStyle>
          <a:p>
            <a:pPr>
              <a:defRPr/>
            </a:pPr>
            <a:fld id="{FFE8DD00-E6C1-42A5-A44D-4115350A5429}" type="slidenum">
              <a:rPr lang="en-US">
                <a:solidFill>
                  <a:srgbClr val="343434"/>
                </a:solidFill>
              </a:rPr>
              <a:pPr>
                <a:defRPr/>
              </a:pPr>
              <a:t>‹#›</a:t>
            </a:fld>
            <a:endParaRPr lang="en-US">
              <a:solidFill>
                <a:srgbClr val="343434"/>
              </a:solidFill>
            </a:endParaRPr>
          </a:p>
        </p:txBody>
      </p:sp>
    </p:spTree>
    <p:extLst>
      <p:ext uri="{BB962C8B-B14F-4D97-AF65-F5344CB8AC3E}">
        <p14:creationId xmlns:p14="http://schemas.microsoft.com/office/powerpoint/2010/main" val="309815038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57908966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noProof="0"/>
              <a:t>Click to edit Master title style</a:t>
            </a:r>
          </a:p>
        </p:txBody>
      </p:sp>
      <p:sp>
        <p:nvSpPr>
          <p:cNvPr id="3" name="Footer Placeholder 4"/>
          <p:cNvSpPr>
            <a:spLocks noGrp="1"/>
          </p:cNvSpPr>
          <p:nvPr>
            <p:ph type="ftr" sz="quarter" idx="10"/>
          </p:nvPr>
        </p:nvSpPr>
        <p:spPr>
          <a:xfrm>
            <a:off x="990600" y="6492875"/>
            <a:ext cx="2895600" cy="365125"/>
          </a:xfrm>
          <a:prstGeom prst="rect">
            <a:avLst/>
          </a:prstGeom>
        </p:spPr>
        <p:txBody>
          <a:bodyPr/>
          <a:lstStyle>
            <a:lvl1pPr>
              <a:defRPr/>
            </a:lvl1pPr>
          </a:lstStyle>
          <a:p>
            <a:pPr>
              <a:defRPr/>
            </a:pPr>
            <a:endParaRPr lang="en-US">
              <a:solidFill>
                <a:srgbClr val="005CB9"/>
              </a:solidFill>
            </a:endParaRPr>
          </a:p>
        </p:txBody>
      </p:sp>
      <p:sp>
        <p:nvSpPr>
          <p:cNvPr id="4" name="Slide Number Placeholder 5"/>
          <p:cNvSpPr>
            <a:spLocks noGrp="1"/>
          </p:cNvSpPr>
          <p:nvPr>
            <p:ph type="sldNum" sz="quarter" idx="4"/>
          </p:nvPr>
        </p:nvSpPr>
        <p:spPr>
          <a:xfrm>
            <a:off x="4495800" y="6675438"/>
            <a:ext cx="457200" cy="182562"/>
          </a:xfrm>
          <a:prstGeom prst="rect">
            <a:avLst/>
          </a:prstGeom>
        </p:spPr>
        <p:txBody>
          <a:bodyPr vert="horz" wrap="square" lIns="91440" tIns="45720" rIns="91440" bIns="45720" numCol="1" anchor="t" anchorCtr="0" compatLnSpc="1">
            <a:prstTxWarp prst="textNoShape">
              <a:avLst/>
            </a:prstTxWarp>
          </a:bodyPr>
          <a:lstStyle>
            <a:lvl1pPr algn="ctr">
              <a:defRPr sz="600" smtClean="0"/>
            </a:lvl1pPr>
          </a:lstStyle>
          <a:p>
            <a:fld id="{71E7CAA9-5801-4134-B261-BDA72BB51524}" type="slidenum">
              <a:rPr lang="en-GB">
                <a:solidFill>
                  <a:srgbClr val="343434"/>
                </a:solidFill>
              </a:rPr>
              <a:pPr/>
              <a:t>‹#›</a:t>
            </a:fld>
            <a:endParaRPr lang="en-GB">
              <a:solidFill>
                <a:srgbClr val="343434"/>
              </a:solidFill>
            </a:endParaRPr>
          </a:p>
        </p:txBody>
      </p:sp>
    </p:spTree>
    <p:extLst>
      <p:ext uri="{BB962C8B-B14F-4D97-AF65-F5344CB8AC3E}">
        <p14:creationId xmlns:p14="http://schemas.microsoft.com/office/powerpoint/2010/main" val="599883340"/>
      </p:ext>
    </p:extLst>
  </p:cSld>
  <p:clrMapOvr>
    <a:masterClrMapping/>
  </p:clrMapOvr>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pic>
        <p:nvPicPr>
          <p:cNvPr id="6" name="Image 18" descr="FD_02.pn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gray">
          <a:xfrm>
            <a:off x="0" y="0"/>
            <a:ext cx="9144000" cy="51577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7" name="Rectangle 6"/>
          <p:cNvSpPr/>
          <p:nvPr userDrawn="1"/>
        </p:nvSpPr>
        <p:spPr bwMode="gray">
          <a:xfrm>
            <a:off x="3635375" y="5265738"/>
            <a:ext cx="5508625" cy="15922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prstClr val="white"/>
              </a:solidFill>
            </a:endParaRPr>
          </a:p>
        </p:txBody>
      </p:sp>
      <p:pic>
        <p:nvPicPr>
          <p:cNvPr id="10" name="Image 19" descr="Bas_couv.png"/>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gray">
          <a:xfrm>
            <a:off x="0" y="5172075"/>
            <a:ext cx="3635375" cy="16859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1" name="Rectangle 10"/>
          <p:cNvSpPr/>
          <p:nvPr userDrawn="1"/>
        </p:nvSpPr>
        <p:spPr bwMode="gray">
          <a:xfrm>
            <a:off x="3635375" y="6354763"/>
            <a:ext cx="5113338" cy="2873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p>
            <a:pPr algn="r">
              <a:defRPr/>
            </a:pPr>
            <a:r>
              <a:rPr lang="en-US" sz="1000" err="1">
                <a:solidFill>
                  <a:srgbClr val="95D600"/>
                </a:solidFill>
              </a:rPr>
              <a:t>www.gavi.org</a:t>
            </a:r>
            <a:endParaRPr lang="en-US" sz="1000">
              <a:solidFill>
                <a:srgbClr val="95D600"/>
              </a:solidFill>
            </a:endParaRPr>
          </a:p>
        </p:txBody>
      </p:sp>
      <p:cxnSp>
        <p:nvCxnSpPr>
          <p:cNvPr id="12" name="Connecteur droit 22"/>
          <p:cNvCxnSpPr/>
          <p:nvPr userDrawn="1"/>
        </p:nvCxnSpPr>
        <p:spPr bwMode="gray">
          <a:xfrm flipH="1">
            <a:off x="468313" y="3402013"/>
            <a:ext cx="2447925" cy="0"/>
          </a:xfrm>
          <a:prstGeom prst="line">
            <a:avLst/>
          </a:prstGeom>
          <a:ln w="24130">
            <a:solidFill>
              <a:schemeClr val="accent1"/>
            </a:solidFill>
          </a:ln>
        </p:spPr>
        <p:style>
          <a:lnRef idx="1">
            <a:schemeClr val="accent1"/>
          </a:lnRef>
          <a:fillRef idx="0">
            <a:schemeClr val="accent1"/>
          </a:fillRef>
          <a:effectRef idx="0">
            <a:schemeClr val="accent1"/>
          </a:effectRef>
          <a:fontRef idx="minor">
            <a:schemeClr val="tx1"/>
          </a:fontRef>
        </p:style>
      </p:cxnSp>
      <p:sp>
        <p:nvSpPr>
          <p:cNvPr id="9" name="Espace réservé du texte 8"/>
          <p:cNvSpPr>
            <a:spLocks noGrp="1"/>
          </p:cNvSpPr>
          <p:nvPr>
            <p:ph type="body" sz="quarter" idx="13"/>
          </p:nvPr>
        </p:nvSpPr>
        <p:spPr bwMode="gray">
          <a:xfrm>
            <a:off x="468314" y="1036800"/>
            <a:ext cx="4824412" cy="2232000"/>
          </a:xfrm>
        </p:spPr>
        <p:txBody>
          <a:bodyPr anchor="b"/>
          <a:lstStyle>
            <a:lvl1pPr marL="0" indent="0" algn="l">
              <a:lnSpc>
                <a:spcPct val="90000"/>
              </a:lnSpc>
              <a:buNone/>
              <a:defRPr sz="2800" b="1" cap="none" baseline="0">
                <a:solidFill>
                  <a:schemeClr val="bg1"/>
                </a:solidFill>
              </a:defRPr>
            </a:lvl1pPr>
            <a:lvl2pPr marL="0" algn="ctr">
              <a:lnSpc>
                <a:spcPct val="100000"/>
              </a:lnSpc>
              <a:spcBef>
                <a:spcPts val="6900"/>
              </a:spcBef>
              <a:defRPr sz="2000" b="1">
                <a:solidFill>
                  <a:schemeClr val="bg1"/>
                </a:solidFill>
              </a:defRPr>
            </a:lvl2pPr>
          </a:lstStyle>
          <a:p>
            <a:pPr lvl="0"/>
            <a:r>
              <a:rPr lang="en-US" noProof="0"/>
              <a:t>Click to edit Master text styles</a:t>
            </a:r>
          </a:p>
        </p:txBody>
      </p:sp>
      <p:sp>
        <p:nvSpPr>
          <p:cNvPr id="8" name="Espace réservé du texte 8"/>
          <p:cNvSpPr>
            <a:spLocks noGrp="1"/>
          </p:cNvSpPr>
          <p:nvPr>
            <p:ph type="body" sz="quarter" idx="14"/>
          </p:nvPr>
        </p:nvSpPr>
        <p:spPr bwMode="gray">
          <a:xfrm>
            <a:off x="468314" y="3585600"/>
            <a:ext cx="4824411" cy="1479600"/>
          </a:xfrm>
        </p:spPr>
        <p:txBody>
          <a:bodyPr/>
          <a:lstStyle>
            <a:lvl1pPr marL="0" indent="0" algn="l">
              <a:lnSpc>
                <a:spcPct val="90000"/>
              </a:lnSpc>
              <a:buNone/>
              <a:defRPr sz="2000" b="0" baseline="0">
                <a:solidFill>
                  <a:schemeClr val="bg1"/>
                </a:solidFill>
              </a:defRPr>
            </a:lvl1pPr>
            <a:lvl2pPr marL="0" algn="ctr">
              <a:lnSpc>
                <a:spcPct val="100000"/>
              </a:lnSpc>
              <a:spcBef>
                <a:spcPts val="6900"/>
              </a:spcBef>
              <a:defRPr sz="2000" b="1">
                <a:solidFill>
                  <a:schemeClr val="bg1"/>
                </a:solidFill>
              </a:defRPr>
            </a:lvl2pPr>
          </a:lstStyle>
          <a:p>
            <a:pPr lvl="0"/>
            <a:r>
              <a:rPr lang="en-US" noProof="0"/>
              <a:t>Click to edit Master text styles</a:t>
            </a:r>
          </a:p>
        </p:txBody>
      </p:sp>
      <p:sp>
        <p:nvSpPr>
          <p:cNvPr id="15" name="Espace réservé du texte 14"/>
          <p:cNvSpPr>
            <a:spLocks noGrp="1"/>
          </p:cNvSpPr>
          <p:nvPr>
            <p:ph type="body" sz="quarter" idx="19"/>
          </p:nvPr>
        </p:nvSpPr>
        <p:spPr bwMode="gray">
          <a:xfrm>
            <a:off x="3635376" y="6021388"/>
            <a:ext cx="5113338" cy="324000"/>
          </a:xfrm>
        </p:spPr>
        <p:txBody>
          <a:bodyPr anchor="b"/>
          <a:lstStyle>
            <a:lvl1pPr algn="r">
              <a:lnSpc>
                <a:spcPct val="100000"/>
              </a:lnSpc>
              <a:defRPr sz="1000" b="1">
                <a:solidFill>
                  <a:schemeClr val="accent3"/>
                </a:solidFill>
              </a:defRPr>
            </a:lvl1pPr>
          </a:lstStyle>
          <a:p>
            <a:pPr lvl="0"/>
            <a:r>
              <a:rPr lang="en-US" noProof="0"/>
              <a:t>Click to edit Master text styles</a:t>
            </a:r>
          </a:p>
        </p:txBody>
      </p:sp>
      <p:sp>
        <p:nvSpPr>
          <p:cNvPr id="17" name="Espace réservé du texte 16"/>
          <p:cNvSpPr>
            <a:spLocks noGrp="1"/>
          </p:cNvSpPr>
          <p:nvPr>
            <p:ph type="body" sz="quarter" idx="20"/>
          </p:nvPr>
        </p:nvSpPr>
        <p:spPr bwMode="gray">
          <a:xfrm>
            <a:off x="0" y="5157788"/>
            <a:ext cx="9144000" cy="287337"/>
          </a:xfrm>
          <a:solidFill>
            <a:schemeClr val="bg1"/>
          </a:solidFill>
        </p:spPr>
        <p:txBody>
          <a:bodyPr/>
          <a:lstStyle>
            <a:lvl1pPr>
              <a:defRPr sz="100" b="0">
                <a:solidFill>
                  <a:schemeClr val="bg1">
                    <a:alpha val="0"/>
                  </a:schemeClr>
                </a:solidFill>
              </a:defRPr>
            </a:lvl1pPr>
          </a:lstStyle>
          <a:p>
            <a:pPr lvl="0"/>
            <a:r>
              <a:rPr lang="en-US" noProof="0"/>
              <a:t>Click to edit Master text styles</a:t>
            </a:r>
          </a:p>
        </p:txBody>
      </p:sp>
      <p:sp>
        <p:nvSpPr>
          <p:cNvPr id="13" name="Espace réservé de la date 9"/>
          <p:cNvSpPr>
            <a:spLocks noGrp="1"/>
          </p:cNvSpPr>
          <p:nvPr>
            <p:ph type="dt" sz="half" idx="21"/>
          </p:nvPr>
        </p:nvSpPr>
        <p:spPr/>
        <p:txBody>
          <a:bodyPr/>
          <a:lstStyle>
            <a:lvl1pPr>
              <a:defRPr/>
            </a:lvl1pPr>
          </a:lstStyle>
          <a:p>
            <a:pPr>
              <a:defRPr/>
            </a:pPr>
            <a:r>
              <a:rPr lang="en-US">
                <a:solidFill>
                  <a:prstClr val="white">
                    <a:alpha val="0"/>
                  </a:prstClr>
                </a:solidFill>
              </a:rPr>
              <a:t>Date</a:t>
            </a:r>
          </a:p>
        </p:txBody>
      </p:sp>
      <p:sp>
        <p:nvSpPr>
          <p:cNvPr id="14" name="Espace réservé du numéro de diapositive 10"/>
          <p:cNvSpPr>
            <a:spLocks noGrp="1"/>
          </p:cNvSpPr>
          <p:nvPr>
            <p:ph type="sldNum" sz="quarter" idx="22"/>
          </p:nvPr>
        </p:nvSpPr>
        <p:spPr/>
        <p:txBody>
          <a:bodyPr/>
          <a:lstStyle>
            <a:lvl1pPr>
              <a:defRPr sz="100">
                <a:solidFill>
                  <a:schemeClr val="bg1">
                    <a:alpha val="0"/>
                  </a:schemeClr>
                </a:solidFill>
              </a:defRPr>
            </a:lvl1pPr>
          </a:lstStyle>
          <a:p>
            <a:pPr>
              <a:defRPr/>
            </a:pPr>
            <a:r>
              <a:rPr lang="en-US">
                <a:solidFill>
                  <a:prstClr val="white">
                    <a:alpha val="0"/>
                  </a:prstClr>
                </a:solidFill>
              </a:rPr>
              <a:t>Page: </a:t>
            </a:r>
            <a:fld id="{541ADD26-9626-44B7-849C-716E619042DF}" type="slidenum">
              <a:rPr lang="en-US">
                <a:solidFill>
                  <a:prstClr val="white">
                    <a:alpha val="0"/>
                  </a:prstClr>
                </a:solidFill>
              </a:rPr>
              <a:pPr>
                <a:defRPr/>
              </a:pPr>
              <a:t>‹#›</a:t>
            </a:fld>
            <a:endParaRPr lang="en-US">
              <a:solidFill>
                <a:prstClr val="white">
                  <a:alpha val="0"/>
                </a:prstClr>
              </a:solidFill>
            </a:endParaRPr>
          </a:p>
        </p:txBody>
      </p:sp>
      <p:sp>
        <p:nvSpPr>
          <p:cNvPr id="16" name="Espace réservé du pied de page 11"/>
          <p:cNvSpPr>
            <a:spLocks noGrp="1"/>
          </p:cNvSpPr>
          <p:nvPr>
            <p:ph type="ftr" sz="quarter" idx="23"/>
          </p:nvPr>
        </p:nvSpPr>
        <p:spPr>
          <a:xfrm>
            <a:off x="468313" y="523875"/>
            <a:ext cx="4824412" cy="360363"/>
          </a:xfrm>
        </p:spPr>
        <p:txBody>
          <a:bodyPr/>
          <a:lstStyle>
            <a:lvl1pPr algn="l">
              <a:defRPr sz="1800" b="0">
                <a:solidFill>
                  <a:schemeClr val="bg1"/>
                </a:solidFill>
              </a:defRPr>
            </a:lvl1pPr>
          </a:lstStyle>
          <a:p>
            <a:pPr>
              <a:defRPr/>
            </a:pPr>
            <a:r>
              <a:rPr lang="en-US">
                <a:solidFill>
                  <a:prstClr val="white"/>
                </a:solidFill>
              </a:rPr>
              <a:t>#vaccelerate</a:t>
            </a:r>
          </a:p>
        </p:txBody>
      </p:sp>
    </p:spTree>
    <p:extLst>
      <p:ext uri="{BB962C8B-B14F-4D97-AF65-F5344CB8AC3E}">
        <p14:creationId xmlns:p14="http://schemas.microsoft.com/office/powerpoint/2010/main" val="2893323820"/>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Cover_Picture_1">
    <p:spTree>
      <p:nvGrpSpPr>
        <p:cNvPr id="1" name=""/>
        <p:cNvGrpSpPr/>
        <p:nvPr/>
      </p:nvGrpSpPr>
      <p:grpSpPr>
        <a:xfrm>
          <a:off x="0" y="0"/>
          <a:ext cx="0" cy="0"/>
          <a:chOff x="0" y="0"/>
          <a:chExt cx="0" cy="0"/>
        </a:xfrm>
      </p:grpSpPr>
      <p:pic>
        <p:nvPicPr>
          <p:cNvPr id="7" name="Image 20" descr="FD_1_L254.png"/>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gray">
          <a:xfrm>
            <a:off x="0" y="0"/>
            <a:ext cx="9144000" cy="51577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0" name="Rectangle 9"/>
          <p:cNvSpPr/>
          <p:nvPr userDrawn="1"/>
        </p:nvSpPr>
        <p:spPr bwMode="gray">
          <a:xfrm>
            <a:off x="3635375" y="5265738"/>
            <a:ext cx="5508625" cy="15922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prstClr val="white"/>
              </a:solidFill>
            </a:endParaRPr>
          </a:p>
        </p:txBody>
      </p:sp>
      <p:pic>
        <p:nvPicPr>
          <p:cNvPr id="11" name="Image 19" descr="Bas_couv.png"/>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gray">
          <a:xfrm>
            <a:off x="0" y="5172075"/>
            <a:ext cx="3635375" cy="16859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2" name="Rectangle 11"/>
          <p:cNvSpPr/>
          <p:nvPr userDrawn="1"/>
        </p:nvSpPr>
        <p:spPr bwMode="gray">
          <a:xfrm>
            <a:off x="3635375" y="6354763"/>
            <a:ext cx="5113338" cy="2873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p>
            <a:pPr algn="r">
              <a:defRPr/>
            </a:pPr>
            <a:r>
              <a:rPr lang="en-US" sz="1000" err="1">
                <a:solidFill>
                  <a:srgbClr val="95D600"/>
                </a:solidFill>
              </a:rPr>
              <a:t>www.gavi.org</a:t>
            </a:r>
            <a:endParaRPr lang="en-US" sz="1000">
              <a:solidFill>
                <a:srgbClr val="95D600"/>
              </a:solidFill>
            </a:endParaRPr>
          </a:p>
        </p:txBody>
      </p:sp>
      <p:cxnSp>
        <p:nvCxnSpPr>
          <p:cNvPr id="13" name="Connecteur droit 22"/>
          <p:cNvCxnSpPr/>
          <p:nvPr userDrawn="1"/>
        </p:nvCxnSpPr>
        <p:spPr bwMode="gray">
          <a:xfrm flipH="1">
            <a:off x="468313" y="3402013"/>
            <a:ext cx="2447925" cy="0"/>
          </a:xfrm>
          <a:prstGeom prst="line">
            <a:avLst/>
          </a:prstGeom>
          <a:ln w="24130">
            <a:solidFill>
              <a:schemeClr val="accent1"/>
            </a:solidFill>
          </a:ln>
        </p:spPr>
        <p:style>
          <a:lnRef idx="1">
            <a:schemeClr val="accent1"/>
          </a:lnRef>
          <a:fillRef idx="0">
            <a:schemeClr val="accent1"/>
          </a:fillRef>
          <a:effectRef idx="0">
            <a:schemeClr val="accent1"/>
          </a:effectRef>
          <a:fontRef idx="minor">
            <a:schemeClr val="tx1"/>
          </a:fontRef>
        </p:style>
      </p:cxnSp>
      <p:sp>
        <p:nvSpPr>
          <p:cNvPr id="9" name="Espace réservé du texte 8"/>
          <p:cNvSpPr>
            <a:spLocks noGrp="1"/>
          </p:cNvSpPr>
          <p:nvPr>
            <p:ph type="body" sz="quarter" idx="13"/>
          </p:nvPr>
        </p:nvSpPr>
        <p:spPr bwMode="gray">
          <a:xfrm>
            <a:off x="468314" y="1036638"/>
            <a:ext cx="4824412" cy="2231392"/>
          </a:xfrm>
        </p:spPr>
        <p:txBody>
          <a:bodyPr anchor="b"/>
          <a:lstStyle>
            <a:lvl1pPr marL="0" indent="0" algn="l">
              <a:lnSpc>
                <a:spcPct val="90000"/>
              </a:lnSpc>
              <a:buNone/>
              <a:defRPr sz="2800" b="1" cap="none" baseline="0">
                <a:solidFill>
                  <a:schemeClr val="bg1"/>
                </a:solidFill>
              </a:defRPr>
            </a:lvl1pPr>
            <a:lvl2pPr marL="0" algn="ctr">
              <a:lnSpc>
                <a:spcPct val="100000"/>
              </a:lnSpc>
              <a:spcBef>
                <a:spcPts val="6900"/>
              </a:spcBef>
              <a:defRPr sz="2000" b="1">
                <a:solidFill>
                  <a:schemeClr val="bg1"/>
                </a:solidFill>
              </a:defRPr>
            </a:lvl2pPr>
          </a:lstStyle>
          <a:p>
            <a:pPr lvl="0"/>
            <a:r>
              <a:rPr lang="en-US" noProof="0"/>
              <a:t>Click to edit Master text styles</a:t>
            </a:r>
          </a:p>
        </p:txBody>
      </p:sp>
      <p:sp>
        <p:nvSpPr>
          <p:cNvPr id="8" name="Espace réservé du texte 8"/>
          <p:cNvSpPr>
            <a:spLocks noGrp="1"/>
          </p:cNvSpPr>
          <p:nvPr>
            <p:ph type="body" sz="quarter" idx="14"/>
          </p:nvPr>
        </p:nvSpPr>
        <p:spPr bwMode="gray">
          <a:xfrm>
            <a:off x="468314" y="3584637"/>
            <a:ext cx="3592800" cy="1477788"/>
          </a:xfrm>
        </p:spPr>
        <p:txBody>
          <a:bodyPr/>
          <a:lstStyle>
            <a:lvl1pPr marL="0" indent="0" algn="l">
              <a:lnSpc>
                <a:spcPct val="90000"/>
              </a:lnSpc>
              <a:buNone/>
              <a:defRPr sz="2000" b="0" baseline="0">
                <a:solidFill>
                  <a:schemeClr val="bg1"/>
                </a:solidFill>
              </a:defRPr>
            </a:lvl1pPr>
            <a:lvl2pPr marL="0" algn="ctr">
              <a:lnSpc>
                <a:spcPct val="100000"/>
              </a:lnSpc>
              <a:spcBef>
                <a:spcPts val="6900"/>
              </a:spcBef>
              <a:defRPr sz="2000" b="1">
                <a:solidFill>
                  <a:schemeClr val="bg1"/>
                </a:solidFill>
              </a:defRPr>
            </a:lvl2pPr>
          </a:lstStyle>
          <a:p>
            <a:pPr lvl="0"/>
            <a:r>
              <a:rPr lang="en-US" noProof="0"/>
              <a:t>Click to edit Master text styles</a:t>
            </a:r>
          </a:p>
        </p:txBody>
      </p:sp>
      <p:sp>
        <p:nvSpPr>
          <p:cNvPr id="15" name="Espace réservé du texte 14"/>
          <p:cNvSpPr>
            <a:spLocks noGrp="1"/>
          </p:cNvSpPr>
          <p:nvPr>
            <p:ph type="body" sz="quarter" idx="19"/>
          </p:nvPr>
        </p:nvSpPr>
        <p:spPr bwMode="gray">
          <a:xfrm>
            <a:off x="3635376" y="6021388"/>
            <a:ext cx="5113338" cy="324000"/>
          </a:xfrm>
        </p:spPr>
        <p:txBody>
          <a:bodyPr anchor="b"/>
          <a:lstStyle>
            <a:lvl1pPr algn="r">
              <a:lnSpc>
                <a:spcPct val="100000"/>
              </a:lnSpc>
              <a:defRPr sz="1000" b="1">
                <a:solidFill>
                  <a:schemeClr val="accent3"/>
                </a:solidFill>
              </a:defRPr>
            </a:lvl1pPr>
          </a:lstStyle>
          <a:p>
            <a:pPr lvl="0"/>
            <a:r>
              <a:rPr lang="en-US" noProof="0"/>
              <a:t>Click to edit Master text styles</a:t>
            </a:r>
          </a:p>
        </p:txBody>
      </p:sp>
      <p:sp>
        <p:nvSpPr>
          <p:cNvPr id="17" name="Espace réservé du texte 16"/>
          <p:cNvSpPr>
            <a:spLocks noGrp="1"/>
          </p:cNvSpPr>
          <p:nvPr>
            <p:ph type="body" sz="quarter" idx="20"/>
          </p:nvPr>
        </p:nvSpPr>
        <p:spPr bwMode="gray">
          <a:xfrm>
            <a:off x="0" y="5157788"/>
            <a:ext cx="9144000" cy="287337"/>
          </a:xfrm>
          <a:solidFill>
            <a:schemeClr val="bg1"/>
          </a:solidFill>
        </p:spPr>
        <p:txBody>
          <a:bodyPr/>
          <a:lstStyle>
            <a:lvl1pPr>
              <a:defRPr sz="100" b="0">
                <a:solidFill>
                  <a:schemeClr val="bg1">
                    <a:alpha val="0"/>
                  </a:schemeClr>
                </a:solidFill>
              </a:defRPr>
            </a:lvl1pPr>
          </a:lstStyle>
          <a:p>
            <a:pPr lvl="0"/>
            <a:r>
              <a:rPr lang="en-US" noProof="0"/>
              <a:t>Click to edit Master text styles</a:t>
            </a:r>
          </a:p>
        </p:txBody>
      </p:sp>
      <p:sp>
        <p:nvSpPr>
          <p:cNvPr id="24" name="Espace réservé pour une image  17"/>
          <p:cNvSpPr>
            <a:spLocks noGrp="1"/>
          </p:cNvSpPr>
          <p:nvPr>
            <p:ph type="pic" sz="quarter" idx="18"/>
          </p:nvPr>
        </p:nvSpPr>
        <p:spPr bwMode="gray">
          <a:xfrm>
            <a:off x="4192588" y="0"/>
            <a:ext cx="4951412" cy="5162400"/>
          </a:xfrm>
          <a:custGeom>
            <a:avLst/>
            <a:gdLst>
              <a:gd name="connsiteX0" fmla="*/ 0 w 3851275"/>
              <a:gd name="connsiteY0" fmla="*/ 0 h 5157788"/>
              <a:gd name="connsiteX1" fmla="*/ 3851275 w 3851275"/>
              <a:gd name="connsiteY1" fmla="*/ 0 h 5157788"/>
              <a:gd name="connsiteX2" fmla="*/ 3851275 w 3851275"/>
              <a:gd name="connsiteY2" fmla="*/ 5157788 h 5157788"/>
              <a:gd name="connsiteX3" fmla="*/ 0 w 3851275"/>
              <a:gd name="connsiteY3" fmla="*/ 5157788 h 5157788"/>
              <a:gd name="connsiteX4" fmla="*/ 0 w 3851275"/>
              <a:gd name="connsiteY4"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0 w 3851275"/>
              <a:gd name="connsiteY3" fmla="*/ 5157788 h 5157788"/>
              <a:gd name="connsiteX4" fmla="*/ 1692275 w 3851275"/>
              <a:gd name="connsiteY4" fmla="*/ 0 h 5157788"/>
              <a:gd name="connsiteX0" fmla="*/ 0 w 2159000"/>
              <a:gd name="connsiteY0" fmla="*/ 0 h 5157788"/>
              <a:gd name="connsiteX1" fmla="*/ 2159000 w 2159000"/>
              <a:gd name="connsiteY1" fmla="*/ 0 h 5157788"/>
              <a:gd name="connsiteX2" fmla="*/ 2159000 w 2159000"/>
              <a:gd name="connsiteY2" fmla="*/ 5157788 h 5157788"/>
              <a:gd name="connsiteX3" fmla="*/ 0 w 2159000"/>
              <a:gd name="connsiteY3" fmla="*/ 5157788 h 5157788"/>
              <a:gd name="connsiteX4" fmla="*/ 0 w 2159000"/>
              <a:gd name="connsiteY4" fmla="*/ 0 h 5157788"/>
              <a:gd name="connsiteX0" fmla="*/ 2625271 w 4784271"/>
              <a:gd name="connsiteY0" fmla="*/ 0 h 5157788"/>
              <a:gd name="connsiteX1" fmla="*/ 4784271 w 4784271"/>
              <a:gd name="connsiteY1" fmla="*/ 0 h 5157788"/>
              <a:gd name="connsiteX2" fmla="*/ 4784271 w 4784271"/>
              <a:gd name="connsiteY2" fmla="*/ 5157788 h 5157788"/>
              <a:gd name="connsiteX3" fmla="*/ 2625271 w 4784271"/>
              <a:gd name="connsiteY3" fmla="*/ 5157788 h 5157788"/>
              <a:gd name="connsiteX4" fmla="*/ 2625271 w 4784271"/>
              <a:gd name="connsiteY4" fmla="*/ 0 h 5157788"/>
              <a:gd name="connsiteX0" fmla="*/ 2625271 w 4784271"/>
              <a:gd name="connsiteY0" fmla="*/ 0 h 5157788"/>
              <a:gd name="connsiteX1" fmla="*/ 4784271 w 4784271"/>
              <a:gd name="connsiteY1" fmla="*/ 0 h 5157788"/>
              <a:gd name="connsiteX2" fmla="*/ 4784271 w 4784271"/>
              <a:gd name="connsiteY2" fmla="*/ 5157788 h 5157788"/>
              <a:gd name="connsiteX3" fmla="*/ 2625271 w 4784271"/>
              <a:gd name="connsiteY3" fmla="*/ 5157788 h 5157788"/>
              <a:gd name="connsiteX4" fmla="*/ 2625271 w 4784271"/>
              <a:gd name="connsiteY4" fmla="*/ 0 h 5157788"/>
              <a:gd name="connsiteX0" fmla="*/ 3568576 w 5727576"/>
              <a:gd name="connsiteY0" fmla="*/ 0 h 5157788"/>
              <a:gd name="connsiteX1" fmla="*/ 5727576 w 5727576"/>
              <a:gd name="connsiteY1" fmla="*/ 0 h 5157788"/>
              <a:gd name="connsiteX2" fmla="*/ 5727576 w 5727576"/>
              <a:gd name="connsiteY2" fmla="*/ 5157788 h 5157788"/>
              <a:gd name="connsiteX3" fmla="*/ 3568576 w 5727576"/>
              <a:gd name="connsiteY3" fmla="*/ 5157788 h 5157788"/>
              <a:gd name="connsiteX4" fmla="*/ 3568576 w 5727576"/>
              <a:gd name="connsiteY4" fmla="*/ 0 h 5157788"/>
              <a:gd name="connsiteX0" fmla="*/ 3306355 w 5465355"/>
              <a:gd name="connsiteY0" fmla="*/ 0 h 5157788"/>
              <a:gd name="connsiteX1" fmla="*/ 5465355 w 5465355"/>
              <a:gd name="connsiteY1" fmla="*/ 0 h 5157788"/>
              <a:gd name="connsiteX2" fmla="*/ 5465355 w 5465355"/>
              <a:gd name="connsiteY2" fmla="*/ 5157788 h 5157788"/>
              <a:gd name="connsiteX3" fmla="*/ 3306355 w 5465355"/>
              <a:gd name="connsiteY3" fmla="*/ 5157788 h 5157788"/>
              <a:gd name="connsiteX4" fmla="*/ 3306355 w 5465355"/>
              <a:gd name="connsiteY4" fmla="*/ 0 h 5157788"/>
              <a:gd name="connsiteX0" fmla="*/ 1416957 w 3575957"/>
              <a:gd name="connsiteY0" fmla="*/ 0 h 5157788"/>
              <a:gd name="connsiteX1" fmla="*/ 3575957 w 3575957"/>
              <a:gd name="connsiteY1" fmla="*/ 0 h 5157788"/>
              <a:gd name="connsiteX2" fmla="*/ 3575957 w 3575957"/>
              <a:gd name="connsiteY2" fmla="*/ 5157788 h 5157788"/>
              <a:gd name="connsiteX3" fmla="*/ 1416957 w 3575957"/>
              <a:gd name="connsiteY3" fmla="*/ 5157788 h 5157788"/>
              <a:gd name="connsiteX4" fmla="*/ 0 w 3575957"/>
              <a:gd name="connsiteY4" fmla="*/ 3339193 h 5157788"/>
              <a:gd name="connsiteX5" fmla="*/ 1416957 w 3575957"/>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6017419"/>
              <a:gd name="connsiteX1" fmla="*/ 3851275 w 3851275"/>
              <a:gd name="connsiteY1" fmla="*/ 0 h 6017419"/>
              <a:gd name="connsiteX2" fmla="*/ 3851275 w 3851275"/>
              <a:gd name="connsiteY2" fmla="*/ 5157788 h 6017419"/>
              <a:gd name="connsiteX3" fmla="*/ 1692275 w 3851275"/>
              <a:gd name="connsiteY3" fmla="*/ 5157788 h 6017419"/>
              <a:gd name="connsiteX4" fmla="*/ 0 w 3851275"/>
              <a:gd name="connsiteY4" fmla="*/ 3284984 h 6017419"/>
              <a:gd name="connsiteX5" fmla="*/ 1692275 w 3851275"/>
              <a:gd name="connsiteY5" fmla="*/ 0 h 6017419"/>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429000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429000 h 5157788"/>
              <a:gd name="connsiteX5" fmla="*/ 1710871 w 3869871"/>
              <a:gd name="connsiteY5" fmla="*/ 0 h 5157788"/>
              <a:gd name="connsiteX0" fmla="*/ 1704975 w 3863975"/>
              <a:gd name="connsiteY0" fmla="*/ 0 h 5157788"/>
              <a:gd name="connsiteX1" fmla="*/ 3863975 w 3863975"/>
              <a:gd name="connsiteY1" fmla="*/ 0 h 5157788"/>
              <a:gd name="connsiteX2" fmla="*/ 3863975 w 3863975"/>
              <a:gd name="connsiteY2" fmla="*/ 5157788 h 5157788"/>
              <a:gd name="connsiteX3" fmla="*/ 1704975 w 3863975"/>
              <a:gd name="connsiteY3" fmla="*/ 5157788 h 5157788"/>
              <a:gd name="connsiteX4" fmla="*/ 12700 w 3863975"/>
              <a:gd name="connsiteY4" fmla="*/ 3429000 h 5157788"/>
              <a:gd name="connsiteX5" fmla="*/ 1704975 w 3863975"/>
              <a:gd name="connsiteY5" fmla="*/ 0 h 5157788"/>
              <a:gd name="connsiteX0" fmla="*/ 1707243 w 3866243"/>
              <a:gd name="connsiteY0" fmla="*/ 0 h 5157788"/>
              <a:gd name="connsiteX1" fmla="*/ 3866243 w 3866243"/>
              <a:gd name="connsiteY1" fmla="*/ 0 h 5157788"/>
              <a:gd name="connsiteX2" fmla="*/ 3866243 w 3866243"/>
              <a:gd name="connsiteY2" fmla="*/ 5157788 h 5157788"/>
              <a:gd name="connsiteX3" fmla="*/ 1707243 w 3866243"/>
              <a:gd name="connsiteY3" fmla="*/ 5157788 h 5157788"/>
              <a:gd name="connsiteX4" fmla="*/ 14968 w 3866243"/>
              <a:gd name="connsiteY4" fmla="*/ 3429000 h 5157788"/>
              <a:gd name="connsiteX5" fmla="*/ 1707243 w 3866243"/>
              <a:gd name="connsiteY5" fmla="*/ 0 h 5157788"/>
              <a:gd name="connsiteX0" fmla="*/ 1130447 w 3866243"/>
              <a:gd name="connsiteY0" fmla="*/ 0 h 5157788"/>
              <a:gd name="connsiteX1" fmla="*/ 3866243 w 3866243"/>
              <a:gd name="connsiteY1" fmla="*/ 0 h 5157788"/>
              <a:gd name="connsiteX2" fmla="*/ 3866243 w 3866243"/>
              <a:gd name="connsiteY2" fmla="*/ 5157788 h 5157788"/>
              <a:gd name="connsiteX3" fmla="*/ 1707243 w 3866243"/>
              <a:gd name="connsiteY3" fmla="*/ 5157788 h 5157788"/>
              <a:gd name="connsiteX4" fmla="*/ 14968 w 3866243"/>
              <a:gd name="connsiteY4" fmla="*/ 3429000 h 5157788"/>
              <a:gd name="connsiteX5" fmla="*/ 1130447 w 3866243"/>
              <a:gd name="connsiteY5" fmla="*/ 0 h 5157788"/>
              <a:gd name="connsiteX0" fmla="*/ 2746143 w 5481939"/>
              <a:gd name="connsiteY0" fmla="*/ 0 h 5157788"/>
              <a:gd name="connsiteX1" fmla="*/ 5481939 w 5481939"/>
              <a:gd name="connsiteY1" fmla="*/ 0 h 5157788"/>
              <a:gd name="connsiteX2" fmla="*/ 5481939 w 5481939"/>
              <a:gd name="connsiteY2" fmla="*/ 5157788 h 5157788"/>
              <a:gd name="connsiteX3" fmla="*/ 585903 w 5481939"/>
              <a:gd name="connsiteY3" fmla="*/ 5153180 h 5157788"/>
              <a:gd name="connsiteX4" fmla="*/ 1630664 w 5481939"/>
              <a:gd name="connsiteY4" fmla="*/ 3429000 h 5157788"/>
              <a:gd name="connsiteX5" fmla="*/ 2746143 w 5481939"/>
              <a:gd name="connsiteY5" fmla="*/ 0 h 5157788"/>
              <a:gd name="connsiteX0" fmla="*/ 2746143 w 5481939"/>
              <a:gd name="connsiteY0" fmla="*/ 0 h 5157788"/>
              <a:gd name="connsiteX1" fmla="*/ 5481939 w 5481939"/>
              <a:gd name="connsiteY1" fmla="*/ 0 h 5157788"/>
              <a:gd name="connsiteX2" fmla="*/ 5481939 w 5481939"/>
              <a:gd name="connsiteY2" fmla="*/ 5157788 h 5157788"/>
              <a:gd name="connsiteX3" fmla="*/ 585903 w 5481939"/>
              <a:gd name="connsiteY3" fmla="*/ 5153180 h 5157788"/>
              <a:gd name="connsiteX4" fmla="*/ 1630664 w 5481939"/>
              <a:gd name="connsiteY4" fmla="*/ 3429000 h 5157788"/>
              <a:gd name="connsiteX5" fmla="*/ 2746143 w 548193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3574235 w 6310031"/>
              <a:gd name="connsiteY0" fmla="*/ 0 h 5157788"/>
              <a:gd name="connsiteX1" fmla="*/ 6310031 w 6310031"/>
              <a:gd name="connsiteY1" fmla="*/ 0 h 5157788"/>
              <a:gd name="connsiteX2" fmla="*/ 6310031 w 6310031"/>
              <a:gd name="connsiteY2" fmla="*/ 5157788 h 5157788"/>
              <a:gd name="connsiteX3" fmla="*/ 585903 w 6310031"/>
              <a:gd name="connsiteY3" fmla="*/ 5153180 h 5157788"/>
              <a:gd name="connsiteX4" fmla="*/ 1738031 w 6310031"/>
              <a:gd name="connsiteY4" fmla="*/ 3389965 h 5157788"/>
              <a:gd name="connsiteX5" fmla="*/ 3574235 w 6310031"/>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296143 w 5724128"/>
              <a:gd name="connsiteY4" fmla="*/ 3461908 h 5157788"/>
              <a:gd name="connsiteX5" fmla="*/ 2988332 w 5724128"/>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1188132 w 5760132"/>
              <a:gd name="connsiteY4" fmla="*/ 3425937 h 5157788"/>
              <a:gd name="connsiteX5" fmla="*/ 3024336 w 5760132"/>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2736304 w 5760132"/>
              <a:gd name="connsiteY4" fmla="*/ 3461908 h 5157788"/>
              <a:gd name="connsiteX5" fmla="*/ 3024336 w 5760132"/>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2736304 w 5760132"/>
              <a:gd name="connsiteY4" fmla="*/ 3461908 h 5157788"/>
              <a:gd name="connsiteX5" fmla="*/ 3024336 w 5760132"/>
              <a:gd name="connsiteY5" fmla="*/ 0 h 5157788"/>
              <a:gd name="connsiteX0" fmla="*/ 2160240 w 4896036"/>
              <a:gd name="connsiteY0" fmla="*/ 0 h 5157788"/>
              <a:gd name="connsiteX1" fmla="*/ 4896036 w 4896036"/>
              <a:gd name="connsiteY1" fmla="*/ 0 h 5157788"/>
              <a:gd name="connsiteX2" fmla="*/ 4896036 w 4896036"/>
              <a:gd name="connsiteY2" fmla="*/ 5157788 h 5157788"/>
              <a:gd name="connsiteX3" fmla="*/ 0 w 4896036"/>
              <a:gd name="connsiteY3" fmla="*/ 5153180 h 5157788"/>
              <a:gd name="connsiteX4" fmla="*/ 1872208 w 4896036"/>
              <a:gd name="connsiteY4" fmla="*/ 3461908 h 5157788"/>
              <a:gd name="connsiteX5" fmla="*/ 2160240 w 4896036"/>
              <a:gd name="connsiteY5" fmla="*/ 0 h 5157788"/>
              <a:gd name="connsiteX0" fmla="*/ 2232248 w 4968044"/>
              <a:gd name="connsiteY0" fmla="*/ 0 h 5157788"/>
              <a:gd name="connsiteX1" fmla="*/ 4968044 w 4968044"/>
              <a:gd name="connsiteY1" fmla="*/ 0 h 5157788"/>
              <a:gd name="connsiteX2" fmla="*/ 4968044 w 4968044"/>
              <a:gd name="connsiteY2" fmla="*/ 5157788 h 5157788"/>
              <a:gd name="connsiteX3" fmla="*/ 0 w 4968044"/>
              <a:gd name="connsiteY3" fmla="*/ 5153180 h 5157788"/>
              <a:gd name="connsiteX4" fmla="*/ 1944216 w 4968044"/>
              <a:gd name="connsiteY4" fmla="*/ 3461908 h 5157788"/>
              <a:gd name="connsiteX5" fmla="*/ 2232248 w 4968044"/>
              <a:gd name="connsiteY5" fmla="*/ 0 h 5157788"/>
              <a:gd name="connsiteX0" fmla="*/ 2207679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207679 w 4943475"/>
              <a:gd name="connsiteY5" fmla="*/ 0 h 5157788"/>
              <a:gd name="connsiteX0" fmla="*/ 2963763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963763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092200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71575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343583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675731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675731 w 4943475"/>
              <a:gd name="connsiteY5" fmla="*/ 0 h 5157788"/>
              <a:gd name="connsiteX0" fmla="*/ 2675731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675731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9672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19672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51412" h="5157788">
                <a:moveTo>
                  <a:pt x="2706687" y="0"/>
                </a:moveTo>
                <a:lnTo>
                  <a:pt x="4951412" y="0"/>
                </a:lnTo>
                <a:lnTo>
                  <a:pt x="4951412" y="5157788"/>
                </a:lnTo>
                <a:lnTo>
                  <a:pt x="0" y="5153180"/>
                </a:lnTo>
                <a:cubicBezTo>
                  <a:pt x="84411" y="4542509"/>
                  <a:pt x="183041" y="4024723"/>
                  <a:pt x="1243508" y="2562613"/>
                </a:cubicBezTo>
                <a:cubicBezTo>
                  <a:pt x="1867447" y="1704780"/>
                  <a:pt x="2665955" y="709265"/>
                  <a:pt x="2706687" y="0"/>
                </a:cubicBezTo>
                <a:close/>
              </a:path>
            </a:pathLst>
          </a:custGeom>
          <a:solidFill>
            <a:schemeClr val="bg2"/>
          </a:solidFill>
          <a:ln w="3175">
            <a:noFill/>
          </a:ln>
        </p:spPr>
        <p:txBody>
          <a:bodyPr tIns="720000" rtlCol="0" anchor="ctr">
            <a:noAutofit/>
          </a:bodyPr>
          <a:lstStyle>
            <a:lvl1pPr algn="ctr">
              <a:defRPr sz="1500">
                <a:solidFill>
                  <a:schemeClr val="bg1"/>
                </a:solidFill>
              </a:defRPr>
            </a:lvl1pPr>
          </a:lstStyle>
          <a:p>
            <a:pPr lvl="0"/>
            <a:r>
              <a:rPr lang="en-US" noProof="0"/>
              <a:t>Click icon to add picture</a:t>
            </a:r>
          </a:p>
        </p:txBody>
      </p:sp>
      <p:sp>
        <p:nvSpPr>
          <p:cNvPr id="14" name="Espace réservé de la date 9"/>
          <p:cNvSpPr>
            <a:spLocks noGrp="1"/>
          </p:cNvSpPr>
          <p:nvPr>
            <p:ph type="dt" sz="half" idx="21"/>
          </p:nvPr>
        </p:nvSpPr>
        <p:spPr/>
        <p:txBody>
          <a:bodyPr/>
          <a:lstStyle>
            <a:lvl1pPr>
              <a:defRPr/>
            </a:lvl1pPr>
          </a:lstStyle>
          <a:p>
            <a:pPr>
              <a:defRPr/>
            </a:pPr>
            <a:r>
              <a:rPr lang="en-US">
                <a:solidFill>
                  <a:prstClr val="white">
                    <a:alpha val="0"/>
                  </a:prstClr>
                </a:solidFill>
              </a:rPr>
              <a:t>Date</a:t>
            </a:r>
          </a:p>
        </p:txBody>
      </p:sp>
      <p:sp>
        <p:nvSpPr>
          <p:cNvPr id="16" name="Espace réservé du numéro de diapositive 10"/>
          <p:cNvSpPr>
            <a:spLocks noGrp="1"/>
          </p:cNvSpPr>
          <p:nvPr>
            <p:ph type="sldNum" sz="quarter" idx="22"/>
          </p:nvPr>
        </p:nvSpPr>
        <p:spPr/>
        <p:txBody>
          <a:bodyPr/>
          <a:lstStyle>
            <a:lvl1pPr>
              <a:defRPr sz="100">
                <a:solidFill>
                  <a:schemeClr val="bg1">
                    <a:alpha val="0"/>
                  </a:schemeClr>
                </a:solidFill>
              </a:defRPr>
            </a:lvl1pPr>
          </a:lstStyle>
          <a:p>
            <a:pPr>
              <a:defRPr/>
            </a:pPr>
            <a:r>
              <a:rPr lang="en-US">
                <a:solidFill>
                  <a:prstClr val="white">
                    <a:alpha val="0"/>
                  </a:prstClr>
                </a:solidFill>
              </a:rPr>
              <a:t>Page: </a:t>
            </a:r>
            <a:fld id="{FBC781E1-DB0D-44EA-942B-52789A2EA6EC}" type="slidenum">
              <a:rPr lang="en-US">
                <a:solidFill>
                  <a:prstClr val="white">
                    <a:alpha val="0"/>
                  </a:prstClr>
                </a:solidFill>
              </a:rPr>
              <a:pPr>
                <a:defRPr/>
              </a:pPr>
              <a:t>‹#›</a:t>
            </a:fld>
            <a:endParaRPr lang="en-US">
              <a:solidFill>
                <a:prstClr val="white">
                  <a:alpha val="0"/>
                </a:prstClr>
              </a:solidFill>
            </a:endParaRPr>
          </a:p>
        </p:txBody>
      </p:sp>
      <p:sp>
        <p:nvSpPr>
          <p:cNvPr id="18" name="Espace réservé du pied de page 11"/>
          <p:cNvSpPr>
            <a:spLocks noGrp="1"/>
          </p:cNvSpPr>
          <p:nvPr>
            <p:ph type="ftr" sz="quarter" idx="23"/>
          </p:nvPr>
        </p:nvSpPr>
        <p:spPr>
          <a:xfrm>
            <a:off x="468313" y="523875"/>
            <a:ext cx="4824412" cy="360363"/>
          </a:xfrm>
        </p:spPr>
        <p:txBody>
          <a:bodyPr/>
          <a:lstStyle>
            <a:lvl1pPr algn="l">
              <a:defRPr sz="1800" b="0">
                <a:solidFill>
                  <a:schemeClr val="bg1"/>
                </a:solidFill>
              </a:defRPr>
            </a:lvl1pPr>
          </a:lstStyle>
          <a:p>
            <a:pPr>
              <a:defRPr/>
            </a:pPr>
            <a:r>
              <a:rPr lang="en-US">
                <a:solidFill>
                  <a:prstClr val="white"/>
                </a:solidFill>
              </a:rPr>
              <a:t>#</a:t>
            </a:r>
            <a:r>
              <a:rPr lang="en-US" err="1">
                <a:solidFill>
                  <a:prstClr val="white"/>
                </a:solidFill>
              </a:rPr>
              <a:t>vaccineswork</a:t>
            </a:r>
            <a:endParaRPr lang="en-US">
              <a:solidFill>
                <a:prstClr val="white"/>
              </a:solidFill>
            </a:endParaRPr>
          </a:p>
          <a:p>
            <a:pPr>
              <a:defRPr/>
            </a:pPr>
            <a:endParaRPr lang="en-US">
              <a:solidFill>
                <a:prstClr val="white"/>
              </a:solidFill>
            </a:endParaRPr>
          </a:p>
        </p:txBody>
      </p:sp>
    </p:spTree>
    <p:extLst>
      <p:ext uri="{BB962C8B-B14F-4D97-AF65-F5344CB8AC3E}">
        <p14:creationId xmlns:p14="http://schemas.microsoft.com/office/powerpoint/2010/main" val="284600767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Cover_Picture_2">
    <p:spTree>
      <p:nvGrpSpPr>
        <p:cNvPr id="1" name=""/>
        <p:cNvGrpSpPr/>
        <p:nvPr/>
      </p:nvGrpSpPr>
      <p:grpSpPr>
        <a:xfrm>
          <a:off x="0" y="0"/>
          <a:ext cx="0" cy="0"/>
          <a:chOff x="0" y="0"/>
          <a:chExt cx="0" cy="0"/>
        </a:xfrm>
      </p:grpSpPr>
      <p:pic>
        <p:nvPicPr>
          <p:cNvPr id="7" name="Image 20" descr="FD_1_L254.png"/>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gray">
          <a:xfrm>
            <a:off x="0" y="0"/>
            <a:ext cx="9144000" cy="51577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0" name="Rectangle 9"/>
          <p:cNvSpPr/>
          <p:nvPr userDrawn="1"/>
        </p:nvSpPr>
        <p:spPr bwMode="gray">
          <a:xfrm>
            <a:off x="3635375" y="5265738"/>
            <a:ext cx="5508625" cy="15922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prstClr val="white"/>
              </a:solidFill>
            </a:endParaRPr>
          </a:p>
        </p:txBody>
      </p:sp>
      <p:pic>
        <p:nvPicPr>
          <p:cNvPr id="11" name="Image 19" descr="Bas_couv.png"/>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gray">
          <a:xfrm>
            <a:off x="0" y="5172075"/>
            <a:ext cx="3635375" cy="16859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2" name="Rectangle 11"/>
          <p:cNvSpPr/>
          <p:nvPr userDrawn="1"/>
        </p:nvSpPr>
        <p:spPr bwMode="gray">
          <a:xfrm>
            <a:off x="3635375" y="6354763"/>
            <a:ext cx="5113338" cy="2873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p>
            <a:pPr algn="r">
              <a:defRPr/>
            </a:pPr>
            <a:r>
              <a:rPr lang="en-US" sz="1000" err="1">
                <a:solidFill>
                  <a:srgbClr val="95D600"/>
                </a:solidFill>
              </a:rPr>
              <a:t>www.gavi.org</a:t>
            </a:r>
            <a:endParaRPr lang="en-US" sz="1000">
              <a:solidFill>
                <a:srgbClr val="95D600"/>
              </a:solidFill>
            </a:endParaRPr>
          </a:p>
        </p:txBody>
      </p:sp>
      <p:cxnSp>
        <p:nvCxnSpPr>
          <p:cNvPr id="13" name="Connecteur droit 13"/>
          <p:cNvCxnSpPr/>
          <p:nvPr userDrawn="1"/>
        </p:nvCxnSpPr>
        <p:spPr bwMode="gray">
          <a:xfrm flipH="1">
            <a:off x="468313" y="3402013"/>
            <a:ext cx="2447925" cy="0"/>
          </a:xfrm>
          <a:prstGeom prst="line">
            <a:avLst/>
          </a:prstGeom>
          <a:ln w="24130">
            <a:solidFill>
              <a:schemeClr val="accent1"/>
            </a:solidFill>
          </a:ln>
        </p:spPr>
        <p:style>
          <a:lnRef idx="1">
            <a:schemeClr val="accent1"/>
          </a:lnRef>
          <a:fillRef idx="0">
            <a:schemeClr val="accent1"/>
          </a:fillRef>
          <a:effectRef idx="0">
            <a:schemeClr val="accent1"/>
          </a:effectRef>
          <a:fontRef idx="minor">
            <a:schemeClr val="tx1"/>
          </a:fontRef>
        </p:style>
      </p:cxnSp>
      <p:sp>
        <p:nvSpPr>
          <p:cNvPr id="9" name="Espace réservé du texte 8"/>
          <p:cNvSpPr>
            <a:spLocks noGrp="1"/>
          </p:cNvSpPr>
          <p:nvPr>
            <p:ph type="body" sz="quarter" idx="13"/>
          </p:nvPr>
        </p:nvSpPr>
        <p:spPr bwMode="gray">
          <a:xfrm>
            <a:off x="468000" y="1036800"/>
            <a:ext cx="4824412" cy="2232000"/>
          </a:xfrm>
        </p:spPr>
        <p:txBody>
          <a:bodyPr anchor="b"/>
          <a:lstStyle>
            <a:lvl1pPr marL="0" indent="0" algn="l">
              <a:lnSpc>
                <a:spcPct val="90000"/>
              </a:lnSpc>
              <a:buNone/>
              <a:defRPr sz="2800" b="1" cap="none" baseline="0">
                <a:solidFill>
                  <a:schemeClr val="bg1"/>
                </a:solidFill>
              </a:defRPr>
            </a:lvl1pPr>
            <a:lvl2pPr marL="0" algn="ctr">
              <a:lnSpc>
                <a:spcPct val="100000"/>
              </a:lnSpc>
              <a:spcBef>
                <a:spcPts val="6900"/>
              </a:spcBef>
              <a:defRPr sz="2000" b="1">
                <a:solidFill>
                  <a:schemeClr val="bg1"/>
                </a:solidFill>
              </a:defRPr>
            </a:lvl2pPr>
          </a:lstStyle>
          <a:p>
            <a:pPr lvl="0"/>
            <a:r>
              <a:rPr lang="en-US" noProof="0"/>
              <a:t>Click to edit Master text styles</a:t>
            </a:r>
          </a:p>
        </p:txBody>
      </p:sp>
      <p:sp>
        <p:nvSpPr>
          <p:cNvPr id="8" name="Espace réservé du texte 8"/>
          <p:cNvSpPr>
            <a:spLocks noGrp="1"/>
          </p:cNvSpPr>
          <p:nvPr>
            <p:ph type="body" sz="quarter" idx="14"/>
          </p:nvPr>
        </p:nvSpPr>
        <p:spPr bwMode="gray">
          <a:xfrm>
            <a:off x="468314" y="3585600"/>
            <a:ext cx="3592800" cy="1479600"/>
          </a:xfrm>
        </p:spPr>
        <p:txBody>
          <a:bodyPr/>
          <a:lstStyle>
            <a:lvl1pPr marL="0" indent="0" algn="l">
              <a:lnSpc>
                <a:spcPct val="90000"/>
              </a:lnSpc>
              <a:buNone/>
              <a:defRPr sz="2000" b="0" baseline="0">
                <a:solidFill>
                  <a:schemeClr val="bg1"/>
                </a:solidFill>
              </a:defRPr>
            </a:lvl1pPr>
            <a:lvl2pPr marL="0" algn="ctr">
              <a:lnSpc>
                <a:spcPct val="100000"/>
              </a:lnSpc>
              <a:spcBef>
                <a:spcPts val="6900"/>
              </a:spcBef>
              <a:defRPr sz="2000" b="1">
                <a:solidFill>
                  <a:schemeClr val="bg1"/>
                </a:solidFill>
              </a:defRPr>
            </a:lvl2pPr>
          </a:lstStyle>
          <a:p>
            <a:pPr lvl="0"/>
            <a:r>
              <a:rPr lang="en-US" noProof="0"/>
              <a:t>Click to edit Master text styles</a:t>
            </a:r>
          </a:p>
        </p:txBody>
      </p:sp>
      <p:sp>
        <p:nvSpPr>
          <p:cNvPr id="15" name="Espace réservé du texte 14"/>
          <p:cNvSpPr>
            <a:spLocks noGrp="1"/>
          </p:cNvSpPr>
          <p:nvPr>
            <p:ph type="body" sz="quarter" idx="19"/>
          </p:nvPr>
        </p:nvSpPr>
        <p:spPr bwMode="gray">
          <a:xfrm>
            <a:off x="3635376" y="6021388"/>
            <a:ext cx="5113338" cy="324000"/>
          </a:xfrm>
        </p:spPr>
        <p:txBody>
          <a:bodyPr anchor="b"/>
          <a:lstStyle>
            <a:lvl1pPr algn="r">
              <a:lnSpc>
                <a:spcPct val="100000"/>
              </a:lnSpc>
              <a:defRPr sz="1000" b="1">
                <a:solidFill>
                  <a:schemeClr val="accent3"/>
                </a:solidFill>
              </a:defRPr>
            </a:lvl1pPr>
          </a:lstStyle>
          <a:p>
            <a:pPr lvl="0"/>
            <a:r>
              <a:rPr lang="en-US" noProof="0"/>
              <a:t>Click to edit Master text styles</a:t>
            </a:r>
          </a:p>
        </p:txBody>
      </p:sp>
      <p:sp>
        <p:nvSpPr>
          <p:cNvPr id="17" name="Espace réservé du texte 16"/>
          <p:cNvSpPr>
            <a:spLocks noGrp="1"/>
          </p:cNvSpPr>
          <p:nvPr>
            <p:ph type="body" sz="quarter" idx="20"/>
          </p:nvPr>
        </p:nvSpPr>
        <p:spPr bwMode="gray">
          <a:xfrm>
            <a:off x="0" y="5157788"/>
            <a:ext cx="9144000" cy="287337"/>
          </a:xfrm>
          <a:solidFill>
            <a:schemeClr val="bg1"/>
          </a:solidFill>
        </p:spPr>
        <p:txBody>
          <a:bodyPr/>
          <a:lstStyle>
            <a:lvl1pPr>
              <a:defRPr sz="100" b="0">
                <a:solidFill>
                  <a:schemeClr val="bg1">
                    <a:alpha val="0"/>
                  </a:schemeClr>
                </a:solidFill>
              </a:defRPr>
            </a:lvl1pPr>
          </a:lstStyle>
          <a:p>
            <a:pPr lvl="0"/>
            <a:r>
              <a:rPr lang="en-US" noProof="0"/>
              <a:t>Click to edit Master text styles</a:t>
            </a:r>
          </a:p>
        </p:txBody>
      </p:sp>
      <p:sp>
        <p:nvSpPr>
          <p:cNvPr id="18" name="Espace réservé pour une image  17"/>
          <p:cNvSpPr>
            <a:spLocks noGrp="1"/>
          </p:cNvSpPr>
          <p:nvPr>
            <p:ph type="pic" sz="quarter" idx="18"/>
          </p:nvPr>
        </p:nvSpPr>
        <p:spPr bwMode="gray">
          <a:xfrm>
            <a:off x="4192588" y="0"/>
            <a:ext cx="4951412" cy="5162400"/>
          </a:xfrm>
          <a:custGeom>
            <a:avLst/>
            <a:gdLst>
              <a:gd name="connsiteX0" fmla="*/ 0 w 3851275"/>
              <a:gd name="connsiteY0" fmla="*/ 0 h 5157788"/>
              <a:gd name="connsiteX1" fmla="*/ 3851275 w 3851275"/>
              <a:gd name="connsiteY1" fmla="*/ 0 h 5157788"/>
              <a:gd name="connsiteX2" fmla="*/ 3851275 w 3851275"/>
              <a:gd name="connsiteY2" fmla="*/ 5157788 h 5157788"/>
              <a:gd name="connsiteX3" fmla="*/ 0 w 3851275"/>
              <a:gd name="connsiteY3" fmla="*/ 5157788 h 5157788"/>
              <a:gd name="connsiteX4" fmla="*/ 0 w 3851275"/>
              <a:gd name="connsiteY4"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0 w 3851275"/>
              <a:gd name="connsiteY3" fmla="*/ 5157788 h 5157788"/>
              <a:gd name="connsiteX4" fmla="*/ 1692275 w 3851275"/>
              <a:gd name="connsiteY4" fmla="*/ 0 h 5157788"/>
              <a:gd name="connsiteX0" fmla="*/ 0 w 2159000"/>
              <a:gd name="connsiteY0" fmla="*/ 0 h 5157788"/>
              <a:gd name="connsiteX1" fmla="*/ 2159000 w 2159000"/>
              <a:gd name="connsiteY1" fmla="*/ 0 h 5157788"/>
              <a:gd name="connsiteX2" fmla="*/ 2159000 w 2159000"/>
              <a:gd name="connsiteY2" fmla="*/ 5157788 h 5157788"/>
              <a:gd name="connsiteX3" fmla="*/ 0 w 2159000"/>
              <a:gd name="connsiteY3" fmla="*/ 5157788 h 5157788"/>
              <a:gd name="connsiteX4" fmla="*/ 0 w 2159000"/>
              <a:gd name="connsiteY4" fmla="*/ 0 h 5157788"/>
              <a:gd name="connsiteX0" fmla="*/ 2625271 w 4784271"/>
              <a:gd name="connsiteY0" fmla="*/ 0 h 5157788"/>
              <a:gd name="connsiteX1" fmla="*/ 4784271 w 4784271"/>
              <a:gd name="connsiteY1" fmla="*/ 0 h 5157788"/>
              <a:gd name="connsiteX2" fmla="*/ 4784271 w 4784271"/>
              <a:gd name="connsiteY2" fmla="*/ 5157788 h 5157788"/>
              <a:gd name="connsiteX3" fmla="*/ 2625271 w 4784271"/>
              <a:gd name="connsiteY3" fmla="*/ 5157788 h 5157788"/>
              <a:gd name="connsiteX4" fmla="*/ 2625271 w 4784271"/>
              <a:gd name="connsiteY4" fmla="*/ 0 h 5157788"/>
              <a:gd name="connsiteX0" fmla="*/ 2625271 w 4784271"/>
              <a:gd name="connsiteY0" fmla="*/ 0 h 5157788"/>
              <a:gd name="connsiteX1" fmla="*/ 4784271 w 4784271"/>
              <a:gd name="connsiteY1" fmla="*/ 0 h 5157788"/>
              <a:gd name="connsiteX2" fmla="*/ 4784271 w 4784271"/>
              <a:gd name="connsiteY2" fmla="*/ 5157788 h 5157788"/>
              <a:gd name="connsiteX3" fmla="*/ 2625271 w 4784271"/>
              <a:gd name="connsiteY3" fmla="*/ 5157788 h 5157788"/>
              <a:gd name="connsiteX4" fmla="*/ 2625271 w 4784271"/>
              <a:gd name="connsiteY4" fmla="*/ 0 h 5157788"/>
              <a:gd name="connsiteX0" fmla="*/ 3568576 w 5727576"/>
              <a:gd name="connsiteY0" fmla="*/ 0 h 5157788"/>
              <a:gd name="connsiteX1" fmla="*/ 5727576 w 5727576"/>
              <a:gd name="connsiteY1" fmla="*/ 0 h 5157788"/>
              <a:gd name="connsiteX2" fmla="*/ 5727576 w 5727576"/>
              <a:gd name="connsiteY2" fmla="*/ 5157788 h 5157788"/>
              <a:gd name="connsiteX3" fmla="*/ 3568576 w 5727576"/>
              <a:gd name="connsiteY3" fmla="*/ 5157788 h 5157788"/>
              <a:gd name="connsiteX4" fmla="*/ 3568576 w 5727576"/>
              <a:gd name="connsiteY4" fmla="*/ 0 h 5157788"/>
              <a:gd name="connsiteX0" fmla="*/ 3306355 w 5465355"/>
              <a:gd name="connsiteY0" fmla="*/ 0 h 5157788"/>
              <a:gd name="connsiteX1" fmla="*/ 5465355 w 5465355"/>
              <a:gd name="connsiteY1" fmla="*/ 0 h 5157788"/>
              <a:gd name="connsiteX2" fmla="*/ 5465355 w 5465355"/>
              <a:gd name="connsiteY2" fmla="*/ 5157788 h 5157788"/>
              <a:gd name="connsiteX3" fmla="*/ 3306355 w 5465355"/>
              <a:gd name="connsiteY3" fmla="*/ 5157788 h 5157788"/>
              <a:gd name="connsiteX4" fmla="*/ 3306355 w 5465355"/>
              <a:gd name="connsiteY4" fmla="*/ 0 h 5157788"/>
              <a:gd name="connsiteX0" fmla="*/ 1416957 w 3575957"/>
              <a:gd name="connsiteY0" fmla="*/ 0 h 5157788"/>
              <a:gd name="connsiteX1" fmla="*/ 3575957 w 3575957"/>
              <a:gd name="connsiteY1" fmla="*/ 0 h 5157788"/>
              <a:gd name="connsiteX2" fmla="*/ 3575957 w 3575957"/>
              <a:gd name="connsiteY2" fmla="*/ 5157788 h 5157788"/>
              <a:gd name="connsiteX3" fmla="*/ 1416957 w 3575957"/>
              <a:gd name="connsiteY3" fmla="*/ 5157788 h 5157788"/>
              <a:gd name="connsiteX4" fmla="*/ 0 w 3575957"/>
              <a:gd name="connsiteY4" fmla="*/ 3339193 h 5157788"/>
              <a:gd name="connsiteX5" fmla="*/ 1416957 w 3575957"/>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6017419"/>
              <a:gd name="connsiteX1" fmla="*/ 3851275 w 3851275"/>
              <a:gd name="connsiteY1" fmla="*/ 0 h 6017419"/>
              <a:gd name="connsiteX2" fmla="*/ 3851275 w 3851275"/>
              <a:gd name="connsiteY2" fmla="*/ 5157788 h 6017419"/>
              <a:gd name="connsiteX3" fmla="*/ 1692275 w 3851275"/>
              <a:gd name="connsiteY3" fmla="*/ 5157788 h 6017419"/>
              <a:gd name="connsiteX4" fmla="*/ 0 w 3851275"/>
              <a:gd name="connsiteY4" fmla="*/ 3284984 h 6017419"/>
              <a:gd name="connsiteX5" fmla="*/ 1692275 w 3851275"/>
              <a:gd name="connsiteY5" fmla="*/ 0 h 6017419"/>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429000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429000 h 5157788"/>
              <a:gd name="connsiteX5" fmla="*/ 1710871 w 3869871"/>
              <a:gd name="connsiteY5" fmla="*/ 0 h 5157788"/>
              <a:gd name="connsiteX0" fmla="*/ 1704975 w 3863975"/>
              <a:gd name="connsiteY0" fmla="*/ 0 h 5157788"/>
              <a:gd name="connsiteX1" fmla="*/ 3863975 w 3863975"/>
              <a:gd name="connsiteY1" fmla="*/ 0 h 5157788"/>
              <a:gd name="connsiteX2" fmla="*/ 3863975 w 3863975"/>
              <a:gd name="connsiteY2" fmla="*/ 5157788 h 5157788"/>
              <a:gd name="connsiteX3" fmla="*/ 1704975 w 3863975"/>
              <a:gd name="connsiteY3" fmla="*/ 5157788 h 5157788"/>
              <a:gd name="connsiteX4" fmla="*/ 12700 w 3863975"/>
              <a:gd name="connsiteY4" fmla="*/ 3429000 h 5157788"/>
              <a:gd name="connsiteX5" fmla="*/ 1704975 w 3863975"/>
              <a:gd name="connsiteY5" fmla="*/ 0 h 5157788"/>
              <a:gd name="connsiteX0" fmla="*/ 1707243 w 3866243"/>
              <a:gd name="connsiteY0" fmla="*/ 0 h 5157788"/>
              <a:gd name="connsiteX1" fmla="*/ 3866243 w 3866243"/>
              <a:gd name="connsiteY1" fmla="*/ 0 h 5157788"/>
              <a:gd name="connsiteX2" fmla="*/ 3866243 w 3866243"/>
              <a:gd name="connsiteY2" fmla="*/ 5157788 h 5157788"/>
              <a:gd name="connsiteX3" fmla="*/ 1707243 w 3866243"/>
              <a:gd name="connsiteY3" fmla="*/ 5157788 h 5157788"/>
              <a:gd name="connsiteX4" fmla="*/ 14968 w 3866243"/>
              <a:gd name="connsiteY4" fmla="*/ 3429000 h 5157788"/>
              <a:gd name="connsiteX5" fmla="*/ 1707243 w 3866243"/>
              <a:gd name="connsiteY5" fmla="*/ 0 h 5157788"/>
              <a:gd name="connsiteX0" fmla="*/ 1130447 w 3866243"/>
              <a:gd name="connsiteY0" fmla="*/ 0 h 5157788"/>
              <a:gd name="connsiteX1" fmla="*/ 3866243 w 3866243"/>
              <a:gd name="connsiteY1" fmla="*/ 0 h 5157788"/>
              <a:gd name="connsiteX2" fmla="*/ 3866243 w 3866243"/>
              <a:gd name="connsiteY2" fmla="*/ 5157788 h 5157788"/>
              <a:gd name="connsiteX3" fmla="*/ 1707243 w 3866243"/>
              <a:gd name="connsiteY3" fmla="*/ 5157788 h 5157788"/>
              <a:gd name="connsiteX4" fmla="*/ 14968 w 3866243"/>
              <a:gd name="connsiteY4" fmla="*/ 3429000 h 5157788"/>
              <a:gd name="connsiteX5" fmla="*/ 1130447 w 3866243"/>
              <a:gd name="connsiteY5" fmla="*/ 0 h 5157788"/>
              <a:gd name="connsiteX0" fmla="*/ 2746143 w 5481939"/>
              <a:gd name="connsiteY0" fmla="*/ 0 h 5157788"/>
              <a:gd name="connsiteX1" fmla="*/ 5481939 w 5481939"/>
              <a:gd name="connsiteY1" fmla="*/ 0 h 5157788"/>
              <a:gd name="connsiteX2" fmla="*/ 5481939 w 5481939"/>
              <a:gd name="connsiteY2" fmla="*/ 5157788 h 5157788"/>
              <a:gd name="connsiteX3" fmla="*/ 585903 w 5481939"/>
              <a:gd name="connsiteY3" fmla="*/ 5153180 h 5157788"/>
              <a:gd name="connsiteX4" fmla="*/ 1630664 w 5481939"/>
              <a:gd name="connsiteY4" fmla="*/ 3429000 h 5157788"/>
              <a:gd name="connsiteX5" fmla="*/ 2746143 w 5481939"/>
              <a:gd name="connsiteY5" fmla="*/ 0 h 5157788"/>
              <a:gd name="connsiteX0" fmla="*/ 2746143 w 5481939"/>
              <a:gd name="connsiteY0" fmla="*/ 0 h 5157788"/>
              <a:gd name="connsiteX1" fmla="*/ 5481939 w 5481939"/>
              <a:gd name="connsiteY1" fmla="*/ 0 h 5157788"/>
              <a:gd name="connsiteX2" fmla="*/ 5481939 w 5481939"/>
              <a:gd name="connsiteY2" fmla="*/ 5157788 h 5157788"/>
              <a:gd name="connsiteX3" fmla="*/ 585903 w 5481939"/>
              <a:gd name="connsiteY3" fmla="*/ 5153180 h 5157788"/>
              <a:gd name="connsiteX4" fmla="*/ 1630664 w 5481939"/>
              <a:gd name="connsiteY4" fmla="*/ 3429000 h 5157788"/>
              <a:gd name="connsiteX5" fmla="*/ 2746143 w 548193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3574235 w 6310031"/>
              <a:gd name="connsiteY0" fmla="*/ 0 h 5157788"/>
              <a:gd name="connsiteX1" fmla="*/ 6310031 w 6310031"/>
              <a:gd name="connsiteY1" fmla="*/ 0 h 5157788"/>
              <a:gd name="connsiteX2" fmla="*/ 6310031 w 6310031"/>
              <a:gd name="connsiteY2" fmla="*/ 5157788 h 5157788"/>
              <a:gd name="connsiteX3" fmla="*/ 585903 w 6310031"/>
              <a:gd name="connsiteY3" fmla="*/ 5153180 h 5157788"/>
              <a:gd name="connsiteX4" fmla="*/ 1738031 w 6310031"/>
              <a:gd name="connsiteY4" fmla="*/ 3389965 h 5157788"/>
              <a:gd name="connsiteX5" fmla="*/ 3574235 w 6310031"/>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296143 w 5724128"/>
              <a:gd name="connsiteY4" fmla="*/ 3461908 h 5157788"/>
              <a:gd name="connsiteX5" fmla="*/ 2988332 w 5724128"/>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1188132 w 5760132"/>
              <a:gd name="connsiteY4" fmla="*/ 3425937 h 5157788"/>
              <a:gd name="connsiteX5" fmla="*/ 3024336 w 5760132"/>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2736304 w 5760132"/>
              <a:gd name="connsiteY4" fmla="*/ 3461908 h 5157788"/>
              <a:gd name="connsiteX5" fmla="*/ 3024336 w 5760132"/>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2736304 w 5760132"/>
              <a:gd name="connsiteY4" fmla="*/ 3461908 h 5157788"/>
              <a:gd name="connsiteX5" fmla="*/ 3024336 w 5760132"/>
              <a:gd name="connsiteY5" fmla="*/ 0 h 5157788"/>
              <a:gd name="connsiteX0" fmla="*/ 2160240 w 4896036"/>
              <a:gd name="connsiteY0" fmla="*/ 0 h 5157788"/>
              <a:gd name="connsiteX1" fmla="*/ 4896036 w 4896036"/>
              <a:gd name="connsiteY1" fmla="*/ 0 h 5157788"/>
              <a:gd name="connsiteX2" fmla="*/ 4896036 w 4896036"/>
              <a:gd name="connsiteY2" fmla="*/ 5157788 h 5157788"/>
              <a:gd name="connsiteX3" fmla="*/ 0 w 4896036"/>
              <a:gd name="connsiteY3" fmla="*/ 5153180 h 5157788"/>
              <a:gd name="connsiteX4" fmla="*/ 1872208 w 4896036"/>
              <a:gd name="connsiteY4" fmla="*/ 3461908 h 5157788"/>
              <a:gd name="connsiteX5" fmla="*/ 2160240 w 4896036"/>
              <a:gd name="connsiteY5" fmla="*/ 0 h 5157788"/>
              <a:gd name="connsiteX0" fmla="*/ 2232248 w 4968044"/>
              <a:gd name="connsiteY0" fmla="*/ 0 h 5157788"/>
              <a:gd name="connsiteX1" fmla="*/ 4968044 w 4968044"/>
              <a:gd name="connsiteY1" fmla="*/ 0 h 5157788"/>
              <a:gd name="connsiteX2" fmla="*/ 4968044 w 4968044"/>
              <a:gd name="connsiteY2" fmla="*/ 5157788 h 5157788"/>
              <a:gd name="connsiteX3" fmla="*/ 0 w 4968044"/>
              <a:gd name="connsiteY3" fmla="*/ 5153180 h 5157788"/>
              <a:gd name="connsiteX4" fmla="*/ 1944216 w 4968044"/>
              <a:gd name="connsiteY4" fmla="*/ 3461908 h 5157788"/>
              <a:gd name="connsiteX5" fmla="*/ 2232248 w 4968044"/>
              <a:gd name="connsiteY5" fmla="*/ 0 h 5157788"/>
              <a:gd name="connsiteX0" fmla="*/ 2207679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207679 w 4943475"/>
              <a:gd name="connsiteY5" fmla="*/ 0 h 5157788"/>
              <a:gd name="connsiteX0" fmla="*/ 2963763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963763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092200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71575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343583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675731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675731 w 4943475"/>
              <a:gd name="connsiteY5" fmla="*/ 0 h 5157788"/>
              <a:gd name="connsiteX0" fmla="*/ 2675731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675731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9672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19672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51412" h="5157788">
                <a:moveTo>
                  <a:pt x="2706687" y="0"/>
                </a:moveTo>
                <a:lnTo>
                  <a:pt x="4951412" y="0"/>
                </a:lnTo>
                <a:lnTo>
                  <a:pt x="4951412" y="5157788"/>
                </a:lnTo>
                <a:lnTo>
                  <a:pt x="0" y="5153180"/>
                </a:lnTo>
                <a:cubicBezTo>
                  <a:pt x="84411" y="4542509"/>
                  <a:pt x="183041" y="4024723"/>
                  <a:pt x="1243508" y="2562613"/>
                </a:cubicBezTo>
                <a:cubicBezTo>
                  <a:pt x="1867447" y="1704780"/>
                  <a:pt x="2665955" y="709265"/>
                  <a:pt x="2706687" y="0"/>
                </a:cubicBezTo>
                <a:close/>
              </a:path>
            </a:pathLst>
          </a:custGeom>
          <a:solidFill>
            <a:schemeClr val="bg2"/>
          </a:solidFill>
          <a:ln w="3175">
            <a:noFill/>
          </a:ln>
        </p:spPr>
        <p:txBody>
          <a:bodyPr tIns="720000" rtlCol="0" anchor="ctr">
            <a:noAutofit/>
          </a:bodyPr>
          <a:lstStyle>
            <a:lvl1pPr algn="ctr">
              <a:defRPr sz="1500">
                <a:solidFill>
                  <a:schemeClr val="bg1"/>
                </a:solidFill>
              </a:defRPr>
            </a:lvl1pPr>
          </a:lstStyle>
          <a:p>
            <a:pPr lvl="0"/>
            <a:r>
              <a:rPr lang="en-US" noProof="0"/>
              <a:t>Click icon to add picture</a:t>
            </a:r>
          </a:p>
        </p:txBody>
      </p:sp>
      <p:sp>
        <p:nvSpPr>
          <p:cNvPr id="14" name="Espace réservé de la date 9"/>
          <p:cNvSpPr>
            <a:spLocks noGrp="1"/>
          </p:cNvSpPr>
          <p:nvPr>
            <p:ph type="dt" sz="half" idx="21"/>
          </p:nvPr>
        </p:nvSpPr>
        <p:spPr/>
        <p:txBody>
          <a:bodyPr/>
          <a:lstStyle>
            <a:lvl1pPr>
              <a:defRPr/>
            </a:lvl1pPr>
          </a:lstStyle>
          <a:p>
            <a:pPr>
              <a:defRPr/>
            </a:pPr>
            <a:r>
              <a:rPr lang="en-US">
                <a:solidFill>
                  <a:prstClr val="white">
                    <a:alpha val="0"/>
                  </a:prstClr>
                </a:solidFill>
              </a:rPr>
              <a:t>Date</a:t>
            </a:r>
          </a:p>
        </p:txBody>
      </p:sp>
      <p:sp>
        <p:nvSpPr>
          <p:cNvPr id="16" name="Espace réservé du numéro de diapositive 10"/>
          <p:cNvSpPr>
            <a:spLocks noGrp="1"/>
          </p:cNvSpPr>
          <p:nvPr>
            <p:ph type="sldNum" sz="quarter" idx="22"/>
          </p:nvPr>
        </p:nvSpPr>
        <p:spPr/>
        <p:txBody>
          <a:bodyPr/>
          <a:lstStyle>
            <a:lvl1pPr>
              <a:defRPr sz="100">
                <a:solidFill>
                  <a:schemeClr val="bg1">
                    <a:alpha val="0"/>
                  </a:schemeClr>
                </a:solidFill>
              </a:defRPr>
            </a:lvl1pPr>
          </a:lstStyle>
          <a:p>
            <a:pPr>
              <a:defRPr/>
            </a:pPr>
            <a:r>
              <a:rPr lang="en-US">
                <a:solidFill>
                  <a:prstClr val="white">
                    <a:alpha val="0"/>
                  </a:prstClr>
                </a:solidFill>
              </a:rPr>
              <a:t>Page: </a:t>
            </a:r>
            <a:fld id="{A170035D-6B8C-439A-85EA-19B5ADE5A975}" type="slidenum">
              <a:rPr lang="en-US">
                <a:solidFill>
                  <a:prstClr val="white">
                    <a:alpha val="0"/>
                  </a:prstClr>
                </a:solidFill>
              </a:rPr>
              <a:pPr>
                <a:defRPr/>
              </a:pPr>
              <a:t>‹#›</a:t>
            </a:fld>
            <a:endParaRPr lang="en-US">
              <a:solidFill>
                <a:prstClr val="white">
                  <a:alpha val="0"/>
                </a:prstClr>
              </a:solidFill>
            </a:endParaRPr>
          </a:p>
        </p:txBody>
      </p:sp>
      <p:sp>
        <p:nvSpPr>
          <p:cNvPr id="19" name="Espace réservé du pied de page 11"/>
          <p:cNvSpPr>
            <a:spLocks noGrp="1"/>
          </p:cNvSpPr>
          <p:nvPr>
            <p:ph type="ftr" sz="quarter" idx="23"/>
          </p:nvPr>
        </p:nvSpPr>
        <p:spPr>
          <a:xfrm>
            <a:off x="468313" y="523875"/>
            <a:ext cx="4824412" cy="360363"/>
          </a:xfrm>
        </p:spPr>
        <p:txBody>
          <a:bodyPr/>
          <a:lstStyle>
            <a:lvl1pPr algn="l">
              <a:defRPr sz="1800" b="0">
                <a:solidFill>
                  <a:schemeClr val="bg1"/>
                </a:solidFill>
              </a:defRPr>
            </a:lvl1pPr>
          </a:lstStyle>
          <a:p>
            <a:pPr>
              <a:defRPr/>
            </a:pPr>
            <a:r>
              <a:rPr lang="en-US">
                <a:solidFill>
                  <a:prstClr val="white"/>
                </a:solidFill>
              </a:rPr>
              <a:t>#</a:t>
            </a:r>
            <a:r>
              <a:rPr lang="en-US" err="1">
                <a:solidFill>
                  <a:prstClr val="white"/>
                </a:solidFill>
              </a:rPr>
              <a:t>vaccineswork</a:t>
            </a:r>
            <a:endParaRPr lang="en-US">
              <a:solidFill>
                <a:prstClr val="white"/>
              </a:solidFill>
            </a:endParaRPr>
          </a:p>
        </p:txBody>
      </p:sp>
    </p:spTree>
    <p:extLst>
      <p:ext uri="{BB962C8B-B14F-4D97-AF65-F5344CB8AC3E}">
        <p14:creationId xmlns:p14="http://schemas.microsoft.com/office/powerpoint/2010/main" val="93389716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Chapter_Layout">
    <p:spTree>
      <p:nvGrpSpPr>
        <p:cNvPr id="1" name=""/>
        <p:cNvGrpSpPr/>
        <p:nvPr/>
      </p:nvGrpSpPr>
      <p:grpSpPr>
        <a:xfrm>
          <a:off x="0" y="0"/>
          <a:ext cx="0" cy="0"/>
          <a:chOff x="0" y="0"/>
          <a:chExt cx="0" cy="0"/>
        </a:xfrm>
      </p:grpSpPr>
      <p:pic>
        <p:nvPicPr>
          <p:cNvPr id="6" name="Image 17" descr="FD_03_chap_110x190,5.pn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gray">
          <a:xfrm>
            <a:off x="0" y="0"/>
            <a:ext cx="3959225" cy="68580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cxnSp>
        <p:nvCxnSpPr>
          <p:cNvPr id="7" name="Connecteur droit 14"/>
          <p:cNvCxnSpPr/>
          <p:nvPr userDrawn="1"/>
        </p:nvCxnSpPr>
        <p:spPr bwMode="gray">
          <a:xfrm flipH="1">
            <a:off x="3635375" y="2389188"/>
            <a:ext cx="1584325" cy="0"/>
          </a:xfrm>
          <a:prstGeom prst="line">
            <a:avLst/>
          </a:prstGeom>
          <a:ln w="24130">
            <a:solidFill>
              <a:schemeClr val="accent1"/>
            </a:solidFill>
          </a:ln>
        </p:spPr>
        <p:style>
          <a:lnRef idx="1">
            <a:schemeClr val="accent1"/>
          </a:lnRef>
          <a:fillRef idx="0">
            <a:schemeClr val="accent1"/>
          </a:fillRef>
          <a:effectRef idx="0">
            <a:schemeClr val="accent1"/>
          </a:effectRef>
          <a:fontRef idx="minor">
            <a:schemeClr val="tx1"/>
          </a:fontRef>
        </p:style>
      </p:cxnSp>
      <p:sp>
        <p:nvSpPr>
          <p:cNvPr id="2" name="Titre 1"/>
          <p:cNvSpPr>
            <a:spLocks noGrp="1"/>
          </p:cNvSpPr>
          <p:nvPr>
            <p:ph type="title"/>
          </p:nvPr>
        </p:nvSpPr>
        <p:spPr bwMode="gray">
          <a:xfrm>
            <a:off x="3635374" y="1036638"/>
            <a:ext cx="3263901" cy="1268759"/>
          </a:xfrm>
        </p:spPr>
        <p:txBody>
          <a:bodyPr/>
          <a:lstStyle/>
          <a:p>
            <a:r>
              <a:rPr lang="en-US" noProof="0"/>
              <a:t>Click to edit Master title style</a:t>
            </a:r>
          </a:p>
        </p:txBody>
      </p:sp>
      <p:sp>
        <p:nvSpPr>
          <p:cNvPr id="10" name="Espace réservé du texte 9"/>
          <p:cNvSpPr>
            <a:spLocks noGrp="1"/>
          </p:cNvSpPr>
          <p:nvPr>
            <p:ph type="body" sz="quarter" idx="13"/>
          </p:nvPr>
        </p:nvSpPr>
        <p:spPr bwMode="gray">
          <a:xfrm>
            <a:off x="3635376" y="2574000"/>
            <a:ext cx="3263900" cy="3447388"/>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Espace réservé du texte 9"/>
          <p:cNvSpPr>
            <a:spLocks noGrp="1"/>
          </p:cNvSpPr>
          <p:nvPr>
            <p:ph type="body" sz="quarter" idx="14"/>
          </p:nvPr>
        </p:nvSpPr>
        <p:spPr bwMode="gray">
          <a:xfrm>
            <a:off x="0" y="139974"/>
            <a:ext cx="2628000" cy="5017814"/>
          </a:xfrm>
        </p:spPr>
        <p:txBody>
          <a:bodyPr/>
          <a:lstStyle>
            <a:lvl1pPr algn="r">
              <a:defRPr sz="16600" b="1">
                <a:solidFill>
                  <a:schemeClr val="bg1"/>
                </a:solidFill>
              </a:defRPr>
            </a:lvl1pPr>
          </a:lstStyle>
          <a:p>
            <a:pPr lvl="0"/>
            <a:r>
              <a:rPr lang="en-US" noProof="0"/>
              <a:t>Click to edit Master text styles</a:t>
            </a:r>
          </a:p>
        </p:txBody>
      </p:sp>
      <p:sp>
        <p:nvSpPr>
          <p:cNvPr id="19" name="Espace réservé pour une image  17"/>
          <p:cNvSpPr>
            <a:spLocks noGrp="1"/>
          </p:cNvSpPr>
          <p:nvPr>
            <p:ph type="pic" sz="quarter" idx="18"/>
          </p:nvPr>
        </p:nvSpPr>
        <p:spPr bwMode="gray">
          <a:xfrm>
            <a:off x="7254332" y="132082"/>
            <a:ext cx="1899827" cy="5812641"/>
          </a:xfrm>
          <a:custGeom>
            <a:avLst/>
            <a:gdLst>
              <a:gd name="connsiteX0" fmla="*/ 0 w 3851275"/>
              <a:gd name="connsiteY0" fmla="*/ 0 h 5157788"/>
              <a:gd name="connsiteX1" fmla="*/ 3851275 w 3851275"/>
              <a:gd name="connsiteY1" fmla="*/ 0 h 5157788"/>
              <a:gd name="connsiteX2" fmla="*/ 3851275 w 3851275"/>
              <a:gd name="connsiteY2" fmla="*/ 5157788 h 5157788"/>
              <a:gd name="connsiteX3" fmla="*/ 0 w 3851275"/>
              <a:gd name="connsiteY3" fmla="*/ 5157788 h 5157788"/>
              <a:gd name="connsiteX4" fmla="*/ 0 w 3851275"/>
              <a:gd name="connsiteY4"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0 w 3851275"/>
              <a:gd name="connsiteY3" fmla="*/ 5157788 h 5157788"/>
              <a:gd name="connsiteX4" fmla="*/ 1692275 w 3851275"/>
              <a:gd name="connsiteY4" fmla="*/ 0 h 5157788"/>
              <a:gd name="connsiteX0" fmla="*/ 0 w 2159000"/>
              <a:gd name="connsiteY0" fmla="*/ 0 h 5157788"/>
              <a:gd name="connsiteX1" fmla="*/ 2159000 w 2159000"/>
              <a:gd name="connsiteY1" fmla="*/ 0 h 5157788"/>
              <a:gd name="connsiteX2" fmla="*/ 2159000 w 2159000"/>
              <a:gd name="connsiteY2" fmla="*/ 5157788 h 5157788"/>
              <a:gd name="connsiteX3" fmla="*/ 0 w 2159000"/>
              <a:gd name="connsiteY3" fmla="*/ 5157788 h 5157788"/>
              <a:gd name="connsiteX4" fmla="*/ 0 w 2159000"/>
              <a:gd name="connsiteY4" fmla="*/ 0 h 5157788"/>
              <a:gd name="connsiteX0" fmla="*/ 2625271 w 4784271"/>
              <a:gd name="connsiteY0" fmla="*/ 0 h 5157788"/>
              <a:gd name="connsiteX1" fmla="*/ 4784271 w 4784271"/>
              <a:gd name="connsiteY1" fmla="*/ 0 h 5157788"/>
              <a:gd name="connsiteX2" fmla="*/ 4784271 w 4784271"/>
              <a:gd name="connsiteY2" fmla="*/ 5157788 h 5157788"/>
              <a:gd name="connsiteX3" fmla="*/ 2625271 w 4784271"/>
              <a:gd name="connsiteY3" fmla="*/ 5157788 h 5157788"/>
              <a:gd name="connsiteX4" fmla="*/ 2625271 w 4784271"/>
              <a:gd name="connsiteY4" fmla="*/ 0 h 5157788"/>
              <a:gd name="connsiteX0" fmla="*/ 2625271 w 4784271"/>
              <a:gd name="connsiteY0" fmla="*/ 0 h 5157788"/>
              <a:gd name="connsiteX1" fmla="*/ 4784271 w 4784271"/>
              <a:gd name="connsiteY1" fmla="*/ 0 h 5157788"/>
              <a:gd name="connsiteX2" fmla="*/ 4784271 w 4784271"/>
              <a:gd name="connsiteY2" fmla="*/ 5157788 h 5157788"/>
              <a:gd name="connsiteX3" fmla="*/ 2625271 w 4784271"/>
              <a:gd name="connsiteY3" fmla="*/ 5157788 h 5157788"/>
              <a:gd name="connsiteX4" fmla="*/ 2625271 w 4784271"/>
              <a:gd name="connsiteY4" fmla="*/ 0 h 5157788"/>
              <a:gd name="connsiteX0" fmla="*/ 3568576 w 5727576"/>
              <a:gd name="connsiteY0" fmla="*/ 0 h 5157788"/>
              <a:gd name="connsiteX1" fmla="*/ 5727576 w 5727576"/>
              <a:gd name="connsiteY1" fmla="*/ 0 h 5157788"/>
              <a:gd name="connsiteX2" fmla="*/ 5727576 w 5727576"/>
              <a:gd name="connsiteY2" fmla="*/ 5157788 h 5157788"/>
              <a:gd name="connsiteX3" fmla="*/ 3568576 w 5727576"/>
              <a:gd name="connsiteY3" fmla="*/ 5157788 h 5157788"/>
              <a:gd name="connsiteX4" fmla="*/ 3568576 w 5727576"/>
              <a:gd name="connsiteY4" fmla="*/ 0 h 5157788"/>
              <a:gd name="connsiteX0" fmla="*/ 3306355 w 5465355"/>
              <a:gd name="connsiteY0" fmla="*/ 0 h 5157788"/>
              <a:gd name="connsiteX1" fmla="*/ 5465355 w 5465355"/>
              <a:gd name="connsiteY1" fmla="*/ 0 h 5157788"/>
              <a:gd name="connsiteX2" fmla="*/ 5465355 w 5465355"/>
              <a:gd name="connsiteY2" fmla="*/ 5157788 h 5157788"/>
              <a:gd name="connsiteX3" fmla="*/ 3306355 w 5465355"/>
              <a:gd name="connsiteY3" fmla="*/ 5157788 h 5157788"/>
              <a:gd name="connsiteX4" fmla="*/ 3306355 w 5465355"/>
              <a:gd name="connsiteY4" fmla="*/ 0 h 5157788"/>
              <a:gd name="connsiteX0" fmla="*/ 1416957 w 3575957"/>
              <a:gd name="connsiteY0" fmla="*/ 0 h 5157788"/>
              <a:gd name="connsiteX1" fmla="*/ 3575957 w 3575957"/>
              <a:gd name="connsiteY1" fmla="*/ 0 h 5157788"/>
              <a:gd name="connsiteX2" fmla="*/ 3575957 w 3575957"/>
              <a:gd name="connsiteY2" fmla="*/ 5157788 h 5157788"/>
              <a:gd name="connsiteX3" fmla="*/ 1416957 w 3575957"/>
              <a:gd name="connsiteY3" fmla="*/ 5157788 h 5157788"/>
              <a:gd name="connsiteX4" fmla="*/ 0 w 3575957"/>
              <a:gd name="connsiteY4" fmla="*/ 3339193 h 5157788"/>
              <a:gd name="connsiteX5" fmla="*/ 1416957 w 3575957"/>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6017419"/>
              <a:gd name="connsiteX1" fmla="*/ 3851275 w 3851275"/>
              <a:gd name="connsiteY1" fmla="*/ 0 h 6017419"/>
              <a:gd name="connsiteX2" fmla="*/ 3851275 w 3851275"/>
              <a:gd name="connsiteY2" fmla="*/ 5157788 h 6017419"/>
              <a:gd name="connsiteX3" fmla="*/ 1692275 w 3851275"/>
              <a:gd name="connsiteY3" fmla="*/ 5157788 h 6017419"/>
              <a:gd name="connsiteX4" fmla="*/ 0 w 3851275"/>
              <a:gd name="connsiteY4" fmla="*/ 3284984 h 6017419"/>
              <a:gd name="connsiteX5" fmla="*/ 1692275 w 3851275"/>
              <a:gd name="connsiteY5" fmla="*/ 0 h 6017419"/>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429000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429000 h 5157788"/>
              <a:gd name="connsiteX5" fmla="*/ 1710871 w 3869871"/>
              <a:gd name="connsiteY5" fmla="*/ 0 h 5157788"/>
              <a:gd name="connsiteX0" fmla="*/ 1704975 w 3863975"/>
              <a:gd name="connsiteY0" fmla="*/ 0 h 5157788"/>
              <a:gd name="connsiteX1" fmla="*/ 3863975 w 3863975"/>
              <a:gd name="connsiteY1" fmla="*/ 0 h 5157788"/>
              <a:gd name="connsiteX2" fmla="*/ 3863975 w 3863975"/>
              <a:gd name="connsiteY2" fmla="*/ 5157788 h 5157788"/>
              <a:gd name="connsiteX3" fmla="*/ 1704975 w 3863975"/>
              <a:gd name="connsiteY3" fmla="*/ 5157788 h 5157788"/>
              <a:gd name="connsiteX4" fmla="*/ 12700 w 3863975"/>
              <a:gd name="connsiteY4" fmla="*/ 3429000 h 5157788"/>
              <a:gd name="connsiteX5" fmla="*/ 1704975 w 3863975"/>
              <a:gd name="connsiteY5" fmla="*/ 0 h 5157788"/>
              <a:gd name="connsiteX0" fmla="*/ 1707243 w 3866243"/>
              <a:gd name="connsiteY0" fmla="*/ 0 h 5157788"/>
              <a:gd name="connsiteX1" fmla="*/ 3866243 w 3866243"/>
              <a:gd name="connsiteY1" fmla="*/ 0 h 5157788"/>
              <a:gd name="connsiteX2" fmla="*/ 3866243 w 3866243"/>
              <a:gd name="connsiteY2" fmla="*/ 5157788 h 5157788"/>
              <a:gd name="connsiteX3" fmla="*/ 1707243 w 3866243"/>
              <a:gd name="connsiteY3" fmla="*/ 5157788 h 5157788"/>
              <a:gd name="connsiteX4" fmla="*/ 14968 w 3866243"/>
              <a:gd name="connsiteY4" fmla="*/ 3429000 h 5157788"/>
              <a:gd name="connsiteX5" fmla="*/ 1707243 w 3866243"/>
              <a:gd name="connsiteY5" fmla="*/ 0 h 5157788"/>
              <a:gd name="connsiteX0" fmla="*/ 1130447 w 3866243"/>
              <a:gd name="connsiteY0" fmla="*/ 0 h 5157788"/>
              <a:gd name="connsiteX1" fmla="*/ 3866243 w 3866243"/>
              <a:gd name="connsiteY1" fmla="*/ 0 h 5157788"/>
              <a:gd name="connsiteX2" fmla="*/ 3866243 w 3866243"/>
              <a:gd name="connsiteY2" fmla="*/ 5157788 h 5157788"/>
              <a:gd name="connsiteX3" fmla="*/ 1707243 w 3866243"/>
              <a:gd name="connsiteY3" fmla="*/ 5157788 h 5157788"/>
              <a:gd name="connsiteX4" fmla="*/ 14968 w 3866243"/>
              <a:gd name="connsiteY4" fmla="*/ 3429000 h 5157788"/>
              <a:gd name="connsiteX5" fmla="*/ 1130447 w 3866243"/>
              <a:gd name="connsiteY5" fmla="*/ 0 h 5157788"/>
              <a:gd name="connsiteX0" fmla="*/ 2746143 w 5481939"/>
              <a:gd name="connsiteY0" fmla="*/ 0 h 5157788"/>
              <a:gd name="connsiteX1" fmla="*/ 5481939 w 5481939"/>
              <a:gd name="connsiteY1" fmla="*/ 0 h 5157788"/>
              <a:gd name="connsiteX2" fmla="*/ 5481939 w 5481939"/>
              <a:gd name="connsiteY2" fmla="*/ 5157788 h 5157788"/>
              <a:gd name="connsiteX3" fmla="*/ 585903 w 5481939"/>
              <a:gd name="connsiteY3" fmla="*/ 5153180 h 5157788"/>
              <a:gd name="connsiteX4" fmla="*/ 1630664 w 5481939"/>
              <a:gd name="connsiteY4" fmla="*/ 3429000 h 5157788"/>
              <a:gd name="connsiteX5" fmla="*/ 2746143 w 5481939"/>
              <a:gd name="connsiteY5" fmla="*/ 0 h 5157788"/>
              <a:gd name="connsiteX0" fmla="*/ 2746143 w 5481939"/>
              <a:gd name="connsiteY0" fmla="*/ 0 h 5157788"/>
              <a:gd name="connsiteX1" fmla="*/ 5481939 w 5481939"/>
              <a:gd name="connsiteY1" fmla="*/ 0 h 5157788"/>
              <a:gd name="connsiteX2" fmla="*/ 5481939 w 5481939"/>
              <a:gd name="connsiteY2" fmla="*/ 5157788 h 5157788"/>
              <a:gd name="connsiteX3" fmla="*/ 585903 w 5481939"/>
              <a:gd name="connsiteY3" fmla="*/ 5153180 h 5157788"/>
              <a:gd name="connsiteX4" fmla="*/ 1630664 w 5481939"/>
              <a:gd name="connsiteY4" fmla="*/ 3429000 h 5157788"/>
              <a:gd name="connsiteX5" fmla="*/ 2746143 w 548193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3574235 w 6310031"/>
              <a:gd name="connsiteY0" fmla="*/ 0 h 5157788"/>
              <a:gd name="connsiteX1" fmla="*/ 6310031 w 6310031"/>
              <a:gd name="connsiteY1" fmla="*/ 0 h 5157788"/>
              <a:gd name="connsiteX2" fmla="*/ 6310031 w 6310031"/>
              <a:gd name="connsiteY2" fmla="*/ 5157788 h 5157788"/>
              <a:gd name="connsiteX3" fmla="*/ 585903 w 6310031"/>
              <a:gd name="connsiteY3" fmla="*/ 5153180 h 5157788"/>
              <a:gd name="connsiteX4" fmla="*/ 1738031 w 6310031"/>
              <a:gd name="connsiteY4" fmla="*/ 3389965 h 5157788"/>
              <a:gd name="connsiteX5" fmla="*/ 3574235 w 6310031"/>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296143 w 5724128"/>
              <a:gd name="connsiteY4" fmla="*/ 3461908 h 5157788"/>
              <a:gd name="connsiteX5" fmla="*/ 2988332 w 5724128"/>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1188132 w 5760132"/>
              <a:gd name="connsiteY4" fmla="*/ 3425937 h 5157788"/>
              <a:gd name="connsiteX5" fmla="*/ 3024336 w 5760132"/>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2736304 w 5760132"/>
              <a:gd name="connsiteY4" fmla="*/ 3461908 h 5157788"/>
              <a:gd name="connsiteX5" fmla="*/ 3024336 w 5760132"/>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2736304 w 5760132"/>
              <a:gd name="connsiteY4" fmla="*/ 3461908 h 5157788"/>
              <a:gd name="connsiteX5" fmla="*/ 3024336 w 5760132"/>
              <a:gd name="connsiteY5" fmla="*/ 0 h 5157788"/>
              <a:gd name="connsiteX0" fmla="*/ 2160240 w 4896036"/>
              <a:gd name="connsiteY0" fmla="*/ 0 h 5157788"/>
              <a:gd name="connsiteX1" fmla="*/ 4896036 w 4896036"/>
              <a:gd name="connsiteY1" fmla="*/ 0 h 5157788"/>
              <a:gd name="connsiteX2" fmla="*/ 4896036 w 4896036"/>
              <a:gd name="connsiteY2" fmla="*/ 5157788 h 5157788"/>
              <a:gd name="connsiteX3" fmla="*/ 0 w 4896036"/>
              <a:gd name="connsiteY3" fmla="*/ 5153180 h 5157788"/>
              <a:gd name="connsiteX4" fmla="*/ 1872208 w 4896036"/>
              <a:gd name="connsiteY4" fmla="*/ 3461908 h 5157788"/>
              <a:gd name="connsiteX5" fmla="*/ 2160240 w 4896036"/>
              <a:gd name="connsiteY5" fmla="*/ 0 h 5157788"/>
              <a:gd name="connsiteX0" fmla="*/ 2232248 w 4968044"/>
              <a:gd name="connsiteY0" fmla="*/ 0 h 5157788"/>
              <a:gd name="connsiteX1" fmla="*/ 4968044 w 4968044"/>
              <a:gd name="connsiteY1" fmla="*/ 0 h 5157788"/>
              <a:gd name="connsiteX2" fmla="*/ 4968044 w 4968044"/>
              <a:gd name="connsiteY2" fmla="*/ 5157788 h 5157788"/>
              <a:gd name="connsiteX3" fmla="*/ 0 w 4968044"/>
              <a:gd name="connsiteY3" fmla="*/ 5153180 h 5157788"/>
              <a:gd name="connsiteX4" fmla="*/ 1944216 w 4968044"/>
              <a:gd name="connsiteY4" fmla="*/ 3461908 h 5157788"/>
              <a:gd name="connsiteX5" fmla="*/ 2232248 w 4968044"/>
              <a:gd name="connsiteY5" fmla="*/ 0 h 5157788"/>
              <a:gd name="connsiteX0" fmla="*/ 2207679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207679 w 4943475"/>
              <a:gd name="connsiteY5" fmla="*/ 0 h 5157788"/>
              <a:gd name="connsiteX0" fmla="*/ 2963763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963763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092200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71575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343583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675731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675731 w 4943475"/>
              <a:gd name="connsiteY5" fmla="*/ 0 h 5157788"/>
              <a:gd name="connsiteX0" fmla="*/ 2675731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675731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9672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19672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1668519 w 3913244"/>
              <a:gd name="connsiteY0" fmla="*/ 0 h 5183692"/>
              <a:gd name="connsiteX1" fmla="*/ 3913244 w 3913244"/>
              <a:gd name="connsiteY1" fmla="*/ 0 h 5183692"/>
              <a:gd name="connsiteX2" fmla="*/ 3913244 w 3913244"/>
              <a:gd name="connsiteY2" fmla="*/ 5157788 h 5183692"/>
              <a:gd name="connsiteX3" fmla="*/ 2456872 w 3913244"/>
              <a:gd name="connsiteY3" fmla="*/ 5183633 h 5183692"/>
              <a:gd name="connsiteX4" fmla="*/ 205340 w 3913244"/>
              <a:gd name="connsiteY4" fmla="*/ 2562613 h 5183692"/>
              <a:gd name="connsiteX5" fmla="*/ 1668519 w 3913244"/>
              <a:gd name="connsiteY5" fmla="*/ 0 h 5183692"/>
              <a:gd name="connsiteX0" fmla="*/ 1668519 w 3923404"/>
              <a:gd name="connsiteY0" fmla="*/ 0 h 5939409"/>
              <a:gd name="connsiteX1" fmla="*/ 3913244 w 3923404"/>
              <a:gd name="connsiteY1" fmla="*/ 0 h 5939409"/>
              <a:gd name="connsiteX2" fmla="*/ 3923404 w 3923404"/>
              <a:gd name="connsiteY2" fmla="*/ 5939409 h 5939409"/>
              <a:gd name="connsiteX3" fmla="*/ 2456872 w 3923404"/>
              <a:gd name="connsiteY3" fmla="*/ 5183633 h 5939409"/>
              <a:gd name="connsiteX4" fmla="*/ 205340 w 3923404"/>
              <a:gd name="connsiteY4" fmla="*/ 2562613 h 5939409"/>
              <a:gd name="connsiteX5" fmla="*/ 1668519 w 3923404"/>
              <a:gd name="connsiteY5" fmla="*/ 0 h 5939409"/>
              <a:gd name="connsiteX0" fmla="*/ 1668519 w 3923404"/>
              <a:gd name="connsiteY0" fmla="*/ 0 h 5939409"/>
              <a:gd name="connsiteX1" fmla="*/ 3913244 w 3923404"/>
              <a:gd name="connsiteY1" fmla="*/ 0 h 5939409"/>
              <a:gd name="connsiteX2" fmla="*/ 3923404 w 3923404"/>
              <a:gd name="connsiteY2" fmla="*/ 5939409 h 5939409"/>
              <a:gd name="connsiteX3" fmla="*/ 2456872 w 3923404"/>
              <a:gd name="connsiteY3" fmla="*/ 5183633 h 5939409"/>
              <a:gd name="connsiteX4" fmla="*/ 205340 w 3923404"/>
              <a:gd name="connsiteY4" fmla="*/ 2562613 h 5939409"/>
              <a:gd name="connsiteX5" fmla="*/ 1668519 w 3923404"/>
              <a:gd name="connsiteY5" fmla="*/ 0 h 5939409"/>
              <a:gd name="connsiteX0" fmla="*/ 1696047 w 3950932"/>
              <a:gd name="connsiteY0" fmla="*/ 0 h 5939409"/>
              <a:gd name="connsiteX1" fmla="*/ 3940772 w 3950932"/>
              <a:gd name="connsiteY1" fmla="*/ 0 h 5939409"/>
              <a:gd name="connsiteX2" fmla="*/ 3950932 w 3950932"/>
              <a:gd name="connsiteY2" fmla="*/ 5939409 h 5939409"/>
              <a:gd name="connsiteX3" fmla="*/ 2484400 w 3950932"/>
              <a:gd name="connsiteY3" fmla="*/ 5183633 h 5939409"/>
              <a:gd name="connsiteX4" fmla="*/ 232868 w 3950932"/>
              <a:gd name="connsiteY4" fmla="*/ 2562613 h 5939409"/>
              <a:gd name="connsiteX5" fmla="*/ 1696047 w 3950932"/>
              <a:gd name="connsiteY5" fmla="*/ 0 h 5939409"/>
              <a:gd name="connsiteX0" fmla="*/ 1463179 w 3718064"/>
              <a:gd name="connsiteY0" fmla="*/ 0 h 5983194"/>
              <a:gd name="connsiteX1" fmla="*/ 3707904 w 3718064"/>
              <a:gd name="connsiteY1" fmla="*/ 0 h 5983194"/>
              <a:gd name="connsiteX2" fmla="*/ 3718064 w 3718064"/>
              <a:gd name="connsiteY2" fmla="*/ 5939409 h 5983194"/>
              <a:gd name="connsiteX3" fmla="*/ 0 w 3718064"/>
              <a:gd name="connsiteY3" fmla="*/ 2562613 h 5983194"/>
              <a:gd name="connsiteX4" fmla="*/ 1463179 w 3718064"/>
              <a:gd name="connsiteY4" fmla="*/ 0 h 5983194"/>
              <a:gd name="connsiteX0" fmla="*/ 1464005 w 3718890"/>
              <a:gd name="connsiteY0" fmla="*/ 0 h 5987401"/>
              <a:gd name="connsiteX1" fmla="*/ 3708730 w 3718890"/>
              <a:gd name="connsiteY1" fmla="*/ 0 h 5987401"/>
              <a:gd name="connsiteX2" fmla="*/ 3718890 w 3718890"/>
              <a:gd name="connsiteY2" fmla="*/ 5939409 h 5987401"/>
              <a:gd name="connsiteX3" fmla="*/ 826 w 3718890"/>
              <a:gd name="connsiteY3" fmla="*/ 2562613 h 5987401"/>
              <a:gd name="connsiteX4" fmla="*/ 1464005 w 3718890"/>
              <a:gd name="connsiteY4" fmla="*/ 0 h 5987401"/>
              <a:gd name="connsiteX0" fmla="*/ 1267 w 2256152"/>
              <a:gd name="connsiteY0" fmla="*/ 0 h 6002954"/>
              <a:gd name="connsiteX1" fmla="*/ 2245992 w 2256152"/>
              <a:gd name="connsiteY1" fmla="*/ 0 h 6002954"/>
              <a:gd name="connsiteX2" fmla="*/ 2256152 w 2256152"/>
              <a:gd name="connsiteY2" fmla="*/ 5939409 h 6002954"/>
              <a:gd name="connsiteX3" fmla="*/ 956168 w 2256152"/>
              <a:gd name="connsiteY3" fmla="*/ 3273178 h 6002954"/>
              <a:gd name="connsiteX4" fmla="*/ 1267 w 2256152"/>
              <a:gd name="connsiteY4" fmla="*/ 0 h 6002954"/>
              <a:gd name="connsiteX0" fmla="*/ 2 w 1299986"/>
              <a:gd name="connsiteY0" fmla="*/ 3321709 h 6044422"/>
              <a:gd name="connsiteX1" fmla="*/ 1289826 w 1299986"/>
              <a:gd name="connsiteY1" fmla="*/ 48531 h 6044422"/>
              <a:gd name="connsiteX2" fmla="*/ 1299986 w 1299986"/>
              <a:gd name="connsiteY2" fmla="*/ 5987940 h 6044422"/>
              <a:gd name="connsiteX3" fmla="*/ 2 w 1299986"/>
              <a:gd name="connsiteY3" fmla="*/ 3321709 h 6044422"/>
              <a:gd name="connsiteX0" fmla="*/ 2 w 1299986"/>
              <a:gd name="connsiteY0" fmla="*/ 3273178 h 5995891"/>
              <a:gd name="connsiteX1" fmla="*/ 1289826 w 1299986"/>
              <a:gd name="connsiteY1" fmla="*/ 0 h 5995891"/>
              <a:gd name="connsiteX2" fmla="*/ 1299986 w 1299986"/>
              <a:gd name="connsiteY2" fmla="*/ 5939409 h 5995891"/>
              <a:gd name="connsiteX3" fmla="*/ 2 w 1299986"/>
              <a:gd name="connsiteY3" fmla="*/ 3273178 h 5995891"/>
              <a:gd name="connsiteX0" fmla="*/ 2 w 1299986"/>
              <a:gd name="connsiteY0" fmla="*/ 3273178 h 5995891"/>
              <a:gd name="connsiteX1" fmla="*/ 1289826 w 1299986"/>
              <a:gd name="connsiteY1" fmla="*/ 0 h 5995891"/>
              <a:gd name="connsiteX2" fmla="*/ 1299986 w 1299986"/>
              <a:gd name="connsiteY2" fmla="*/ 5939409 h 5995891"/>
              <a:gd name="connsiteX3" fmla="*/ 2 w 1299986"/>
              <a:gd name="connsiteY3" fmla="*/ 3273178 h 5995891"/>
              <a:gd name="connsiteX0" fmla="*/ 2 w 1299986"/>
              <a:gd name="connsiteY0" fmla="*/ 3273178 h 5995891"/>
              <a:gd name="connsiteX1" fmla="*/ 1289826 w 1299986"/>
              <a:gd name="connsiteY1" fmla="*/ 0 h 5995891"/>
              <a:gd name="connsiteX2" fmla="*/ 1299986 w 1299986"/>
              <a:gd name="connsiteY2" fmla="*/ 5939409 h 5995891"/>
              <a:gd name="connsiteX3" fmla="*/ 2 w 1299986"/>
              <a:gd name="connsiteY3" fmla="*/ 3273178 h 5995891"/>
              <a:gd name="connsiteX0" fmla="*/ 2 w 1299986"/>
              <a:gd name="connsiteY0" fmla="*/ 2725028 h 5445777"/>
              <a:gd name="connsiteX1" fmla="*/ 1289826 w 1299986"/>
              <a:gd name="connsiteY1" fmla="*/ 0 h 5445777"/>
              <a:gd name="connsiteX2" fmla="*/ 1299986 w 1299986"/>
              <a:gd name="connsiteY2" fmla="*/ 5391259 h 5445777"/>
              <a:gd name="connsiteX3" fmla="*/ 2 w 1299986"/>
              <a:gd name="connsiteY3" fmla="*/ 2725028 h 5445777"/>
              <a:gd name="connsiteX0" fmla="*/ 2 w 1299986"/>
              <a:gd name="connsiteY0" fmla="*/ 3141216 h 5863443"/>
              <a:gd name="connsiteX1" fmla="*/ 1289826 w 1299986"/>
              <a:gd name="connsiteY1" fmla="*/ 0 h 5863443"/>
              <a:gd name="connsiteX2" fmla="*/ 1299986 w 1299986"/>
              <a:gd name="connsiteY2" fmla="*/ 5807447 h 5863443"/>
              <a:gd name="connsiteX3" fmla="*/ 2 w 1299986"/>
              <a:gd name="connsiteY3" fmla="*/ 3141216 h 5863443"/>
              <a:gd name="connsiteX0" fmla="*/ 2 w 1299986"/>
              <a:gd name="connsiteY0" fmla="*/ 3141216 h 5863444"/>
              <a:gd name="connsiteX1" fmla="*/ 1289826 w 1299986"/>
              <a:gd name="connsiteY1" fmla="*/ 0 h 5863444"/>
              <a:gd name="connsiteX2" fmla="*/ 1299986 w 1299986"/>
              <a:gd name="connsiteY2" fmla="*/ 5807447 h 5863444"/>
              <a:gd name="connsiteX3" fmla="*/ 2 w 1299986"/>
              <a:gd name="connsiteY3" fmla="*/ 3141216 h 5863444"/>
              <a:gd name="connsiteX0" fmla="*/ 1 w 1889265"/>
              <a:gd name="connsiteY0" fmla="*/ 3851780 h 5885741"/>
              <a:gd name="connsiteX1" fmla="*/ 1879105 w 1889265"/>
              <a:gd name="connsiteY1" fmla="*/ 0 h 5885741"/>
              <a:gd name="connsiteX2" fmla="*/ 1889265 w 1889265"/>
              <a:gd name="connsiteY2" fmla="*/ 5807447 h 5885741"/>
              <a:gd name="connsiteX3" fmla="*/ 1 w 1889265"/>
              <a:gd name="connsiteY3" fmla="*/ 3851780 h 5885741"/>
              <a:gd name="connsiteX0" fmla="*/ 694 w 1889958"/>
              <a:gd name="connsiteY0" fmla="*/ 3851780 h 5898819"/>
              <a:gd name="connsiteX1" fmla="*/ 1879798 w 1889958"/>
              <a:gd name="connsiteY1" fmla="*/ 0 h 5898819"/>
              <a:gd name="connsiteX2" fmla="*/ 1889958 w 1889958"/>
              <a:gd name="connsiteY2" fmla="*/ 5807447 h 5898819"/>
              <a:gd name="connsiteX3" fmla="*/ 694 w 1889958"/>
              <a:gd name="connsiteY3" fmla="*/ 3851780 h 5898819"/>
              <a:gd name="connsiteX0" fmla="*/ 694 w 1889958"/>
              <a:gd name="connsiteY0" fmla="*/ 3740120 h 5892762"/>
              <a:gd name="connsiteX1" fmla="*/ 1879798 w 1889958"/>
              <a:gd name="connsiteY1" fmla="*/ 0 h 5892762"/>
              <a:gd name="connsiteX2" fmla="*/ 1889958 w 1889958"/>
              <a:gd name="connsiteY2" fmla="*/ 5807447 h 5892762"/>
              <a:gd name="connsiteX3" fmla="*/ 694 w 1889958"/>
              <a:gd name="connsiteY3" fmla="*/ 3740120 h 5892762"/>
              <a:gd name="connsiteX0" fmla="*/ 690 w 1900114"/>
              <a:gd name="connsiteY0" fmla="*/ 3811177 h 5896524"/>
              <a:gd name="connsiteX1" fmla="*/ 1889954 w 1900114"/>
              <a:gd name="connsiteY1" fmla="*/ 0 h 5896524"/>
              <a:gd name="connsiteX2" fmla="*/ 1900114 w 1900114"/>
              <a:gd name="connsiteY2" fmla="*/ 5807447 h 5896524"/>
              <a:gd name="connsiteX3" fmla="*/ 690 w 1900114"/>
              <a:gd name="connsiteY3" fmla="*/ 3811177 h 5896524"/>
              <a:gd name="connsiteX0" fmla="*/ 690 w 1900114"/>
              <a:gd name="connsiteY0" fmla="*/ 3811177 h 5807447"/>
              <a:gd name="connsiteX1" fmla="*/ 1889954 w 1900114"/>
              <a:gd name="connsiteY1" fmla="*/ 0 h 5807447"/>
              <a:gd name="connsiteX2" fmla="*/ 1900114 w 1900114"/>
              <a:gd name="connsiteY2" fmla="*/ 5807447 h 5807447"/>
              <a:gd name="connsiteX3" fmla="*/ 690 w 1900114"/>
              <a:gd name="connsiteY3" fmla="*/ 3811177 h 5807447"/>
              <a:gd name="connsiteX0" fmla="*/ 690 w 1900114"/>
              <a:gd name="connsiteY0" fmla="*/ 3811177 h 5807447"/>
              <a:gd name="connsiteX1" fmla="*/ 1889954 w 1900114"/>
              <a:gd name="connsiteY1" fmla="*/ 0 h 5807447"/>
              <a:gd name="connsiteX2" fmla="*/ 1900114 w 1900114"/>
              <a:gd name="connsiteY2" fmla="*/ 5807447 h 5807447"/>
              <a:gd name="connsiteX3" fmla="*/ 690 w 1900114"/>
              <a:gd name="connsiteY3" fmla="*/ 3811177 h 5807447"/>
              <a:gd name="connsiteX0" fmla="*/ 403 w 1899827"/>
              <a:gd name="connsiteY0" fmla="*/ 3811177 h 5807447"/>
              <a:gd name="connsiteX1" fmla="*/ 1889667 w 1899827"/>
              <a:gd name="connsiteY1" fmla="*/ 0 h 5807447"/>
              <a:gd name="connsiteX2" fmla="*/ 1899827 w 1899827"/>
              <a:gd name="connsiteY2" fmla="*/ 5807447 h 5807447"/>
              <a:gd name="connsiteX3" fmla="*/ 403 w 1899827"/>
              <a:gd name="connsiteY3" fmla="*/ 3811177 h 5807447"/>
            </a:gdLst>
            <a:ahLst/>
            <a:cxnLst>
              <a:cxn ang="0">
                <a:pos x="connsiteX0" y="connsiteY0"/>
              </a:cxn>
              <a:cxn ang="0">
                <a:pos x="connsiteX1" y="connsiteY1"/>
              </a:cxn>
              <a:cxn ang="0">
                <a:pos x="connsiteX2" y="connsiteY2"/>
              </a:cxn>
              <a:cxn ang="0">
                <a:pos x="connsiteX3" y="connsiteY3"/>
              </a:cxn>
            </a:cxnLst>
            <a:rect l="l" t="t" r="r" b="b"/>
            <a:pathLst>
              <a:path w="1899827" h="5807447">
                <a:moveTo>
                  <a:pt x="403" y="3811177"/>
                </a:moveTo>
                <a:cubicBezTo>
                  <a:pt x="-31770" y="2467685"/>
                  <a:pt x="1876203" y="854946"/>
                  <a:pt x="1889667" y="0"/>
                </a:cubicBezTo>
                <a:cubicBezTo>
                  <a:pt x="1893054" y="1979803"/>
                  <a:pt x="1896440" y="3827644"/>
                  <a:pt x="1899827" y="5807447"/>
                </a:cubicBezTo>
                <a:cubicBezTo>
                  <a:pt x="1007523" y="5706703"/>
                  <a:pt x="32576" y="5154669"/>
                  <a:pt x="403" y="3811177"/>
                </a:cubicBezTo>
                <a:close/>
              </a:path>
            </a:pathLst>
          </a:custGeom>
          <a:solidFill>
            <a:schemeClr val="bg2"/>
          </a:solidFill>
          <a:ln w="3175">
            <a:noFill/>
          </a:ln>
        </p:spPr>
        <p:txBody>
          <a:bodyPr tIns="720000" rtlCol="0" anchor="ctr">
            <a:noAutofit/>
          </a:bodyPr>
          <a:lstStyle>
            <a:lvl1pPr algn="ctr">
              <a:defRPr sz="1500">
                <a:solidFill>
                  <a:schemeClr val="bg1"/>
                </a:solidFill>
              </a:defRPr>
            </a:lvl1pPr>
          </a:lstStyle>
          <a:p>
            <a:pPr lvl="0"/>
            <a:r>
              <a:rPr lang="en-US" noProof="0"/>
              <a:t>Click icon to add picture</a:t>
            </a:r>
          </a:p>
        </p:txBody>
      </p:sp>
      <p:sp>
        <p:nvSpPr>
          <p:cNvPr id="8" name="Espace réservé de la date 10"/>
          <p:cNvSpPr>
            <a:spLocks noGrp="1"/>
          </p:cNvSpPr>
          <p:nvPr>
            <p:ph type="dt" sz="half" idx="19"/>
          </p:nvPr>
        </p:nvSpPr>
        <p:spPr/>
        <p:txBody>
          <a:bodyPr/>
          <a:lstStyle>
            <a:lvl1pPr>
              <a:defRPr/>
            </a:lvl1pPr>
          </a:lstStyle>
          <a:p>
            <a:pPr>
              <a:defRPr/>
            </a:pPr>
            <a:r>
              <a:rPr lang="en-US">
                <a:solidFill>
                  <a:prstClr val="white">
                    <a:alpha val="0"/>
                  </a:prstClr>
                </a:solidFill>
              </a:rPr>
              <a:t>Date</a:t>
            </a:r>
          </a:p>
        </p:txBody>
      </p:sp>
      <p:sp>
        <p:nvSpPr>
          <p:cNvPr id="9" name="Espace réservé du numéro de diapositive 11"/>
          <p:cNvSpPr>
            <a:spLocks noGrp="1"/>
          </p:cNvSpPr>
          <p:nvPr>
            <p:ph type="sldNum" sz="quarter" idx="20"/>
          </p:nvPr>
        </p:nvSpPr>
        <p:spPr/>
        <p:txBody>
          <a:bodyPr/>
          <a:lstStyle>
            <a:lvl1pPr>
              <a:defRPr/>
            </a:lvl1pPr>
          </a:lstStyle>
          <a:p>
            <a:pPr>
              <a:defRPr/>
            </a:pPr>
            <a:fld id="{669CD8F2-86ED-43C7-A24E-82A206DEE6AE}" type="slidenum">
              <a:rPr lang="en-US">
                <a:solidFill>
                  <a:srgbClr val="343434"/>
                </a:solidFill>
              </a:rPr>
              <a:pPr>
                <a:defRPr/>
              </a:pPr>
              <a:t>‹#›</a:t>
            </a:fld>
            <a:endParaRPr lang="en-US">
              <a:solidFill>
                <a:srgbClr val="343434"/>
              </a:solidFill>
            </a:endParaRPr>
          </a:p>
        </p:txBody>
      </p:sp>
      <p:sp>
        <p:nvSpPr>
          <p:cNvPr id="11" name="Espace réservé du pied de page 12"/>
          <p:cNvSpPr>
            <a:spLocks noGrp="1"/>
          </p:cNvSpPr>
          <p:nvPr>
            <p:ph type="ftr" sz="quarter" idx="21"/>
          </p:nvPr>
        </p:nvSpPr>
        <p:spPr/>
        <p:txBody>
          <a:bodyPr/>
          <a:lstStyle>
            <a:lvl1pPr>
              <a:defRPr/>
            </a:lvl1pPr>
          </a:lstStyle>
          <a:p>
            <a:pPr>
              <a:defRPr/>
            </a:pPr>
            <a:r>
              <a:rPr lang="en-US">
                <a:solidFill>
                  <a:srgbClr val="005CB9"/>
                </a:solidFill>
              </a:rPr>
              <a:t>#</a:t>
            </a:r>
            <a:r>
              <a:rPr lang="en-US" err="1">
                <a:solidFill>
                  <a:srgbClr val="005CB9"/>
                </a:solidFill>
              </a:rPr>
              <a:t>vaccineswork</a:t>
            </a:r>
            <a:endParaRPr lang="en-US">
              <a:solidFill>
                <a:srgbClr val="005CB9"/>
              </a:solidFill>
            </a:endParaRPr>
          </a:p>
        </p:txBody>
      </p:sp>
    </p:spTree>
    <p:extLst>
      <p:ext uri="{BB962C8B-B14F-4D97-AF65-F5344CB8AC3E}">
        <p14:creationId xmlns:p14="http://schemas.microsoft.com/office/powerpoint/2010/main" val="2746000034"/>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Picture_Layout">
    <p:spTree>
      <p:nvGrpSpPr>
        <p:cNvPr id="1" name=""/>
        <p:cNvGrpSpPr/>
        <p:nvPr/>
      </p:nvGrpSpPr>
      <p:grpSpPr>
        <a:xfrm>
          <a:off x="0" y="0"/>
          <a:ext cx="0" cy="0"/>
          <a:chOff x="0" y="0"/>
          <a:chExt cx="0" cy="0"/>
        </a:xfrm>
      </p:grpSpPr>
      <p:sp>
        <p:nvSpPr>
          <p:cNvPr id="2" name="Titre 1"/>
          <p:cNvSpPr>
            <a:spLocks noGrp="1"/>
          </p:cNvSpPr>
          <p:nvPr>
            <p:ph type="title"/>
          </p:nvPr>
        </p:nvSpPr>
        <p:spPr bwMode="gray"/>
        <p:txBody>
          <a:bodyPr/>
          <a:lstStyle/>
          <a:p>
            <a:r>
              <a:rPr lang="en-US" noProof="0"/>
              <a:t>Click to edit Master title style</a:t>
            </a:r>
          </a:p>
        </p:txBody>
      </p:sp>
      <p:sp>
        <p:nvSpPr>
          <p:cNvPr id="3" name="Espace réservé du contenu 2"/>
          <p:cNvSpPr>
            <a:spLocks noGrp="1"/>
          </p:cNvSpPr>
          <p:nvPr>
            <p:ph idx="1"/>
          </p:nvPr>
        </p:nvSpPr>
        <p:spPr bwMode="gray">
          <a:xfrm>
            <a:off x="3635896" y="1304925"/>
            <a:ext cx="4644504" cy="4716463"/>
          </a:xfrm>
        </p:spPr>
        <p:txBody>
          <a:bodyPr/>
          <a:lstStyle>
            <a:lvl2pPr>
              <a:defRPr/>
            </a:lvl2pPr>
            <a:lvl3pPr>
              <a:defRPr/>
            </a:lvl3pPr>
            <a:lvl4pPr>
              <a:defRPr baseline="0"/>
            </a:lvl4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Espace réservé pour une image  8"/>
          <p:cNvSpPr>
            <a:spLocks noGrp="1"/>
          </p:cNvSpPr>
          <p:nvPr>
            <p:ph type="pic" sz="quarter" idx="13"/>
          </p:nvPr>
        </p:nvSpPr>
        <p:spPr bwMode="gray">
          <a:xfrm>
            <a:off x="0" y="1341438"/>
            <a:ext cx="3419038" cy="4679950"/>
          </a:xfrm>
        </p:spPr>
        <p:txBody>
          <a:bodyPr tIns="1008000" rtlCol="0" anchor="ctr">
            <a:noAutofit/>
          </a:bodyPr>
          <a:lstStyle>
            <a:lvl1pPr algn="ctr">
              <a:defRPr/>
            </a:lvl1pPr>
          </a:lstStyle>
          <a:p>
            <a:pPr lvl="0"/>
            <a:r>
              <a:rPr lang="en-US" noProof="0"/>
              <a:t>Click icon to add picture</a:t>
            </a:r>
          </a:p>
        </p:txBody>
      </p:sp>
      <p:sp>
        <p:nvSpPr>
          <p:cNvPr id="5" name="Espace réservé de la date 3"/>
          <p:cNvSpPr>
            <a:spLocks noGrp="1"/>
          </p:cNvSpPr>
          <p:nvPr>
            <p:ph type="dt" sz="half" idx="14"/>
          </p:nvPr>
        </p:nvSpPr>
        <p:spPr/>
        <p:txBody>
          <a:bodyPr/>
          <a:lstStyle>
            <a:lvl1pPr>
              <a:defRPr/>
            </a:lvl1pPr>
          </a:lstStyle>
          <a:p>
            <a:pPr>
              <a:defRPr/>
            </a:pPr>
            <a:r>
              <a:rPr lang="en-US">
                <a:solidFill>
                  <a:prstClr val="white">
                    <a:alpha val="0"/>
                  </a:prstClr>
                </a:solidFill>
              </a:rPr>
              <a:t>Date</a:t>
            </a:r>
          </a:p>
        </p:txBody>
      </p:sp>
      <p:sp>
        <p:nvSpPr>
          <p:cNvPr id="6" name="Espace réservé du pied de page 4"/>
          <p:cNvSpPr>
            <a:spLocks noGrp="1"/>
          </p:cNvSpPr>
          <p:nvPr>
            <p:ph type="ftr" sz="quarter" idx="15"/>
          </p:nvPr>
        </p:nvSpPr>
        <p:spPr/>
        <p:txBody>
          <a:bodyPr/>
          <a:lstStyle>
            <a:lvl1pPr>
              <a:defRPr/>
            </a:lvl1pPr>
          </a:lstStyle>
          <a:p>
            <a:pPr>
              <a:defRPr/>
            </a:pPr>
            <a:r>
              <a:rPr lang="en-US">
                <a:solidFill>
                  <a:srgbClr val="005CB9"/>
                </a:solidFill>
              </a:rPr>
              <a:t>#</a:t>
            </a:r>
            <a:r>
              <a:rPr lang="en-US" err="1">
                <a:solidFill>
                  <a:srgbClr val="005CB9"/>
                </a:solidFill>
              </a:rPr>
              <a:t>vaccineswork</a:t>
            </a:r>
            <a:endParaRPr lang="en-US">
              <a:solidFill>
                <a:srgbClr val="005CB9"/>
              </a:solidFill>
            </a:endParaRPr>
          </a:p>
        </p:txBody>
      </p:sp>
      <p:sp>
        <p:nvSpPr>
          <p:cNvPr id="7" name="Espace réservé du numéro de diapositive 5"/>
          <p:cNvSpPr>
            <a:spLocks noGrp="1"/>
          </p:cNvSpPr>
          <p:nvPr>
            <p:ph type="sldNum" sz="quarter" idx="16"/>
          </p:nvPr>
        </p:nvSpPr>
        <p:spPr/>
        <p:txBody>
          <a:bodyPr/>
          <a:lstStyle>
            <a:lvl1pPr>
              <a:defRPr/>
            </a:lvl1pPr>
          </a:lstStyle>
          <a:p>
            <a:pPr>
              <a:defRPr/>
            </a:pPr>
            <a:fld id="{D8886677-8A24-41A7-8E0F-301076E1EA36}" type="slidenum">
              <a:rPr lang="en-US">
                <a:solidFill>
                  <a:srgbClr val="343434"/>
                </a:solidFill>
              </a:rPr>
              <a:pPr>
                <a:defRPr/>
              </a:pPr>
              <a:t>‹#›</a:t>
            </a:fld>
            <a:endParaRPr lang="en-US">
              <a:solidFill>
                <a:srgbClr val="343434"/>
              </a:solidFill>
            </a:endParaRPr>
          </a:p>
        </p:txBody>
      </p:sp>
    </p:spTree>
    <p:extLst>
      <p:ext uri="{BB962C8B-B14F-4D97-AF65-F5344CB8AC3E}">
        <p14:creationId xmlns:p14="http://schemas.microsoft.com/office/powerpoint/2010/main" val="3947137789"/>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ext&amp;Content_Layout">
    <p:spTree>
      <p:nvGrpSpPr>
        <p:cNvPr id="1" name=""/>
        <p:cNvGrpSpPr/>
        <p:nvPr/>
      </p:nvGrpSpPr>
      <p:grpSpPr>
        <a:xfrm>
          <a:off x="0" y="0"/>
          <a:ext cx="0" cy="0"/>
          <a:chOff x="0" y="0"/>
          <a:chExt cx="0" cy="0"/>
        </a:xfrm>
      </p:grpSpPr>
      <p:sp>
        <p:nvSpPr>
          <p:cNvPr id="2" name="Titre 1"/>
          <p:cNvSpPr>
            <a:spLocks noGrp="1"/>
          </p:cNvSpPr>
          <p:nvPr>
            <p:ph type="title"/>
          </p:nvPr>
        </p:nvSpPr>
        <p:spPr bwMode="gray"/>
        <p:txBody>
          <a:bodyPr/>
          <a:lstStyle/>
          <a:p>
            <a:r>
              <a:rPr lang="en-US" noProof="0"/>
              <a:t>Click to edit Master title style</a:t>
            </a:r>
          </a:p>
        </p:txBody>
      </p:sp>
      <p:sp>
        <p:nvSpPr>
          <p:cNvPr id="3" name="Espace réservé du contenu 2"/>
          <p:cNvSpPr>
            <a:spLocks noGrp="1"/>
          </p:cNvSpPr>
          <p:nvPr>
            <p:ph idx="1"/>
          </p:nvPr>
        </p:nvSpPr>
        <p:spPr bwMode="gray">
          <a:xfrm>
            <a:off x="935038" y="2781388"/>
            <a:ext cx="7345362" cy="3240000"/>
          </a:xfrm>
        </p:spPr>
        <p:txBody>
          <a:bodyPr/>
          <a:lstStyle>
            <a:lvl2pPr>
              <a:defRPr/>
            </a:lvl2pPr>
            <a:lvl3pPr>
              <a:defRPr/>
            </a:lvl3pPr>
            <a:lvl4pPr>
              <a:defRPr baseline="0"/>
            </a:lvl4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Espace réservé du texte 9"/>
          <p:cNvSpPr>
            <a:spLocks noGrp="1"/>
          </p:cNvSpPr>
          <p:nvPr>
            <p:ph type="body" sz="quarter" idx="13"/>
          </p:nvPr>
        </p:nvSpPr>
        <p:spPr bwMode="gray">
          <a:xfrm>
            <a:off x="935038" y="1304924"/>
            <a:ext cx="7345362" cy="126000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Espace réservé de la date 3"/>
          <p:cNvSpPr>
            <a:spLocks noGrp="1"/>
          </p:cNvSpPr>
          <p:nvPr>
            <p:ph type="dt" sz="half" idx="14"/>
          </p:nvPr>
        </p:nvSpPr>
        <p:spPr/>
        <p:txBody>
          <a:bodyPr/>
          <a:lstStyle>
            <a:lvl1pPr>
              <a:defRPr/>
            </a:lvl1pPr>
          </a:lstStyle>
          <a:p>
            <a:pPr>
              <a:defRPr/>
            </a:pPr>
            <a:r>
              <a:rPr lang="en-US">
                <a:solidFill>
                  <a:prstClr val="white">
                    <a:alpha val="0"/>
                  </a:prstClr>
                </a:solidFill>
              </a:rPr>
              <a:t>Date</a:t>
            </a:r>
          </a:p>
        </p:txBody>
      </p:sp>
      <p:sp>
        <p:nvSpPr>
          <p:cNvPr id="6" name="Espace réservé du pied de page 4"/>
          <p:cNvSpPr>
            <a:spLocks noGrp="1"/>
          </p:cNvSpPr>
          <p:nvPr>
            <p:ph type="ftr" sz="quarter" idx="15"/>
          </p:nvPr>
        </p:nvSpPr>
        <p:spPr/>
        <p:txBody>
          <a:bodyPr/>
          <a:lstStyle>
            <a:lvl1pPr>
              <a:defRPr/>
            </a:lvl1pPr>
          </a:lstStyle>
          <a:p>
            <a:pPr>
              <a:defRPr/>
            </a:pPr>
            <a:r>
              <a:rPr lang="en-US">
                <a:solidFill>
                  <a:srgbClr val="005CB9"/>
                </a:solidFill>
              </a:rPr>
              <a:t>#</a:t>
            </a:r>
            <a:r>
              <a:rPr lang="en-US" err="1">
                <a:solidFill>
                  <a:srgbClr val="005CB9"/>
                </a:solidFill>
              </a:rPr>
              <a:t>vaccineswork</a:t>
            </a:r>
            <a:endParaRPr lang="en-US">
              <a:solidFill>
                <a:srgbClr val="005CB9"/>
              </a:solidFill>
            </a:endParaRPr>
          </a:p>
        </p:txBody>
      </p:sp>
      <p:sp>
        <p:nvSpPr>
          <p:cNvPr id="7" name="Espace réservé du numéro de diapositive 5"/>
          <p:cNvSpPr>
            <a:spLocks noGrp="1"/>
          </p:cNvSpPr>
          <p:nvPr>
            <p:ph type="sldNum" sz="quarter" idx="16"/>
          </p:nvPr>
        </p:nvSpPr>
        <p:spPr/>
        <p:txBody>
          <a:bodyPr/>
          <a:lstStyle>
            <a:lvl1pPr>
              <a:defRPr/>
            </a:lvl1pPr>
          </a:lstStyle>
          <a:p>
            <a:pPr>
              <a:defRPr/>
            </a:pPr>
            <a:fld id="{8779425B-3CAA-48C9-9B95-57BAD5A3D82E}" type="slidenum">
              <a:rPr lang="en-US">
                <a:solidFill>
                  <a:srgbClr val="343434"/>
                </a:solidFill>
              </a:rPr>
              <a:pPr>
                <a:defRPr/>
              </a:pPr>
              <a:t>‹#›</a:t>
            </a:fld>
            <a:endParaRPr lang="en-US">
              <a:solidFill>
                <a:srgbClr val="343434"/>
              </a:solidFill>
            </a:endParaRPr>
          </a:p>
        </p:txBody>
      </p:sp>
    </p:spTree>
    <p:extLst>
      <p:ext uri="{BB962C8B-B14F-4D97-AF65-F5344CB8AC3E}">
        <p14:creationId xmlns:p14="http://schemas.microsoft.com/office/powerpoint/2010/main" val="18230885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
  <p:cSld name="Content_Layout">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p:txBody>
          <a:bodyPr/>
          <a:lstStyle/>
          <a:p>
            <a:r>
              <a:rPr lang="en-US" noProof="0"/>
              <a:t>TITLE</a:t>
            </a:r>
          </a:p>
        </p:txBody>
      </p:sp>
      <p:sp>
        <p:nvSpPr>
          <p:cNvPr id="3" name="Espace réservé du contenu 2"/>
          <p:cNvSpPr>
            <a:spLocks noGrp="1"/>
          </p:cNvSpPr>
          <p:nvPr>
            <p:ph idx="1" hasCustomPrompt="1"/>
          </p:nvPr>
        </p:nvSpPr>
        <p:spPr bwMode="gray">
          <a:xfrm>
            <a:off x="935038" y="1304925"/>
            <a:ext cx="7345362" cy="4716463"/>
          </a:xfrm>
        </p:spPr>
        <p:txBody>
          <a:bodyPr/>
          <a:lstStyle>
            <a:lvl2pPr>
              <a:defRPr/>
            </a:lvl2pPr>
            <a:lvl3pPr>
              <a:defRPr/>
            </a:lvl3pPr>
            <a:lvl4pPr>
              <a:defRPr baseline="0"/>
            </a:lvl4pPr>
            <a:lvl5pPr>
              <a:defRPr/>
            </a:lvl5pPr>
          </a:lstStyle>
          <a:p>
            <a:pPr lvl="0"/>
            <a:r>
              <a:rPr lang="en-US" noProof="0"/>
              <a:t>Text level 1</a:t>
            </a:r>
          </a:p>
          <a:p>
            <a:pPr lvl="1"/>
            <a:r>
              <a:rPr lang="en-US" noProof="0"/>
              <a:t>Text level 2</a:t>
            </a:r>
          </a:p>
          <a:p>
            <a:pPr lvl="2"/>
            <a:r>
              <a:rPr lang="en-US" noProof="0"/>
              <a:t>Text level 3</a:t>
            </a:r>
          </a:p>
          <a:p>
            <a:pPr lvl="3"/>
            <a:r>
              <a:rPr lang="en-US" noProof="0"/>
              <a:t>Text level 4</a:t>
            </a:r>
          </a:p>
          <a:p>
            <a:pPr lvl="4"/>
            <a:r>
              <a:rPr lang="en-US" noProof="0"/>
              <a:t>Text level 5</a:t>
            </a:r>
          </a:p>
        </p:txBody>
      </p:sp>
      <p:sp>
        <p:nvSpPr>
          <p:cNvPr id="13" name="Espace réservé de la date 12"/>
          <p:cNvSpPr>
            <a:spLocks noGrp="1"/>
          </p:cNvSpPr>
          <p:nvPr>
            <p:ph type="dt" sz="half" idx="10"/>
          </p:nvPr>
        </p:nvSpPr>
        <p:spPr bwMode="gray"/>
        <p:txBody>
          <a:bodyPr/>
          <a:lstStyle/>
          <a:p>
            <a:r>
              <a:rPr lang="en-US" noProof="0"/>
              <a:t>Date</a:t>
            </a:r>
          </a:p>
        </p:txBody>
      </p:sp>
      <p:sp>
        <p:nvSpPr>
          <p:cNvPr id="14" name="Espace réservé du numéro de diapositive 13"/>
          <p:cNvSpPr>
            <a:spLocks noGrp="1"/>
          </p:cNvSpPr>
          <p:nvPr>
            <p:ph type="sldNum" sz="quarter" idx="11"/>
          </p:nvPr>
        </p:nvSpPr>
        <p:spPr bwMode="gray"/>
        <p:txBody>
          <a:bodyPr/>
          <a:lstStyle/>
          <a:p>
            <a:fld id="{733122C9-A0B9-462F-8757-0847AD287B63}" type="slidenum">
              <a:rPr lang="en-US" noProof="0" smtClean="0"/>
              <a:pPr/>
              <a:t>‹#›</a:t>
            </a:fld>
            <a:endParaRPr lang="en-US" noProof="0"/>
          </a:p>
        </p:txBody>
      </p:sp>
      <p:sp>
        <p:nvSpPr>
          <p:cNvPr id="15" name="Espace réservé du pied de page 14"/>
          <p:cNvSpPr>
            <a:spLocks noGrp="1"/>
          </p:cNvSpPr>
          <p:nvPr>
            <p:ph type="ftr" sz="quarter" idx="12"/>
          </p:nvPr>
        </p:nvSpPr>
        <p:spPr bwMode="gray"/>
        <p:txBody>
          <a:bodyPr/>
          <a:lstStyle/>
          <a:p>
            <a:r>
              <a:rPr lang="en-US" noProof="0"/>
              <a:t>#add your hashtag</a:t>
            </a:r>
          </a:p>
        </p:txBody>
      </p:sp>
    </p:spTree>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hank_you_1">
    <p:spTree>
      <p:nvGrpSpPr>
        <p:cNvPr id="1" name=""/>
        <p:cNvGrpSpPr/>
        <p:nvPr/>
      </p:nvGrpSpPr>
      <p:grpSpPr>
        <a:xfrm>
          <a:off x="0" y="0"/>
          <a:ext cx="0" cy="0"/>
          <a:chOff x="0" y="0"/>
          <a:chExt cx="0" cy="0"/>
        </a:xfrm>
      </p:grpSpPr>
      <p:pic>
        <p:nvPicPr>
          <p:cNvPr id="5" name="Image 18" descr="FD_1_L254.png"/>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gray">
          <a:xfrm>
            <a:off x="0" y="0"/>
            <a:ext cx="9144000" cy="51577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6" name="Rectangle 5"/>
          <p:cNvSpPr/>
          <p:nvPr userDrawn="1"/>
        </p:nvSpPr>
        <p:spPr bwMode="gray">
          <a:xfrm>
            <a:off x="3635375" y="5265738"/>
            <a:ext cx="5508625" cy="15922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prstClr val="white"/>
              </a:solidFill>
            </a:endParaRPr>
          </a:p>
        </p:txBody>
      </p:sp>
      <p:pic>
        <p:nvPicPr>
          <p:cNvPr id="7" name="Image 19" descr="Bas_couv.png"/>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gray">
          <a:xfrm>
            <a:off x="0" y="5172075"/>
            <a:ext cx="3635375" cy="16859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8" name="Rectangle 7"/>
          <p:cNvSpPr/>
          <p:nvPr userDrawn="1"/>
        </p:nvSpPr>
        <p:spPr bwMode="gray">
          <a:xfrm>
            <a:off x="3635375" y="6354763"/>
            <a:ext cx="5113338" cy="2873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p>
            <a:pPr algn="r">
              <a:defRPr/>
            </a:pPr>
            <a:r>
              <a:rPr lang="en-US" sz="1000" err="1">
                <a:solidFill>
                  <a:srgbClr val="95D600"/>
                </a:solidFill>
              </a:rPr>
              <a:t>www.gavi.org</a:t>
            </a:r>
            <a:endParaRPr lang="en-US" sz="1000">
              <a:solidFill>
                <a:srgbClr val="95D600"/>
              </a:solidFill>
            </a:endParaRPr>
          </a:p>
        </p:txBody>
      </p:sp>
      <p:cxnSp>
        <p:nvCxnSpPr>
          <p:cNvPr id="10" name="Connecteur droit 13"/>
          <p:cNvCxnSpPr/>
          <p:nvPr userDrawn="1"/>
        </p:nvCxnSpPr>
        <p:spPr bwMode="gray">
          <a:xfrm flipH="1">
            <a:off x="468313" y="3400425"/>
            <a:ext cx="2447925" cy="0"/>
          </a:xfrm>
          <a:prstGeom prst="line">
            <a:avLst/>
          </a:prstGeom>
          <a:ln w="24130">
            <a:solidFill>
              <a:schemeClr val="accent1"/>
            </a:solidFill>
          </a:ln>
        </p:spPr>
        <p:style>
          <a:lnRef idx="1">
            <a:schemeClr val="accent1"/>
          </a:lnRef>
          <a:fillRef idx="0">
            <a:schemeClr val="accent1"/>
          </a:fillRef>
          <a:effectRef idx="0">
            <a:schemeClr val="accent1"/>
          </a:effectRef>
          <a:fontRef idx="minor">
            <a:schemeClr val="tx1"/>
          </a:fontRef>
        </p:style>
      </p:cxnSp>
      <p:sp>
        <p:nvSpPr>
          <p:cNvPr id="9" name="Espace réservé du texte 8"/>
          <p:cNvSpPr>
            <a:spLocks noGrp="1"/>
          </p:cNvSpPr>
          <p:nvPr>
            <p:ph type="body" sz="quarter" idx="13"/>
          </p:nvPr>
        </p:nvSpPr>
        <p:spPr bwMode="gray">
          <a:xfrm>
            <a:off x="468314" y="1036638"/>
            <a:ext cx="4824412" cy="2242966"/>
          </a:xfrm>
        </p:spPr>
        <p:txBody>
          <a:bodyPr anchor="b"/>
          <a:lstStyle>
            <a:lvl1pPr marL="0" indent="0" algn="l">
              <a:lnSpc>
                <a:spcPct val="90000"/>
              </a:lnSpc>
              <a:buNone/>
              <a:defRPr sz="2800" b="1" cap="none" baseline="0">
                <a:solidFill>
                  <a:schemeClr val="bg1"/>
                </a:solidFill>
              </a:defRPr>
            </a:lvl1pPr>
            <a:lvl2pPr marL="0" algn="ctr">
              <a:lnSpc>
                <a:spcPct val="100000"/>
              </a:lnSpc>
              <a:spcBef>
                <a:spcPts val="6900"/>
              </a:spcBef>
              <a:defRPr sz="2000" b="1">
                <a:solidFill>
                  <a:schemeClr val="bg1"/>
                </a:solidFill>
              </a:defRPr>
            </a:lvl2pPr>
          </a:lstStyle>
          <a:p>
            <a:pPr lvl="0"/>
            <a:r>
              <a:rPr lang="en-US" noProof="0"/>
              <a:t>Click to edit Master text styles</a:t>
            </a:r>
          </a:p>
        </p:txBody>
      </p:sp>
      <p:sp>
        <p:nvSpPr>
          <p:cNvPr id="15" name="Espace réservé du texte 14"/>
          <p:cNvSpPr>
            <a:spLocks noGrp="1"/>
          </p:cNvSpPr>
          <p:nvPr>
            <p:ph type="body" sz="quarter" idx="19"/>
          </p:nvPr>
        </p:nvSpPr>
        <p:spPr bwMode="gray">
          <a:xfrm>
            <a:off x="3635376" y="6021388"/>
            <a:ext cx="5113338" cy="324000"/>
          </a:xfrm>
        </p:spPr>
        <p:txBody>
          <a:bodyPr anchor="b"/>
          <a:lstStyle>
            <a:lvl1pPr algn="r">
              <a:lnSpc>
                <a:spcPct val="100000"/>
              </a:lnSpc>
              <a:defRPr sz="1000" b="1">
                <a:solidFill>
                  <a:schemeClr val="accent3"/>
                </a:solidFill>
              </a:defRPr>
            </a:lvl1pPr>
          </a:lstStyle>
          <a:p>
            <a:pPr lvl="0"/>
            <a:r>
              <a:rPr lang="en-US" noProof="0"/>
              <a:t>Click to edit Master text styles</a:t>
            </a:r>
          </a:p>
        </p:txBody>
      </p:sp>
      <p:sp>
        <p:nvSpPr>
          <p:cNvPr id="13" name="Espace réservé pour une image  17"/>
          <p:cNvSpPr>
            <a:spLocks noGrp="1"/>
          </p:cNvSpPr>
          <p:nvPr>
            <p:ph type="pic" sz="quarter" idx="18"/>
          </p:nvPr>
        </p:nvSpPr>
        <p:spPr bwMode="gray">
          <a:xfrm>
            <a:off x="4192588" y="0"/>
            <a:ext cx="4951412" cy="5162400"/>
          </a:xfrm>
          <a:custGeom>
            <a:avLst/>
            <a:gdLst>
              <a:gd name="connsiteX0" fmla="*/ 0 w 3851275"/>
              <a:gd name="connsiteY0" fmla="*/ 0 h 5157788"/>
              <a:gd name="connsiteX1" fmla="*/ 3851275 w 3851275"/>
              <a:gd name="connsiteY1" fmla="*/ 0 h 5157788"/>
              <a:gd name="connsiteX2" fmla="*/ 3851275 w 3851275"/>
              <a:gd name="connsiteY2" fmla="*/ 5157788 h 5157788"/>
              <a:gd name="connsiteX3" fmla="*/ 0 w 3851275"/>
              <a:gd name="connsiteY3" fmla="*/ 5157788 h 5157788"/>
              <a:gd name="connsiteX4" fmla="*/ 0 w 3851275"/>
              <a:gd name="connsiteY4"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0 w 3851275"/>
              <a:gd name="connsiteY3" fmla="*/ 5157788 h 5157788"/>
              <a:gd name="connsiteX4" fmla="*/ 1692275 w 3851275"/>
              <a:gd name="connsiteY4" fmla="*/ 0 h 5157788"/>
              <a:gd name="connsiteX0" fmla="*/ 0 w 2159000"/>
              <a:gd name="connsiteY0" fmla="*/ 0 h 5157788"/>
              <a:gd name="connsiteX1" fmla="*/ 2159000 w 2159000"/>
              <a:gd name="connsiteY1" fmla="*/ 0 h 5157788"/>
              <a:gd name="connsiteX2" fmla="*/ 2159000 w 2159000"/>
              <a:gd name="connsiteY2" fmla="*/ 5157788 h 5157788"/>
              <a:gd name="connsiteX3" fmla="*/ 0 w 2159000"/>
              <a:gd name="connsiteY3" fmla="*/ 5157788 h 5157788"/>
              <a:gd name="connsiteX4" fmla="*/ 0 w 2159000"/>
              <a:gd name="connsiteY4" fmla="*/ 0 h 5157788"/>
              <a:gd name="connsiteX0" fmla="*/ 2625271 w 4784271"/>
              <a:gd name="connsiteY0" fmla="*/ 0 h 5157788"/>
              <a:gd name="connsiteX1" fmla="*/ 4784271 w 4784271"/>
              <a:gd name="connsiteY1" fmla="*/ 0 h 5157788"/>
              <a:gd name="connsiteX2" fmla="*/ 4784271 w 4784271"/>
              <a:gd name="connsiteY2" fmla="*/ 5157788 h 5157788"/>
              <a:gd name="connsiteX3" fmla="*/ 2625271 w 4784271"/>
              <a:gd name="connsiteY3" fmla="*/ 5157788 h 5157788"/>
              <a:gd name="connsiteX4" fmla="*/ 2625271 w 4784271"/>
              <a:gd name="connsiteY4" fmla="*/ 0 h 5157788"/>
              <a:gd name="connsiteX0" fmla="*/ 2625271 w 4784271"/>
              <a:gd name="connsiteY0" fmla="*/ 0 h 5157788"/>
              <a:gd name="connsiteX1" fmla="*/ 4784271 w 4784271"/>
              <a:gd name="connsiteY1" fmla="*/ 0 h 5157788"/>
              <a:gd name="connsiteX2" fmla="*/ 4784271 w 4784271"/>
              <a:gd name="connsiteY2" fmla="*/ 5157788 h 5157788"/>
              <a:gd name="connsiteX3" fmla="*/ 2625271 w 4784271"/>
              <a:gd name="connsiteY3" fmla="*/ 5157788 h 5157788"/>
              <a:gd name="connsiteX4" fmla="*/ 2625271 w 4784271"/>
              <a:gd name="connsiteY4" fmla="*/ 0 h 5157788"/>
              <a:gd name="connsiteX0" fmla="*/ 3568576 w 5727576"/>
              <a:gd name="connsiteY0" fmla="*/ 0 h 5157788"/>
              <a:gd name="connsiteX1" fmla="*/ 5727576 w 5727576"/>
              <a:gd name="connsiteY1" fmla="*/ 0 h 5157788"/>
              <a:gd name="connsiteX2" fmla="*/ 5727576 w 5727576"/>
              <a:gd name="connsiteY2" fmla="*/ 5157788 h 5157788"/>
              <a:gd name="connsiteX3" fmla="*/ 3568576 w 5727576"/>
              <a:gd name="connsiteY3" fmla="*/ 5157788 h 5157788"/>
              <a:gd name="connsiteX4" fmla="*/ 3568576 w 5727576"/>
              <a:gd name="connsiteY4" fmla="*/ 0 h 5157788"/>
              <a:gd name="connsiteX0" fmla="*/ 3306355 w 5465355"/>
              <a:gd name="connsiteY0" fmla="*/ 0 h 5157788"/>
              <a:gd name="connsiteX1" fmla="*/ 5465355 w 5465355"/>
              <a:gd name="connsiteY1" fmla="*/ 0 h 5157788"/>
              <a:gd name="connsiteX2" fmla="*/ 5465355 w 5465355"/>
              <a:gd name="connsiteY2" fmla="*/ 5157788 h 5157788"/>
              <a:gd name="connsiteX3" fmla="*/ 3306355 w 5465355"/>
              <a:gd name="connsiteY3" fmla="*/ 5157788 h 5157788"/>
              <a:gd name="connsiteX4" fmla="*/ 3306355 w 5465355"/>
              <a:gd name="connsiteY4" fmla="*/ 0 h 5157788"/>
              <a:gd name="connsiteX0" fmla="*/ 1416957 w 3575957"/>
              <a:gd name="connsiteY0" fmla="*/ 0 h 5157788"/>
              <a:gd name="connsiteX1" fmla="*/ 3575957 w 3575957"/>
              <a:gd name="connsiteY1" fmla="*/ 0 h 5157788"/>
              <a:gd name="connsiteX2" fmla="*/ 3575957 w 3575957"/>
              <a:gd name="connsiteY2" fmla="*/ 5157788 h 5157788"/>
              <a:gd name="connsiteX3" fmla="*/ 1416957 w 3575957"/>
              <a:gd name="connsiteY3" fmla="*/ 5157788 h 5157788"/>
              <a:gd name="connsiteX4" fmla="*/ 0 w 3575957"/>
              <a:gd name="connsiteY4" fmla="*/ 3339193 h 5157788"/>
              <a:gd name="connsiteX5" fmla="*/ 1416957 w 3575957"/>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6017419"/>
              <a:gd name="connsiteX1" fmla="*/ 3851275 w 3851275"/>
              <a:gd name="connsiteY1" fmla="*/ 0 h 6017419"/>
              <a:gd name="connsiteX2" fmla="*/ 3851275 w 3851275"/>
              <a:gd name="connsiteY2" fmla="*/ 5157788 h 6017419"/>
              <a:gd name="connsiteX3" fmla="*/ 1692275 w 3851275"/>
              <a:gd name="connsiteY3" fmla="*/ 5157788 h 6017419"/>
              <a:gd name="connsiteX4" fmla="*/ 0 w 3851275"/>
              <a:gd name="connsiteY4" fmla="*/ 3284984 h 6017419"/>
              <a:gd name="connsiteX5" fmla="*/ 1692275 w 3851275"/>
              <a:gd name="connsiteY5" fmla="*/ 0 h 6017419"/>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429000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429000 h 5157788"/>
              <a:gd name="connsiteX5" fmla="*/ 1710871 w 3869871"/>
              <a:gd name="connsiteY5" fmla="*/ 0 h 5157788"/>
              <a:gd name="connsiteX0" fmla="*/ 1704975 w 3863975"/>
              <a:gd name="connsiteY0" fmla="*/ 0 h 5157788"/>
              <a:gd name="connsiteX1" fmla="*/ 3863975 w 3863975"/>
              <a:gd name="connsiteY1" fmla="*/ 0 h 5157788"/>
              <a:gd name="connsiteX2" fmla="*/ 3863975 w 3863975"/>
              <a:gd name="connsiteY2" fmla="*/ 5157788 h 5157788"/>
              <a:gd name="connsiteX3" fmla="*/ 1704975 w 3863975"/>
              <a:gd name="connsiteY3" fmla="*/ 5157788 h 5157788"/>
              <a:gd name="connsiteX4" fmla="*/ 12700 w 3863975"/>
              <a:gd name="connsiteY4" fmla="*/ 3429000 h 5157788"/>
              <a:gd name="connsiteX5" fmla="*/ 1704975 w 3863975"/>
              <a:gd name="connsiteY5" fmla="*/ 0 h 5157788"/>
              <a:gd name="connsiteX0" fmla="*/ 1707243 w 3866243"/>
              <a:gd name="connsiteY0" fmla="*/ 0 h 5157788"/>
              <a:gd name="connsiteX1" fmla="*/ 3866243 w 3866243"/>
              <a:gd name="connsiteY1" fmla="*/ 0 h 5157788"/>
              <a:gd name="connsiteX2" fmla="*/ 3866243 w 3866243"/>
              <a:gd name="connsiteY2" fmla="*/ 5157788 h 5157788"/>
              <a:gd name="connsiteX3" fmla="*/ 1707243 w 3866243"/>
              <a:gd name="connsiteY3" fmla="*/ 5157788 h 5157788"/>
              <a:gd name="connsiteX4" fmla="*/ 14968 w 3866243"/>
              <a:gd name="connsiteY4" fmla="*/ 3429000 h 5157788"/>
              <a:gd name="connsiteX5" fmla="*/ 1707243 w 3866243"/>
              <a:gd name="connsiteY5" fmla="*/ 0 h 5157788"/>
              <a:gd name="connsiteX0" fmla="*/ 1130447 w 3866243"/>
              <a:gd name="connsiteY0" fmla="*/ 0 h 5157788"/>
              <a:gd name="connsiteX1" fmla="*/ 3866243 w 3866243"/>
              <a:gd name="connsiteY1" fmla="*/ 0 h 5157788"/>
              <a:gd name="connsiteX2" fmla="*/ 3866243 w 3866243"/>
              <a:gd name="connsiteY2" fmla="*/ 5157788 h 5157788"/>
              <a:gd name="connsiteX3" fmla="*/ 1707243 w 3866243"/>
              <a:gd name="connsiteY3" fmla="*/ 5157788 h 5157788"/>
              <a:gd name="connsiteX4" fmla="*/ 14968 w 3866243"/>
              <a:gd name="connsiteY4" fmla="*/ 3429000 h 5157788"/>
              <a:gd name="connsiteX5" fmla="*/ 1130447 w 3866243"/>
              <a:gd name="connsiteY5" fmla="*/ 0 h 5157788"/>
              <a:gd name="connsiteX0" fmla="*/ 2746143 w 5481939"/>
              <a:gd name="connsiteY0" fmla="*/ 0 h 5157788"/>
              <a:gd name="connsiteX1" fmla="*/ 5481939 w 5481939"/>
              <a:gd name="connsiteY1" fmla="*/ 0 h 5157788"/>
              <a:gd name="connsiteX2" fmla="*/ 5481939 w 5481939"/>
              <a:gd name="connsiteY2" fmla="*/ 5157788 h 5157788"/>
              <a:gd name="connsiteX3" fmla="*/ 585903 w 5481939"/>
              <a:gd name="connsiteY3" fmla="*/ 5153180 h 5157788"/>
              <a:gd name="connsiteX4" fmla="*/ 1630664 w 5481939"/>
              <a:gd name="connsiteY4" fmla="*/ 3429000 h 5157788"/>
              <a:gd name="connsiteX5" fmla="*/ 2746143 w 5481939"/>
              <a:gd name="connsiteY5" fmla="*/ 0 h 5157788"/>
              <a:gd name="connsiteX0" fmla="*/ 2746143 w 5481939"/>
              <a:gd name="connsiteY0" fmla="*/ 0 h 5157788"/>
              <a:gd name="connsiteX1" fmla="*/ 5481939 w 5481939"/>
              <a:gd name="connsiteY1" fmla="*/ 0 h 5157788"/>
              <a:gd name="connsiteX2" fmla="*/ 5481939 w 5481939"/>
              <a:gd name="connsiteY2" fmla="*/ 5157788 h 5157788"/>
              <a:gd name="connsiteX3" fmla="*/ 585903 w 5481939"/>
              <a:gd name="connsiteY3" fmla="*/ 5153180 h 5157788"/>
              <a:gd name="connsiteX4" fmla="*/ 1630664 w 5481939"/>
              <a:gd name="connsiteY4" fmla="*/ 3429000 h 5157788"/>
              <a:gd name="connsiteX5" fmla="*/ 2746143 w 548193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3574235 w 6310031"/>
              <a:gd name="connsiteY0" fmla="*/ 0 h 5157788"/>
              <a:gd name="connsiteX1" fmla="*/ 6310031 w 6310031"/>
              <a:gd name="connsiteY1" fmla="*/ 0 h 5157788"/>
              <a:gd name="connsiteX2" fmla="*/ 6310031 w 6310031"/>
              <a:gd name="connsiteY2" fmla="*/ 5157788 h 5157788"/>
              <a:gd name="connsiteX3" fmla="*/ 585903 w 6310031"/>
              <a:gd name="connsiteY3" fmla="*/ 5153180 h 5157788"/>
              <a:gd name="connsiteX4" fmla="*/ 1738031 w 6310031"/>
              <a:gd name="connsiteY4" fmla="*/ 3389965 h 5157788"/>
              <a:gd name="connsiteX5" fmla="*/ 3574235 w 6310031"/>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296143 w 5724128"/>
              <a:gd name="connsiteY4" fmla="*/ 3461908 h 5157788"/>
              <a:gd name="connsiteX5" fmla="*/ 2988332 w 5724128"/>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1188132 w 5760132"/>
              <a:gd name="connsiteY4" fmla="*/ 3425937 h 5157788"/>
              <a:gd name="connsiteX5" fmla="*/ 3024336 w 5760132"/>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2736304 w 5760132"/>
              <a:gd name="connsiteY4" fmla="*/ 3461908 h 5157788"/>
              <a:gd name="connsiteX5" fmla="*/ 3024336 w 5760132"/>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2736304 w 5760132"/>
              <a:gd name="connsiteY4" fmla="*/ 3461908 h 5157788"/>
              <a:gd name="connsiteX5" fmla="*/ 3024336 w 5760132"/>
              <a:gd name="connsiteY5" fmla="*/ 0 h 5157788"/>
              <a:gd name="connsiteX0" fmla="*/ 2160240 w 4896036"/>
              <a:gd name="connsiteY0" fmla="*/ 0 h 5157788"/>
              <a:gd name="connsiteX1" fmla="*/ 4896036 w 4896036"/>
              <a:gd name="connsiteY1" fmla="*/ 0 h 5157788"/>
              <a:gd name="connsiteX2" fmla="*/ 4896036 w 4896036"/>
              <a:gd name="connsiteY2" fmla="*/ 5157788 h 5157788"/>
              <a:gd name="connsiteX3" fmla="*/ 0 w 4896036"/>
              <a:gd name="connsiteY3" fmla="*/ 5153180 h 5157788"/>
              <a:gd name="connsiteX4" fmla="*/ 1872208 w 4896036"/>
              <a:gd name="connsiteY4" fmla="*/ 3461908 h 5157788"/>
              <a:gd name="connsiteX5" fmla="*/ 2160240 w 4896036"/>
              <a:gd name="connsiteY5" fmla="*/ 0 h 5157788"/>
              <a:gd name="connsiteX0" fmla="*/ 2232248 w 4968044"/>
              <a:gd name="connsiteY0" fmla="*/ 0 h 5157788"/>
              <a:gd name="connsiteX1" fmla="*/ 4968044 w 4968044"/>
              <a:gd name="connsiteY1" fmla="*/ 0 h 5157788"/>
              <a:gd name="connsiteX2" fmla="*/ 4968044 w 4968044"/>
              <a:gd name="connsiteY2" fmla="*/ 5157788 h 5157788"/>
              <a:gd name="connsiteX3" fmla="*/ 0 w 4968044"/>
              <a:gd name="connsiteY3" fmla="*/ 5153180 h 5157788"/>
              <a:gd name="connsiteX4" fmla="*/ 1944216 w 4968044"/>
              <a:gd name="connsiteY4" fmla="*/ 3461908 h 5157788"/>
              <a:gd name="connsiteX5" fmla="*/ 2232248 w 4968044"/>
              <a:gd name="connsiteY5" fmla="*/ 0 h 5157788"/>
              <a:gd name="connsiteX0" fmla="*/ 2207679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207679 w 4943475"/>
              <a:gd name="connsiteY5" fmla="*/ 0 h 5157788"/>
              <a:gd name="connsiteX0" fmla="*/ 2963763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963763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092200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71575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343583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675731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675731 w 4943475"/>
              <a:gd name="connsiteY5" fmla="*/ 0 h 5157788"/>
              <a:gd name="connsiteX0" fmla="*/ 2675731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675731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9672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19672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51412" h="5157788">
                <a:moveTo>
                  <a:pt x="2706687" y="0"/>
                </a:moveTo>
                <a:lnTo>
                  <a:pt x="4951412" y="0"/>
                </a:lnTo>
                <a:lnTo>
                  <a:pt x="4951412" y="5157788"/>
                </a:lnTo>
                <a:lnTo>
                  <a:pt x="0" y="5153180"/>
                </a:lnTo>
                <a:cubicBezTo>
                  <a:pt x="84411" y="4542509"/>
                  <a:pt x="183041" y="4024723"/>
                  <a:pt x="1243508" y="2562613"/>
                </a:cubicBezTo>
                <a:cubicBezTo>
                  <a:pt x="1867447" y="1704780"/>
                  <a:pt x="2665955" y="709265"/>
                  <a:pt x="2706687" y="0"/>
                </a:cubicBezTo>
                <a:close/>
              </a:path>
            </a:pathLst>
          </a:custGeom>
          <a:solidFill>
            <a:schemeClr val="bg2"/>
          </a:solidFill>
          <a:ln w="3175">
            <a:noFill/>
          </a:ln>
        </p:spPr>
        <p:txBody>
          <a:bodyPr tIns="720000" rtlCol="0" anchor="ctr">
            <a:noAutofit/>
          </a:bodyPr>
          <a:lstStyle>
            <a:lvl1pPr algn="ctr">
              <a:defRPr sz="1500">
                <a:solidFill>
                  <a:schemeClr val="bg1"/>
                </a:solidFill>
              </a:defRPr>
            </a:lvl1pPr>
          </a:lstStyle>
          <a:p>
            <a:pPr lvl="0"/>
            <a:r>
              <a:rPr lang="en-US" noProof="0"/>
              <a:t>Click icon to add picture</a:t>
            </a:r>
          </a:p>
        </p:txBody>
      </p:sp>
      <p:sp>
        <p:nvSpPr>
          <p:cNvPr id="11" name="Espace réservé de la date 9"/>
          <p:cNvSpPr>
            <a:spLocks noGrp="1"/>
          </p:cNvSpPr>
          <p:nvPr>
            <p:ph type="dt" sz="half" idx="20"/>
          </p:nvPr>
        </p:nvSpPr>
        <p:spPr/>
        <p:txBody>
          <a:bodyPr/>
          <a:lstStyle>
            <a:lvl1pPr>
              <a:defRPr/>
            </a:lvl1pPr>
          </a:lstStyle>
          <a:p>
            <a:pPr>
              <a:defRPr/>
            </a:pPr>
            <a:r>
              <a:rPr lang="en-US">
                <a:solidFill>
                  <a:prstClr val="white">
                    <a:alpha val="0"/>
                  </a:prstClr>
                </a:solidFill>
              </a:rPr>
              <a:t>Date</a:t>
            </a:r>
          </a:p>
        </p:txBody>
      </p:sp>
      <p:sp>
        <p:nvSpPr>
          <p:cNvPr id="12" name="Espace réservé du numéro de diapositive 10"/>
          <p:cNvSpPr>
            <a:spLocks noGrp="1"/>
          </p:cNvSpPr>
          <p:nvPr>
            <p:ph type="sldNum" sz="quarter" idx="21"/>
          </p:nvPr>
        </p:nvSpPr>
        <p:spPr/>
        <p:txBody>
          <a:bodyPr/>
          <a:lstStyle>
            <a:lvl1pPr>
              <a:defRPr sz="100">
                <a:solidFill>
                  <a:schemeClr val="bg1">
                    <a:alpha val="0"/>
                  </a:schemeClr>
                </a:solidFill>
              </a:defRPr>
            </a:lvl1pPr>
          </a:lstStyle>
          <a:p>
            <a:pPr>
              <a:defRPr/>
            </a:pPr>
            <a:r>
              <a:rPr lang="en-US">
                <a:solidFill>
                  <a:prstClr val="white">
                    <a:alpha val="0"/>
                  </a:prstClr>
                </a:solidFill>
              </a:rPr>
              <a:t>Page: </a:t>
            </a:r>
            <a:fld id="{4AF4F797-1FBC-44F9-B7CF-6A5F893B852E}" type="slidenum">
              <a:rPr lang="en-US">
                <a:solidFill>
                  <a:prstClr val="white">
                    <a:alpha val="0"/>
                  </a:prstClr>
                </a:solidFill>
              </a:rPr>
              <a:pPr>
                <a:defRPr/>
              </a:pPr>
              <a:t>‹#›</a:t>
            </a:fld>
            <a:endParaRPr lang="en-US">
              <a:solidFill>
                <a:prstClr val="white">
                  <a:alpha val="0"/>
                </a:prstClr>
              </a:solidFill>
            </a:endParaRPr>
          </a:p>
        </p:txBody>
      </p:sp>
      <p:sp>
        <p:nvSpPr>
          <p:cNvPr id="14" name="Espace réservé du pied de page 11"/>
          <p:cNvSpPr>
            <a:spLocks noGrp="1"/>
          </p:cNvSpPr>
          <p:nvPr>
            <p:ph type="ftr" sz="quarter" idx="22"/>
          </p:nvPr>
        </p:nvSpPr>
        <p:spPr>
          <a:xfrm>
            <a:off x="468313" y="523875"/>
            <a:ext cx="4824412" cy="360363"/>
          </a:xfrm>
        </p:spPr>
        <p:txBody>
          <a:bodyPr/>
          <a:lstStyle>
            <a:lvl1pPr algn="l">
              <a:defRPr sz="1800" b="0">
                <a:solidFill>
                  <a:schemeClr val="bg1"/>
                </a:solidFill>
              </a:defRPr>
            </a:lvl1pPr>
          </a:lstStyle>
          <a:p>
            <a:pPr>
              <a:defRPr/>
            </a:pPr>
            <a:r>
              <a:rPr lang="en-US">
                <a:solidFill>
                  <a:prstClr val="white"/>
                </a:solidFill>
              </a:rPr>
              <a:t>#</a:t>
            </a:r>
            <a:r>
              <a:rPr lang="en-US" err="1">
                <a:solidFill>
                  <a:prstClr val="white"/>
                </a:solidFill>
              </a:rPr>
              <a:t>vaccineswork</a:t>
            </a:r>
            <a:endParaRPr lang="en-US">
              <a:solidFill>
                <a:prstClr val="white"/>
              </a:solidFill>
            </a:endParaRPr>
          </a:p>
        </p:txBody>
      </p:sp>
    </p:spTree>
    <p:extLst>
      <p:ext uri="{BB962C8B-B14F-4D97-AF65-F5344CB8AC3E}">
        <p14:creationId xmlns:p14="http://schemas.microsoft.com/office/powerpoint/2010/main" val="22291065"/>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hank_you_2">
    <p:spTree>
      <p:nvGrpSpPr>
        <p:cNvPr id="1" name=""/>
        <p:cNvGrpSpPr/>
        <p:nvPr/>
      </p:nvGrpSpPr>
      <p:grpSpPr>
        <a:xfrm>
          <a:off x="0" y="0"/>
          <a:ext cx="0" cy="0"/>
          <a:chOff x="0" y="0"/>
          <a:chExt cx="0" cy="0"/>
        </a:xfrm>
      </p:grpSpPr>
      <p:sp>
        <p:nvSpPr>
          <p:cNvPr id="5" name="Rectangle 4"/>
          <p:cNvSpPr/>
          <p:nvPr userDrawn="1"/>
        </p:nvSpPr>
        <p:spPr bwMode="gray">
          <a:xfrm>
            <a:off x="3635375" y="5265738"/>
            <a:ext cx="5508625" cy="15922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prstClr val="white"/>
              </a:solidFill>
            </a:endParaRPr>
          </a:p>
        </p:txBody>
      </p:sp>
      <p:pic>
        <p:nvPicPr>
          <p:cNvPr id="6" name="Image 20" descr="FD_1_L254.png"/>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gray">
          <a:xfrm>
            <a:off x="0" y="0"/>
            <a:ext cx="9144000" cy="51577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7" name="Image 19" descr="Bas_couv.png"/>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gray">
          <a:xfrm>
            <a:off x="0" y="5172075"/>
            <a:ext cx="3635375" cy="16859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8" name="Rectangle 7"/>
          <p:cNvSpPr/>
          <p:nvPr userDrawn="1"/>
        </p:nvSpPr>
        <p:spPr bwMode="gray">
          <a:xfrm>
            <a:off x="3635375" y="6354763"/>
            <a:ext cx="5113338" cy="2873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p>
            <a:pPr algn="r">
              <a:defRPr/>
            </a:pPr>
            <a:r>
              <a:rPr lang="en-US" sz="1000" err="1">
                <a:solidFill>
                  <a:srgbClr val="95D600"/>
                </a:solidFill>
              </a:rPr>
              <a:t>www.gavi.org</a:t>
            </a:r>
            <a:endParaRPr lang="en-US" sz="1000">
              <a:solidFill>
                <a:srgbClr val="95D600"/>
              </a:solidFill>
            </a:endParaRPr>
          </a:p>
        </p:txBody>
      </p:sp>
      <p:cxnSp>
        <p:nvCxnSpPr>
          <p:cNvPr id="10" name="Connecteur droit 13"/>
          <p:cNvCxnSpPr/>
          <p:nvPr userDrawn="1"/>
        </p:nvCxnSpPr>
        <p:spPr bwMode="gray">
          <a:xfrm flipH="1">
            <a:off x="468313" y="3402013"/>
            <a:ext cx="2447925" cy="0"/>
          </a:xfrm>
          <a:prstGeom prst="line">
            <a:avLst/>
          </a:prstGeom>
          <a:ln w="24130">
            <a:solidFill>
              <a:schemeClr val="accent1"/>
            </a:solidFill>
          </a:ln>
        </p:spPr>
        <p:style>
          <a:lnRef idx="1">
            <a:schemeClr val="accent1"/>
          </a:lnRef>
          <a:fillRef idx="0">
            <a:schemeClr val="accent1"/>
          </a:fillRef>
          <a:effectRef idx="0">
            <a:schemeClr val="accent1"/>
          </a:effectRef>
          <a:fontRef idx="minor">
            <a:schemeClr val="tx1"/>
          </a:fontRef>
        </p:style>
      </p:cxnSp>
      <p:sp>
        <p:nvSpPr>
          <p:cNvPr id="9" name="Espace réservé du texte 8"/>
          <p:cNvSpPr>
            <a:spLocks noGrp="1"/>
          </p:cNvSpPr>
          <p:nvPr>
            <p:ph type="body" sz="quarter" idx="13"/>
          </p:nvPr>
        </p:nvSpPr>
        <p:spPr bwMode="gray">
          <a:xfrm>
            <a:off x="468314" y="1036800"/>
            <a:ext cx="4824000" cy="2242800"/>
          </a:xfrm>
        </p:spPr>
        <p:txBody>
          <a:bodyPr anchor="b"/>
          <a:lstStyle>
            <a:lvl1pPr marL="0" indent="0" algn="l">
              <a:lnSpc>
                <a:spcPct val="90000"/>
              </a:lnSpc>
              <a:buNone/>
              <a:defRPr sz="2800" b="1" cap="none" baseline="0">
                <a:solidFill>
                  <a:schemeClr val="bg1"/>
                </a:solidFill>
              </a:defRPr>
            </a:lvl1pPr>
            <a:lvl2pPr marL="0" algn="ctr">
              <a:lnSpc>
                <a:spcPct val="100000"/>
              </a:lnSpc>
              <a:spcBef>
                <a:spcPts val="6900"/>
              </a:spcBef>
              <a:defRPr sz="2000" b="1">
                <a:solidFill>
                  <a:schemeClr val="bg1"/>
                </a:solidFill>
              </a:defRPr>
            </a:lvl2pPr>
          </a:lstStyle>
          <a:p>
            <a:pPr lvl="0"/>
            <a:r>
              <a:rPr lang="en-US" noProof="0"/>
              <a:t>Click to edit Master text styles</a:t>
            </a:r>
          </a:p>
        </p:txBody>
      </p:sp>
      <p:sp>
        <p:nvSpPr>
          <p:cNvPr id="15" name="Espace réservé du texte 14"/>
          <p:cNvSpPr>
            <a:spLocks noGrp="1"/>
          </p:cNvSpPr>
          <p:nvPr>
            <p:ph type="body" sz="quarter" idx="19"/>
          </p:nvPr>
        </p:nvSpPr>
        <p:spPr bwMode="gray">
          <a:xfrm>
            <a:off x="3635376" y="6021388"/>
            <a:ext cx="5113338" cy="324000"/>
          </a:xfrm>
        </p:spPr>
        <p:txBody>
          <a:bodyPr anchor="b"/>
          <a:lstStyle>
            <a:lvl1pPr algn="r">
              <a:lnSpc>
                <a:spcPct val="100000"/>
              </a:lnSpc>
              <a:defRPr sz="1000" b="1">
                <a:solidFill>
                  <a:schemeClr val="accent3"/>
                </a:solidFill>
              </a:defRPr>
            </a:lvl1pPr>
          </a:lstStyle>
          <a:p>
            <a:pPr lvl="0"/>
            <a:r>
              <a:rPr lang="en-US" noProof="0"/>
              <a:t>Click to edit Master text styles</a:t>
            </a:r>
          </a:p>
        </p:txBody>
      </p:sp>
      <p:sp>
        <p:nvSpPr>
          <p:cNvPr id="13" name="Espace réservé pour une image  17"/>
          <p:cNvSpPr>
            <a:spLocks noGrp="1"/>
          </p:cNvSpPr>
          <p:nvPr>
            <p:ph type="pic" sz="quarter" idx="18"/>
          </p:nvPr>
        </p:nvSpPr>
        <p:spPr bwMode="gray">
          <a:xfrm>
            <a:off x="4192588" y="0"/>
            <a:ext cx="4951412" cy="5162400"/>
          </a:xfrm>
          <a:custGeom>
            <a:avLst/>
            <a:gdLst>
              <a:gd name="connsiteX0" fmla="*/ 0 w 3851275"/>
              <a:gd name="connsiteY0" fmla="*/ 0 h 5157788"/>
              <a:gd name="connsiteX1" fmla="*/ 3851275 w 3851275"/>
              <a:gd name="connsiteY1" fmla="*/ 0 h 5157788"/>
              <a:gd name="connsiteX2" fmla="*/ 3851275 w 3851275"/>
              <a:gd name="connsiteY2" fmla="*/ 5157788 h 5157788"/>
              <a:gd name="connsiteX3" fmla="*/ 0 w 3851275"/>
              <a:gd name="connsiteY3" fmla="*/ 5157788 h 5157788"/>
              <a:gd name="connsiteX4" fmla="*/ 0 w 3851275"/>
              <a:gd name="connsiteY4"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0 w 3851275"/>
              <a:gd name="connsiteY3" fmla="*/ 5157788 h 5157788"/>
              <a:gd name="connsiteX4" fmla="*/ 1692275 w 3851275"/>
              <a:gd name="connsiteY4" fmla="*/ 0 h 5157788"/>
              <a:gd name="connsiteX0" fmla="*/ 0 w 2159000"/>
              <a:gd name="connsiteY0" fmla="*/ 0 h 5157788"/>
              <a:gd name="connsiteX1" fmla="*/ 2159000 w 2159000"/>
              <a:gd name="connsiteY1" fmla="*/ 0 h 5157788"/>
              <a:gd name="connsiteX2" fmla="*/ 2159000 w 2159000"/>
              <a:gd name="connsiteY2" fmla="*/ 5157788 h 5157788"/>
              <a:gd name="connsiteX3" fmla="*/ 0 w 2159000"/>
              <a:gd name="connsiteY3" fmla="*/ 5157788 h 5157788"/>
              <a:gd name="connsiteX4" fmla="*/ 0 w 2159000"/>
              <a:gd name="connsiteY4" fmla="*/ 0 h 5157788"/>
              <a:gd name="connsiteX0" fmla="*/ 2625271 w 4784271"/>
              <a:gd name="connsiteY0" fmla="*/ 0 h 5157788"/>
              <a:gd name="connsiteX1" fmla="*/ 4784271 w 4784271"/>
              <a:gd name="connsiteY1" fmla="*/ 0 h 5157788"/>
              <a:gd name="connsiteX2" fmla="*/ 4784271 w 4784271"/>
              <a:gd name="connsiteY2" fmla="*/ 5157788 h 5157788"/>
              <a:gd name="connsiteX3" fmla="*/ 2625271 w 4784271"/>
              <a:gd name="connsiteY3" fmla="*/ 5157788 h 5157788"/>
              <a:gd name="connsiteX4" fmla="*/ 2625271 w 4784271"/>
              <a:gd name="connsiteY4" fmla="*/ 0 h 5157788"/>
              <a:gd name="connsiteX0" fmla="*/ 2625271 w 4784271"/>
              <a:gd name="connsiteY0" fmla="*/ 0 h 5157788"/>
              <a:gd name="connsiteX1" fmla="*/ 4784271 w 4784271"/>
              <a:gd name="connsiteY1" fmla="*/ 0 h 5157788"/>
              <a:gd name="connsiteX2" fmla="*/ 4784271 w 4784271"/>
              <a:gd name="connsiteY2" fmla="*/ 5157788 h 5157788"/>
              <a:gd name="connsiteX3" fmla="*/ 2625271 w 4784271"/>
              <a:gd name="connsiteY3" fmla="*/ 5157788 h 5157788"/>
              <a:gd name="connsiteX4" fmla="*/ 2625271 w 4784271"/>
              <a:gd name="connsiteY4" fmla="*/ 0 h 5157788"/>
              <a:gd name="connsiteX0" fmla="*/ 3568576 w 5727576"/>
              <a:gd name="connsiteY0" fmla="*/ 0 h 5157788"/>
              <a:gd name="connsiteX1" fmla="*/ 5727576 w 5727576"/>
              <a:gd name="connsiteY1" fmla="*/ 0 h 5157788"/>
              <a:gd name="connsiteX2" fmla="*/ 5727576 w 5727576"/>
              <a:gd name="connsiteY2" fmla="*/ 5157788 h 5157788"/>
              <a:gd name="connsiteX3" fmla="*/ 3568576 w 5727576"/>
              <a:gd name="connsiteY3" fmla="*/ 5157788 h 5157788"/>
              <a:gd name="connsiteX4" fmla="*/ 3568576 w 5727576"/>
              <a:gd name="connsiteY4" fmla="*/ 0 h 5157788"/>
              <a:gd name="connsiteX0" fmla="*/ 3306355 w 5465355"/>
              <a:gd name="connsiteY0" fmla="*/ 0 h 5157788"/>
              <a:gd name="connsiteX1" fmla="*/ 5465355 w 5465355"/>
              <a:gd name="connsiteY1" fmla="*/ 0 h 5157788"/>
              <a:gd name="connsiteX2" fmla="*/ 5465355 w 5465355"/>
              <a:gd name="connsiteY2" fmla="*/ 5157788 h 5157788"/>
              <a:gd name="connsiteX3" fmla="*/ 3306355 w 5465355"/>
              <a:gd name="connsiteY3" fmla="*/ 5157788 h 5157788"/>
              <a:gd name="connsiteX4" fmla="*/ 3306355 w 5465355"/>
              <a:gd name="connsiteY4" fmla="*/ 0 h 5157788"/>
              <a:gd name="connsiteX0" fmla="*/ 1416957 w 3575957"/>
              <a:gd name="connsiteY0" fmla="*/ 0 h 5157788"/>
              <a:gd name="connsiteX1" fmla="*/ 3575957 w 3575957"/>
              <a:gd name="connsiteY1" fmla="*/ 0 h 5157788"/>
              <a:gd name="connsiteX2" fmla="*/ 3575957 w 3575957"/>
              <a:gd name="connsiteY2" fmla="*/ 5157788 h 5157788"/>
              <a:gd name="connsiteX3" fmla="*/ 1416957 w 3575957"/>
              <a:gd name="connsiteY3" fmla="*/ 5157788 h 5157788"/>
              <a:gd name="connsiteX4" fmla="*/ 0 w 3575957"/>
              <a:gd name="connsiteY4" fmla="*/ 3339193 h 5157788"/>
              <a:gd name="connsiteX5" fmla="*/ 1416957 w 3575957"/>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6017419"/>
              <a:gd name="connsiteX1" fmla="*/ 3851275 w 3851275"/>
              <a:gd name="connsiteY1" fmla="*/ 0 h 6017419"/>
              <a:gd name="connsiteX2" fmla="*/ 3851275 w 3851275"/>
              <a:gd name="connsiteY2" fmla="*/ 5157788 h 6017419"/>
              <a:gd name="connsiteX3" fmla="*/ 1692275 w 3851275"/>
              <a:gd name="connsiteY3" fmla="*/ 5157788 h 6017419"/>
              <a:gd name="connsiteX4" fmla="*/ 0 w 3851275"/>
              <a:gd name="connsiteY4" fmla="*/ 3284984 h 6017419"/>
              <a:gd name="connsiteX5" fmla="*/ 1692275 w 3851275"/>
              <a:gd name="connsiteY5" fmla="*/ 0 h 6017419"/>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429000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429000 h 5157788"/>
              <a:gd name="connsiteX5" fmla="*/ 1710871 w 3869871"/>
              <a:gd name="connsiteY5" fmla="*/ 0 h 5157788"/>
              <a:gd name="connsiteX0" fmla="*/ 1704975 w 3863975"/>
              <a:gd name="connsiteY0" fmla="*/ 0 h 5157788"/>
              <a:gd name="connsiteX1" fmla="*/ 3863975 w 3863975"/>
              <a:gd name="connsiteY1" fmla="*/ 0 h 5157788"/>
              <a:gd name="connsiteX2" fmla="*/ 3863975 w 3863975"/>
              <a:gd name="connsiteY2" fmla="*/ 5157788 h 5157788"/>
              <a:gd name="connsiteX3" fmla="*/ 1704975 w 3863975"/>
              <a:gd name="connsiteY3" fmla="*/ 5157788 h 5157788"/>
              <a:gd name="connsiteX4" fmla="*/ 12700 w 3863975"/>
              <a:gd name="connsiteY4" fmla="*/ 3429000 h 5157788"/>
              <a:gd name="connsiteX5" fmla="*/ 1704975 w 3863975"/>
              <a:gd name="connsiteY5" fmla="*/ 0 h 5157788"/>
              <a:gd name="connsiteX0" fmla="*/ 1707243 w 3866243"/>
              <a:gd name="connsiteY0" fmla="*/ 0 h 5157788"/>
              <a:gd name="connsiteX1" fmla="*/ 3866243 w 3866243"/>
              <a:gd name="connsiteY1" fmla="*/ 0 h 5157788"/>
              <a:gd name="connsiteX2" fmla="*/ 3866243 w 3866243"/>
              <a:gd name="connsiteY2" fmla="*/ 5157788 h 5157788"/>
              <a:gd name="connsiteX3" fmla="*/ 1707243 w 3866243"/>
              <a:gd name="connsiteY3" fmla="*/ 5157788 h 5157788"/>
              <a:gd name="connsiteX4" fmla="*/ 14968 w 3866243"/>
              <a:gd name="connsiteY4" fmla="*/ 3429000 h 5157788"/>
              <a:gd name="connsiteX5" fmla="*/ 1707243 w 3866243"/>
              <a:gd name="connsiteY5" fmla="*/ 0 h 5157788"/>
              <a:gd name="connsiteX0" fmla="*/ 1130447 w 3866243"/>
              <a:gd name="connsiteY0" fmla="*/ 0 h 5157788"/>
              <a:gd name="connsiteX1" fmla="*/ 3866243 w 3866243"/>
              <a:gd name="connsiteY1" fmla="*/ 0 h 5157788"/>
              <a:gd name="connsiteX2" fmla="*/ 3866243 w 3866243"/>
              <a:gd name="connsiteY2" fmla="*/ 5157788 h 5157788"/>
              <a:gd name="connsiteX3" fmla="*/ 1707243 w 3866243"/>
              <a:gd name="connsiteY3" fmla="*/ 5157788 h 5157788"/>
              <a:gd name="connsiteX4" fmla="*/ 14968 w 3866243"/>
              <a:gd name="connsiteY4" fmla="*/ 3429000 h 5157788"/>
              <a:gd name="connsiteX5" fmla="*/ 1130447 w 3866243"/>
              <a:gd name="connsiteY5" fmla="*/ 0 h 5157788"/>
              <a:gd name="connsiteX0" fmla="*/ 2746143 w 5481939"/>
              <a:gd name="connsiteY0" fmla="*/ 0 h 5157788"/>
              <a:gd name="connsiteX1" fmla="*/ 5481939 w 5481939"/>
              <a:gd name="connsiteY1" fmla="*/ 0 h 5157788"/>
              <a:gd name="connsiteX2" fmla="*/ 5481939 w 5481939"/>
              <a:gd name="connsiteY2" fmla="*/ 5157788 h 5157788"/>
              <a:gd name="connsiteX3" fmla="*/ 585903 w 5481939"/>
              <a:gd name="connsiteY3" fmla="*/ 5153180 h 5157788"/>
              <a:gd name="connsiteX4" fmla="*/ 1630664 w 5481939"/>
              <a:gd name="connsiteY4" fmla="*/ 3429000 h 5157788"/>
              <a:gd name="connsiteX5" fmla="*/ 2746143 w 5481939"/>
              <a:gd name="connsiteY5" fmla="*/ 0 h 5157788"/>
              <a:gd name="connsiteX0" fmla="*/ 2746143 w 5481939"/>
              <a:gd name="connsiteY0" fmla="*/ 0 h 5157788"/>
              <a:gd name="connsiteX1" fmla="*/ 5481939 w 5481939"/>
              <a:gd name="connsiteY1" fmla="*/ 0 h 5157788"/>
              <a:gd name="connsiteX2" fmla="*/ 5481939 w 5481939"/>
              <a:gd name="connsiteY2" fmla="*/ 5157788 h 5157788"/>
              <a:gd name="connsiteX3" fmla="*/ 585903 w 5481939"/>
              <a:gd name="connsiteY3" fmla="*/ 5153180 h 5157788"/>
              <a:gd name="connsiteX4" fmla="*/ 1630664 w 5481939"/>
              <a:gd name="connsiteY4" fmla="*/ 3429000 h 5157788"/>
              <a:gd name="connsiteX5" fmla="*/ 2746143 w 548193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3574235 w 6310031"/>
              <a:gd name="connsiteY0" fmla="*/ 0 h 5157788"/>
              <a:gd name="connsiteX1" fmla="*/ 6310031 w 6310031"/>
              <a:gd name="connsiteY1" fmla="*/ 0 h 5157788"/>
              <a:gd name="connsiteX2" fmla="*/ 6310031 w 6310031"/>
              <a:gd name="connsiteY2" fmla="*/ 5157788 h 5157788"/>
              <a:gd name="connsiteX3" fmla="*/ 585903 w 6310031"/>
              <a:gd name="connsiteY3" fmla="*/ 5153180 h 5157788"/>
              <a:gd name="connsiteX4" fmla="*/ 1738031 w 6310031"/>
              <a:gd name="connsiteY4" fmla="*/ 3389965 h 5157788"/>
              <a:gd name="connsiteX5" fmla="*/ 3574235 w 6310031"/>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296143 w 5724128"/>
              <a:gd name="connsiteY4" fmla="*/ 3461908 h 5157788"/>
              <a:gd name="connsiteX5" fmla="*/ 2988332 w 5724128"/>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1188132 w 5760132"/>
              <a:gd name="connsiteY4" fmla="*/ 3425937 h 5157788"/>
              <a:gd name="connsiteX5" fmla="*/ 3024336 w 5760132"/>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2736304 w 5760132"/>
              <a:gd name="connsiteY4" fmla="*/ 3461908 h 5157788"/>
              <a:gd name="connsiteX5" fmla="*/ 3024336 w 5760132"/>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2736304 w 5760132"/>
              <a:gd name="connsiteY4" fmla="*/ 3461908 h 5157788"/>
              <a:gd name="connsiteX5" fmla="*/ 3024336 w 5760132"/>
              <a:gd name="connsiteY5" fmla="*/ 0 h 5157788"/>
              <a:gd name="connsiteX0" fmla="*/ 2160240 w 4896036"/>
              <a:gd name="connsiteY0" fmla="*/ 0 h 5157788"/>
              <a:gd name="connsiteX1" fmla="*/ 4896036 w 4896036"/>
              <a:gd name="connsiteY1" fmla="*/ 0 h 5157788"/>
              <a:gd name="connsiteX2" fmla="*/ 4896036 w 4896036"/>
              <a:gd name="connsiteY2" fmla="*/ 5157788 h 5157788"/>
              <a:gd name="connsiteX3" fmla="*/ 0 w 4896036"/>
              <a:gd name="connsiteY3" fmla="*/ 5153180 h 5157788"/>
              <a:gd name="connsiteX4" fmla="*/ 1872208 w 4896036"/>
              <a:gd name="connsiteY4" fmla="*/ 3461908 h 5157788"/>
              <a:gd name="connsiteX5" fmla="*/ 2160240 w 4896036"/>
              <a:gd name="connsiteY5" fmla="*/ 0 h 5157788"/>
              <a:gd name="connsiteX0" fmla="*/ 2232248 w 4968044"/>
              <a:gd name="connsiteY0" fmla="*/ 0 h 5157788"/>
              <a:gd name="connsiteX1" fmla="*/ 4968044 w 4968044"/>
              <a:gd name="connsiteY1" fmla="*/ 0 h 5157788"/>
              <a:gd name="connsiteX2" fmla="*/ 4968044 w 4968044"/>
              <a:gd name="connsiteY2" fmla="*/ 5157788 h 5157788"/>
              <a:gd name="connsiteX3" fmla="*/ 0 w 4968044"/>
              <a:gd name="connsiteY3" fmla="*/ 5153180 h 5157788"/>
              <a:gd name="connsiteX4" fmla="*/ 1944216 w 4968044"/>
              <a:gd name="connsiteY4" fmla="*/ 3461908 h 5157788"/>
              <a:gd name="connsiteX5" fmla="*/ 2232248 w 4968044"/>
              <a:gd name="connsiteY5" fmla="*/ 0 h 5157788"/>
              <a:gd name="connsiteX0" fmla="*/ 2207679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207679 w 4943475"/>
              <a:gd name="connsiteY5" fmla="*/ 0 h 5157788"/>
              <a:gd name="connsiteX0" fmla="*/ 2963763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963763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092200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71575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343583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675731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675731 w 4943475"/>
              <a:gd name="connsiteY5" fmla="*/ 0 h 5157788"/>
              <a:gd name="connsiteX0" fmla="*/ 2675731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675731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9672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19672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51412" h="5157788">
                <a:moveTo>
                  <a:pt x="2706687" y="0"/>
                </a:moveTo>
                <a:lnTo>
                  <a:pt x="4951412" y="0"/>
                </a:lnTo>
                <a:lnTo>
                  <a:pt x="4951412" y="5157788"/>
                </a:lnTo>
                <a:lnTo>
                  <a:pt x="0" y="5153180"/>
                </a:lnTo>
                <a:cubicBezTo>
                  <a:pt x="84411" y="4542509"/>
                  <a:pt x="183041" y="4024723"/>
                  <a:pt x="1243508" y="2562613"/>
                </a:cubicBezTo>
                <a:cubicBezTo>
                  <a:pt x="1867447" y="1704780"/>
                  <a:pt x="2665955" y="709265"/>
                  <a:pt x="2706687" y="0"/>
                </a:cubicBezTo>
                <a:close/>
              </a:path>
            </a:pathLst>
          </a:custGeom>
          <a:solidFill>
            <a:schemeClr val="bg2"/>
          </a:solidFill>
          <a:ln w="3175">
            <a:noFill/>
          </a:ln>
        </p:spPr>
        <p:txBody>
          <a:bodyPr tIns="720000" rtlCol="0" anchor="ctr">
            <a:noAutofit/>
          </a:bodyPr>
          <a:lstStyle>
            <a:lvl1pPr algn="ctr">
              <a:defRPr sz="1500">
                <a:solidFill>
                  <a:schemeClr val="bg1"/>
                </a:solidFill>
              </a:defRPr>
            </a:lvl1pPr>
          </a:lstStyle>
          <a:p>
            <a:pPr lvl="0"/>
            <a:r>
              <a:rPr lang="en-US" noProof="0"/>
              <a:t>Click icon to add picture</a:t>
            </a:r>
          </a:p>
        </p:txBody>
      </p:sp>
      <p:sp>
        <p:nvSpPr>
          <p:cNvPr id="11" name="Espace réservé de la date 9"/>
          <p:cNvSpPr>
            <a:spLocks noGrp="1"/>
          </p:cNvSpPr>
          <p:nvPr>
            <p:ph type="dt" sz="half" idx="20"/>
          </p:nvPr>
        </p:nvSpPr>
        <p:spPr/>
        <p:txBody>
          <a:bodyPr/>
          <a:lstStyle>
            <a:lvl1pPr>
              <a:defRPr/>
            </a:lvl1pPr>
          </a:lstStyle>
          <a:p>
            <a:pPr>
              <a:defRPr/>
            </a:pPr>
            <a:r>
              <a:rPr lang="en-US">
                <a:solidFill>
                  <a:prstClr val="white">
                    <a:alpha val="0"/>
                  </a:prstClr>
                </a:solidFill>
              </a:rPr>
              <a:t>Date</a:t>
            </a:r>
          </a:p>
        </p:txBody>
      </p:sp>
      <p:sp>
        <p:nvSpPr>
          <p:cNvPr id="12" name="Espace réservé du numéro de diapositive 10"/>
          <p:cNvSpPr>
            <a:spLocks noGrp="1"/>
          </p:cNvSpPr>
          <p:nvPr>
            <p:ph type="sldNum" sz="quarter" idx="21"/>
          </p:nvPr>
        </p:nvSpPr>
        <p:spPr/>
        <p:txBody>
          <a:bodyPr/>
          <a:lstStyle>
            <a:lvl1pPr>
              <a:defRPr sz="100">
                <a:solidFill>
                  <a:schemeClr val="bg1">
                    <a:alpha val="0"/>
                  </a:schemeClr>
                </a:solidFill>
              </a:defRPr>
            </a:lvl1pPr>
          </a:lstStyle>
          <a:p>
            <a:pPr>
              <a:defRPr/>
            </a:pPr>
            <a:r>
              <a:rPr lang="en-US">
                <a:solidFill>
                  <a:prstClr val="white">
                    <a:alpha val="0"/>
                  </a:prstClr>
                </a:solidFill>
              </a:rPr>
              <a:t>Page: </a:t>
            </a:r>
            <a:fld id="{168EB3F5-198F-4211-80D0-E690EB6CEA77}" type="slidenum">
              <a:rPr lang="en-US">
                <a:solidFill>
                  <a:prstClr val="white">
                    <a:alpha val="0"/>
                  </a:prstClr>
                </a:solidFill>
              </a:rPr>
              <a:pPr>
                <a:defRPr/>
              </a:pPr>
              <a:t>‹#›</a:t>
            </a:fld>
            <a:endParaRPr lang="en-US">
              <a:solidFill>
                <a:prstClr val="white">
                  <a:alpha val="0"/>
                </a:prstClr>
              </a:solidFill>
            </a:endParaRPr>
          </a:p>
        </p:txBody>
      </p:sp>
      <p:sp>
        <p:nvSpPr>
          <p:cNvPr id="14" name="Espace réservé du pied de page 11"/>
          <p:cNvSpPr>
            <a:spLocks noGrp="1"/>
          </p:cNvSpPr>
          <p:nvPr>
            <p:ph type="ftr" sz="quarter" idx="22"/>
          </p:nvPr>
        </p:nvSpPr>
        <p:spPr>
          <a:xfrm>
            <a:off x="468313" y="523875"/>
            <a:ext cx="4824412" cy="360363"/>
          </a:xfrm>
        </p:spPr>
        <p:txBody>
          <a:bodyPr/>
          <a:lstStyle>
            <a:lvl1pPr algn="l">
              <a:defRPr sz="1800" b="0">
                <a:solidFill>
                  <a:schemeClr val="bg1"/>
                </a:solidFill>
              </a:defRPr>
            </a:lvl1pPr>
          </a:lstStyle>
          <a:p>
            <a:pPr>
              <a:defRPr/>
            </a:pPr>
            <a:r>
              <a:rPr lang="en-US">
                <a:solidFill>
                  <a:prstClr val="white"/>
                </a:solidFill>
              </a:rPr>
              <a:t>#</a:t>
            </a:r>
            <a:r>
              <a:rPr lang="en-US" err="1">
                <a:solidFill>
                  <a:prstClr val="white"/>
                </a:solidFill>
              </a:rPr>
              <a:t>vaccineswork</a:t>
            </a:r>
            <a:endParaRPr lang="en-US">
              <a:solidFill>
                <a:prstClr val="white"/>
              </a:solidFill>
            </a:endParaRPr>
          </a:p>
        </p:txBody>
      </p:sp>
    </p:spTree>
    <p:extLst>
      <p:ext uri="{BB962C8B-B14F-4D97-AF65-F5344CB8AC3E}">
        <p14:creationId xmlns:p14="http://schemas.microsoft.com/office/powerpoint/2010/main" val="1174129057"/>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Text and Visual">
    <p:spTree>
      <p:nvGrpSpPr>
        <p:cNvPr id="1" name=""/>
        <p:cNvGrpSpPr/>
        <p:nvPr/>
      </p:nvGrpSpPr>
      <p:grpSpPr>
        <a:xfrm>
          <a:off x="0" y="0"/>
          <a:ext cx="0" cy="0"/>
          <a:chOff x="0" y="0"/>
          <a:chExt cx="0" cy="0"/>
        </a:xfrm>
      </p:grpSpPr>
      <p:sp>
        <p:nvSpPr>
          <p:cNvPr id="2" name="Title 1"/>
          <p:cNvSpPr>
            <a:spLocks noGrp="1"/>
          </p:cNvSpPr>
          <p:nvPr>
            <p:ph type="title"/>
          </p:nvPr>
        </p:nvSpPr>
        <p:spPr>
          <a:xfrm>
            <a:off x="973138" y="225211"/>
            <a:ext cx="7207249" cy="697999"/>
          </a:xfrm>
        </p:spPr>
        <p:txBody>
          <a:bodyPr/>
          <a:lstStyle/>
          <a:p>
            <a:r>
              <a:rPr lang="en-US"/>
              <a:t>Click to edit Master title style</a:t>
            </a:r>
          </a:p>
        </p:txBody>
      </p:sp>
      <p:sp>
        <p:nvSpPr>
          <p:cNvPr id="4" name="Content Placeholder 3"/>
          <p:cNvSpPr>
            <a:spLocks noGrp="1"/>
          </p:cNvSpPr>
          <p:nvPr>
            <p:ph sz="half" idx="2"/>
          </p:nvPr>
        </p:nvSpPr>
        <p:spPr>
          <a:xfrm>
            <a:off x="3425825" y="2302159"/>
            <a:ext cx="4754564" cy="2541673"/>
          </a:xfrm>
        </p:spPr>
        <p:txBody>
          <a:bodyPr/>
          <a:lstStyle>
            <a:lvl1pPr>
              <a:defRPr sz="1600"/>
            </a:lvl1pPr>
            <a:lvl2pPr marL="457200" indent="0">
              <a:buNone/>
              <a:defRPr sz="1600"/>
            </a:lvl2pPr>
            <a:lvl3pPr marL="914400" indent="0">
              <a:buNone/>
              <a:defRPr sz="1600"/>
            </a:lvl3pPr>
            <a:lvl4pPr marL="1371600" indent="0">
              <a:buNone/>
              <a:defRPr sz="1600"/>
            </a:lvl4pPr>
            <a:lvl5pPr marL="1828800" indent="0">
              <a:buNone/>
              <a:defRPr sz="16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p:cNvSpPr>
            <a:spLocks noGrp="1"/>
          </p:cNvSpPr>
          <p:nvPr>
            <p:ph type="pic" sz="quarter" idx="13"/>
          </p:nvPr>
        </p:nvSpPr>
        <p:spPr>
          <a:xfrm>
            <a:off x="973138" y="1247776"/>
            <a:ext cx="2300287" cy="3450384"/>
          </a:xfrm>
        </p:spPr>
        <p:txBody>
          <a:bodyPr rtlCol="0">
            <a:noAutofit/>
          </a:bodyPr>
          <a:lstStyle/>
          <a:p>
            <a:pPr lvl="0"/>
            <a:endParaRPr lang="en-US" noProof="0"/>
          </a:p>
        </p:txBody>
      </p:sp>
      <p:sp>
        <p:nvSpPr>
          <p:cNvPr id="10" name="Content Placeholder 3"/>
          <p:cNvSpPr>
            <a:spLocks noGrp="1"/>
          </p:cNvSpPr>
          <p:nvPr>
            <p:ph sz="half" idx="14"/>
          </p:nvPr>
        </p:nvSpPr>
        <p:spPr>
          <a:xfrm>
            <a:off x="3425825" y="1241426"/>
            <a:ext cx="4754564" cy="879316"/>
          </a:xfrm>
        </p:spPr>
        <p:txBody>
          <a:bodyPr/>
          <a:lstStyle>
            <a:lvl1pPr marL="0" indent="0">
              <a:buNone/>
              <a:defRPr sz="1600">
                <a:solidFill>
                  <a:srgbClr val="005CB9"/>
                </a:solidFill>
              </a:defRPr>
            </a:lvl1pPr>
            <a:lvl2pPr marL="457200" indent="0">
              <a:buNone/>
              <a:defRPr sz="1400">
                <a:solidFill>
                  <a:srgbClr val="005CB9"/>
                </a:solidFill>
              </a:defRPr>
            </a:lvl2pPr>
            <a:lvl3pPr marL="914400" indent="0">
              <a:buNone/>
              <a:defRPr sz="1400">
                <a:solidFill>
                  <a:srgbClr val="005CB9"/>
                </a:solidFill>
              </a:defRPr>
            </a:lvl3pPr>
            <a:lvl4pPr marL="1371600" indent="0">
              <a:buNone/>
              <a:defRPr sz="1400">
                <a:solidFill>
                  <a:srgbClr val="005CB9"/>
                </a:solidFill>
              </a:defRPr>
            </a:lvl4pPr>
            <a:lvl5pPr marL="1828800" indent="0">
              <a:buNone/>
              <a:defRPr sz="1400">
                <a:solidFill>
                  <a:srgbClr val="005CB9"/>
                </a:solidFill>
              </a:defRPr>
            </a:lvl5pPr>
            <a:lvl6pPr>
              <a:defRPr sz="1800"/>
            </a:lvl6pPr>
            <a:lvl7pPr>
              <a:defRPr sz="1800"/>
            </a:lvl7pPr>
            <a:lvl8pPr>
              <a:defRPr sz="1800"/>
            </a:lvl8pPr>
            <a:lvl9pPr>
              <a:defRPr sz="1800"/>
            </a:lvl9pPr>
          </a:lstStyle>
          <a:p>
            <a:pPr lvl="0"/>
            <a:r>
              <a:rPr lang="en-US"/>
              <a:t>Click to edit Master text styles</a:t>
            </a:r>
          </a:p>
        </p:txBody>
      </p:sp>
      <p:sp>
        <p:nvSpPr>
          <p:cNvPr id="6" name="Footer Placeholder 5"/>
          <p:cNvSpPr>
            <a:spLocks noGrp="1"/>
          </p:cNvSpPr>
          <p:nvPr>
            <p:ph type="ftr" sz="quarter" idx="15"/>
          </p:nvPr>
        </p:nvSpPr>
        <p:spPr/>
        <p:txBody>
          <a:bodyPr/>
          <a:lstStyle>
            <a:lvl1pPr>
              <a:defRPr/>
            </a:lvl1pPr>
          </a:lstStyle>
          <a:p>
            <a:pPr>
              <a:defRPr/>
            </a:pPr>
            <a:r>
              <a:rPr lang="en-US">
                <a:solidFill>
                  <a:srgbClr val="005CB9"/>
                </a:solidFill>
              </a:rPr>
              <a:t>Basic facts about </a:t>
            </a:r>
            <a:r>
              <a:rPr lang="en-US" err="1">
                <a:solidFill>
                  <a:srgbClr val="005CB9"/>
                </a:solidFill>
              </a:rPr>
              <a:t>Gavi</a:t>
            </a:r>
            <a:r>
              <a:rPr lang="en-US">
                <a:solidFill>
                  <a:srgbClr val="005CB9"/>
                </a:solidFill>
              </a:rPr>
              <a:t> the Vaccine Alliance</a:t>
            </a:r>
          </a:p>
        </p:txBody>
      </p:sp>
      <p:sp>
        <p:nvSpPr>
          <p:cNvPr id="7" name="Slide Number Placeholder 6"/>
          <p:cNvSpPr>
            <a:spLocks noGrp="1"/>
          </p:cNvSpPr>
          <p:nvPr>
            <p:ph type="sldNum" sz="quarter" idx="16"/>
          </p:nvPr>
        </p:nvSpPr>
        <p:spPr/>
        <p:txBody>
          <a:bodyPr/>
          <a:lstStyle>
            <a:lvl1pPr algn="ctr">
              <a:defRPr/>
            </a:lvl1pPr>
          </a:lstStyle>
          <a:p>
            <a:pPr>
              <a:defRPr/>
            </a:pPr>
            <a:fld id="{FFE8DD00-E6C1-42A5-A44D-4115350A5429}" type="slidenum">
              <a:rPr lang="en-US">
                <a:solidFill>
                  <a:srgbClr val="343434"/>
                </a:solidFill>
              </a:rPr>
              <a:pPr>
                <a:defRPr/>
              </a:pPr>
              <a:t>‹#›</a:t>
            </a:fld>
            <a:endParaRPr lang="en-US">
              <a:solidFill>
                <a:srgbClr val="343434"/>
              </a:solidFill>
            </a:endParaRPr>
          </a:p>
        </p:txBody>
      </p:sp>
    </p:spTree>
    <p:extLst>
      <p:ext uri="{BB962C8B-B14F-4D97-AF65-F5344CB8AC3E}">
        <p14:creationId xmlns:p14="http://schemas.microsoft.com/office/powerpoint/2010/main" val="2525836378"/>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Text&amp;4_Blocks_Layout">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p:txBody>
          <a:bodyPr/>
          <a:lstStyle/>
          <a:p>
            <a:r>
              <a:rPr lang="en-GB" noProof="0"/>
              <a:t>TITLE</a:t>
            </a:r>
          </a:p>
        </p:txBody>
      </p:sp>
      <p:sp>
        <p:nvSpPr>
          <p:cNvPr id="10" name="Espace réservé du texte 9"/>
          <p:cNvSpPr>
            <a:spLocks noGrp="1"/>
          </p:cNvSpPr>
          <p:nvPr>
            <p:ph type="body" sz="quarter" idx="13" hasCustomPrompt="1"/>
          </p:nvPr>
        </p:nvSpPr>
        <p:spPr bwMode="gray">
          <a:xfrm>
            <a:off x="935038" y="1304924"/>
            <a:ext cx="7345362" cy="936626"/>
          </a:xfrm>
        </p:spPr>
        <p:txBody>
          <a:body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8" name="Espace réservé de la date 7"/>
          <p:cNvSpPr>
            <a:spLocks noGrp="1"/>
          </p:cNvSpPr>
          <p:nvPr>
            <p:ph type="dt" sz="half" idx="14"/>
          </p:nvPr>
        </p:nvSpPr>
        <p:spPr bwMode="gray"/>
        <p:txBody>
          <a:bodyPr/>
          <a:lstStyle/>
          <a:p>
            <a:r>
              <a:rPr lang="en-US">
                <a:solidFill>
                  <a:prstClr val="white">
                    <a:alpha val="0"/>
                  </a:prstClr>
                </a:solidFill>
              </a:rPr>
              <a:t>Date</a:t>
            </a:r>
            <a:endParaRPr lang="en-GB">
              <a:solidFill>
                <a:prstClr val="white">
                  <a:alpha val="0"/>
                </a:prstClr>
              </a:solidFill>
            </a:endParaRPr>
          </a:p>
        </p:txBody>
      </p:sp>
      <p:sp>
        <p:nvSpPr>
          <p:cNvPr id="9" name="Espace réservé du numéro de diapositive 8"/>
          <p:cNvSpPr>
            <a:spLocks noGrp="1"/>
          </p:cNvSpPr>
          <p:nvPr>
            <p:ph type="sldNum" sz="quarter" idx="15"/>
          </p:nvPr>
        </p:nvSpPr>
        <p:spPr bwMode="gray"/>
        <p:txBody>
          <a:bodyPr/>
          <a:lstStyle/>
          <a:p>
            <a:fld id="{733122C9-A0B9-462F-8757-0847AD287B63}" type="slidenum">
              <a:rPr lang="en-GB" smtClean="0">
                <a:solidFill>
                  <a:srgbClr val="343434"/>
                </a:solidFill>
              </a:rPr>
              <a:pPr/>
              <a:t>‹#›</a:t>
            </a:fld>
            <a:endParaRPr lang="en-GB">
              <a:solidFill>
                <a:srgbClr val="343434"/>
              </a:solidFill>
            </a:endParaRPr>
          </a:p>
        </p:txBody>
      </p:sp>
      <p:sp>
        <p:nvSpPr>
          <p:cNvPr id="11" name="Espace réservé du pied de page 10"/>
          <p:cNvSpPr>
            <a:spLocks noGrp="1"/>
          </p:cNvSpPr>
          <p:nvPr>
            <p:ph type="ftr" sz="quarter" idx="16"/>
          </p:nvPr>
        </p:nvSpPr>
        <p:spPr bwMode="gray"/>
        <p:txBody>
          <a:bodyPr/>
          <a:lstStyle/>
          <a:p>
            <a:r>
              <a:rPr lang="en-GB">
                <a:solidFill>
                  <a:srgbClr val="005CB9"/>
                </a:solidFill>
              </a:rPr>
              <a:t>#vaccineswork</a:t>
            </a:r>
          </a:p>
        </p:txBody>
      </p:sp>
      <p:sp>
        <p:nvSpPr>
          <p:cNvPr id="21" name="Espace réservé du texte 9"/>
          <p:cNvSpPr>
            <a:spLocks noGrp="1"/>
          </p:cNvSpPr>
          <p:nvPr>
            <p:ph type="body" sz="quarter" idx="19" hasCustomPrompt="1"/>
          </p:nvPr>
        </p:nvSpPr>
        <p:spPr bwMode="gray">
          <a:xfrm>
            <a:off x="935038" y="2241550"/>
            <a:ext cx="3564000" cy="324000"/>
          </a:xfrm>
          <a:solidFill>
            <a:schemeClr val="accent1"/>
          </a:solidFill>
          <a:ln w="9525">
            <a:solidFill>
              <a:schemeClr val="accent1"/>
            </a:solidFill>
          </a:ln>
        </p:spPr>
        <p:txBody>
          <a:bodyPr anchor="ctr" anchorCtr="0"/>
          <a:lstStyle>
            <a:lvl1pPr algn="ctr">
              <a:lnSpc>
                <a:spcPct val="100000"/>
              </a:lnSpc>
              <a:defRPr>
                <a:solidFill>
                  <a:schemeClr val="bg1"/>
                </a:solidFill>
              </a:defRPr>
            </a:lvl1pPr>
          </a:lstStyle>
          <a:p>
            <a:pPr lvl="0"/>
            <a:r>
              <a:rPr lang="en-GB" noProof="0"/>
              <a:t>Text level 1</a:t>
            </a:r>
          </a:p>
        </p:txBody>
      </p:sp>
      <p:sp>
        <p:nvSpPr>
          <p:cNvPr id="22" name="Espace réservé du texte 9"/>
          <p:cNvSpPr>
            <a:spLocks noGrp="1"/>
          </p:cNvSpPr>
          <p:nvPr>
            <p:ph type="body" sz="quarter" idx="20" hasCustomPrompt="1"/>
          </p:nvPr>
        </p:nvSpPr>
        <p:spPr bwMode="gray">
          <a:xfrm>
            <a:off x="935038" y="2565550"/>
            <a:ext cx="3564000" cy="1350000"/>
          </a:xfrm>
          <a:ln w="9525">
            <a:solidFill>
              <a:schemeClr val="accent1"/>
            </a:solidFill>
          </a:ln>
        </p:spPr>
        <p:txBody>
          <a:bodyPr tIns="72000"/>
          <a:lstStyle>
            <a:lvl1pPr marL="324000" indent="-180000">
              <a:lnSpc>
                <a:spcPct val="100000"/>
              </a:lnSpc>
              <a:spcBef>
                <a:spcPts val="300"/>
              </a:spcBef>
              <a:buClr>
                <a:schemeClr val="accent3"/>
              </a:buClr>
              <a:buFont typeface="Arial" pitchFamily="34" charset="0"/>
              <a:buChar char="•"/>
              <a:defRPr sz="1800">
                <a:solidFill>
                  <a:schemeClr val="tx1"/>
                </a:solidFill>
              </a:defRPr>
            </a:lvl1pPr>
            <a:lvl2pPr marL="504000">
              <a:buClr>
                <a:schemeClr val="tx1"/>
              </a:buClr>
              <a:defRPr sz="1600" b="0"/>
            </a:lvl2pPr>
            <a:lvl3pPr indent="0">
              <a:buNone/>
              <a:defRPr/>
            </a:lvl3pPr>
            <a:lvl4pPr marL="684000" indent="-180000">
              <a:buClr>
                <a:schemeClr val="tx1"/>
              </a:buClr>
              <a:buFont typeface="Arial" pitchFamily="34" charset="0"/>
              <a:buChar char="•"/>
              <a:defRPr sz="1400"/>
            </a:lvl4pPr>
          </a:lstStyle>
          <a:p>
            <a:pPr lvl="0"/>
            <a:r>
              <a:rPr lang="en-GB" noProof="0"/>
              <a:t>Text level 2</a:t>
            </a:r>
          </a:p>
          <a:p>
            <a:pPr lvl="1"/>
            <a:r>
              <a:rPr lang="en-GB" noProof="0"/>
              <a:t>Text level 3</a:t>
            </a:r>
          </a:p>
          <a:p>
            <a:pPr lvl="2"/>
            <a:r>
              <a:rPr lang="en-GB" noProof="0"/>
              <a:t>Text level 4</a:t>
            </a:r>
          </a:p>
          <a:p>
            <a:pPr lvl="3"/>
            <a:r>
              <a:rPr lang="en-GB" noProof="0"/>
              <a:t>Text level 5</a:t>
            </a:r>
          </a:p>
        </p:txBody>
      </p:sp>
      <p:sp>
        <p:nvSpPr>
          <p:cNvPr id="23" name="Espace réservé du texte 9"/>
          <p:cNvSpPr>
            <a:spLocks noGrp="1"/>
          </p:cNvSpPr>
          <p:nvPr>
            <p:ph type="body" sz="quarter" idx="21" hasCustomPrompt="1"/>
          </p:nvPr>
        </p:nvSpPr>
        <p:spPr bwMode="gray">
          <a:xfrm>
            <a:off x="4716400" y="2241550"/>
            <a:ext cx="3564000" cy="324000"/>
          </a:xfrm>
          <a:solidFill>
            <a:schemeClr val="accent2"/>
          </a:solidFill>
          <a:ln w="9525">
            <a:solidFill>
              <a:schemeClr val="accent2"/>
            </a:solidFill>
          </a:ln>
        </p:spPr>
        <p:txBody>
          <a:bodyPr anchor="ctr" anchorCtr="0"/>
          <a:lstStyle>
            <a:lvl1pPr algn="ctr">
              <a:lnSpc>
                <a:spcPct val="100000"/>
              </a:lnSpc>
              <a:defRPr>
                <a:solidFill>
                  <a:schemeClr val="bg1"/>
                </a:solidFill>
              </a:defRPr>
            </a:lvl1pPr>
          </a:lstStyle>
          <a:p>
            <a:pPr lvl="0"/>
            <a:r>
              <a:rPr lang="en-GB" noProof="0"/>
              <a:t>Text level 1</a:t>
            </a:r>
          </a:p>
        </p:txBody>
      </p:sp>
      <p:sp>
        <p:nvSpPr>
          <p:cNvPr id="24" name="Espace réservé du texte 9"/>
          <p:cNvSpPr>
            <a:spLocks noGrp="1"/>
          </p:cNvSpPr>
          <p:nvPr>
            <p:ph type="body" sz="quarter" idx="22" hasCustomPrompt="1"/>
          </p:nvPr>
        </p:nvSpPr>
        <p:spPr bwMode="gray">
          <a:xfrm>
            <a:off x="4716400" y="2565550"/>
            <a:ext cx="3564000" cy="1350000"/>
          </a:xfrm>
          <a:ln w="9525">
            <a:solidFill>
              <a:schemeClr val="accent2"/>
            </a:solidFill>
          </a:ln>
        </p:spPr>
        <p:txBody>
          <a:bodyPr tIns="72000"/>
          <a:lstStyle>
            <a:lvl1pPr marL="324000" indent="-180000">
              <a:lnSpc>
                <a:spcPct val="100000"/>
              </a:lnSpc>
              <a:spcBef>
                <a:spcPts val="300"/>
              </a:spcBef>
              <a:buClr>
                <a:schemeClr val="accent3"/>
              </a:buClr>
              <a:buFont typeface="Arial" pitchFamily="34" charset="0"/>
              <a:buChar char="•"/>
              <a:defRPr sz="1800">
                <a:solidFill>
                  <a:schemeClr val="tx1"/>
                </a:solidFill>
              </a:defRPr>
            </a:lvl1pPr>
            <a:lvl2pPr marL="504000">
              <a:buClr>
                <a:schemeClr val="tx1"/>
              </a:buClr>
              <a:defRPr sz="1600" b="0"/>
            </a:lvl2pPr>
            <a:lvl3pPr indent="0">
              <a:buNone/>
              <a:defRPr/>
            </a:lvl3pPr>
            <a:lvl4pPr marL="684000" indent="-180000">
              <a:buClr>
                <a:schemeClr val="tx1"/>
              </a:buClr>
              <a:buFont typeface="Arial" pitchFamily="34" charset="0"/>
              <a:buChar char="•"/>
              <a:defRPr sz="1400"/>
            </a:lvl4pPr>
          </a:lstStyle>
          <a:p>
            <a:pPr lvl="0"/>
            <a:r>
              <a:rPr lang="en-GB" noProof="0"/>
              <a:t>Text level 2</a:t>
            </a:r>
          </a:p>
          <a:p>
            <a:pPr lvl="1"/>
            <a:r>
              <a:rPr lang="en-GB" noProof="0"/>
              <a:t>Text level 3</a:t>
            </a:r>
          </a:p>
          <a:p>
            <a:pPr lvl="2"/>
            <a:r>
              <a:rPr lang="en-GB" noProof="0"/>
              <a:t>Text level 4</a:t>
            </a:r>
          </a:p>
          <a:p>
            <a:pPr lvl="3"/>
            <a:r>
              <a:rPr lang="en-GB" noProof="0"/>
              <a:t>Text level 5</a:t>
            </a:r>
          </a:p>
        </p:txBody>
      </p:sp>
      <p:sp>
        <p:nvSpPr>
          <p:cNvPr id="25" name="Espace réservé du texte 9"/>
          <p:cNvSpPr>
            <a:spLocks noGrp="1"/>
          </p:cNvSpPr>
          <p:nvPr>
            <p:ph type="body" sz="quarter" idx="23" hasCustomPrompt="1"/>
          </p:nvPr>
        </p:nvSpPr>
        <p:spPr bwMode="gray">
          <a:xfrm>
            <a:off x="935038" y="4131488"/>
            <a:ext cx="3564000" cy="324000"/>
          </a:xfrm>
          <a:solidFill>
            <a:schemeClr val="accent3"/>
          </a:solidFill>
          <a:ln w="9525">
            <a:solidFill>
              <a:schemeClr val="accent3"/>
            </a:solidFill>
          </a:ln>
        </p:spPr>
        <p:txBody>
          <a:bodyPr anchor="ctr" anchorCtr="0"/>
          <a:lstStyle>
            <a:lvl1pPr algn="ctr">
              <a:lnSpc>
                <a:spcPct val="100000"/>
              </a:lnSpc>
              <a:defRPr>
                <a:solidFill>
                  <a:schemeClr val="bg1"/>
                </a:solidFill>
              </a:defRPr>
            </a:lvl1pPr>
          </a:lstStyle>
          <a:p>
            <a:pPr lvl="0"/>
            <a:r>
              <a:rPr lang="en-GB" noProof="0"/>
              <a:t>Text level 1</a:t>
            </a:r>
          </a:p>
        </p:txBody>
      </p:sp>
      <p:sp>
        <p:nvSpPr>
          <p:cNvPr id="26" name="Espace réservé du texte 9"/>
          <p:cNvSpPr>
            <a:spLocks noGrp="1"/>
          </p:cNvSpPr>
          <p:nvPr>
            <p:ph type="body" sz="quarter" idx="24" hasCustomPrompt="1"/>
          </p:nvPr>
        </p:nvSpPr>
        <p:spPr bwMode="gray">
          <a:xfrm>
            <a:off x="935038" y="4455488"/>
            <a:ext cx="3564000" cy="1350000"/>
          </a:xfrm>
          <a:ln w="9525">
            <a:solidFill>
              <a:schemeClr val="accent3"/>
            </a:solidFill>
          </a:ln>
        </p:spPr>
        <p:txBody>
          <a:bodyPr tIns="72000"/>
          <a:lstStyle>
            <a:lvl1pPr marL="324000" indent="-180000">
              <a:lnSpc>
                <a:spcPct val="100000"/>
              </a:lnSpc>
              <a:spcBef>
                <a:spcPts val="300"/>
              </a:spcBef>
              <a:buClr>
                <a:schemeClr val="accent3"/>
              </a:buClr>
              <a:buFont typeface="Arial" pitchFamily="34" charset="0"/>
              <a:buChar char="•"/>
              <a:defRPr sz="1800">
                <a:solidFill>
                  <a:schemeClr val="tx1"/>
                </a:solidFill>
              </a:defRPr>
            </a:lvl1pPr>
            <a:lvl2pPr marL="504000">
              <a:buClr>
                <a:schemeClr val="tx1"/>
              </a:buClr>
              <a:defRPr sz="1600" b="0"/>
            </a:lvl2pPr>
            <a:lvl3pPr indent="0">
              <a:buNone/>
              <a:defRPr/>
            </a:lvl3pPr>
            <a:lvl4pPr marL="684000" indent="-180000">
              <a:buClr>
                <a:schemeClr val="tx1"/>
              </a:buClr>
              <a:buFont typeface="Arial" pitchFamily="34" charset="0"/>
              <a:buChar char="•"/>
              <a:defRPr sz="1400"/>
            </a:lvl4pPr>
          </a:lstStyle>
          <a:p>
            <a:pPr lvl="0"/>
            <a:r>
              <a:rPr lang="en-GB" noProof="0"/>
              <a:t>Text level 2</a:t>
            </a:r>
          </a:p>
          <a:p>
            <a:pPr lvl="1"/>
            <a:r>
              <a:rPr lang="en-GB" noProof="0"/>
              <a:t>Text level 3</a:t>
            </a:r>
          </a:p>
          <a:p>
            <a:pPr lvl="2"/>
            <a:r>
              <a:rPr lang="en-GB" noProof="0"/>
              <a:t>Text level 4</a:t>
            </a:r>
          </a:p>
          <a:p>
            <a:pPr lvl="3"/>
            <a:r>
              <a:rPr lang="en-GB" noProof="0"/>
              <a:t>Text level 5</a:t>
            </a:r>
          </a:p>
        </p:txBody>
      </p:sp>
      <p:sp>
        <p:nvSpPr>
          <p:cNvPr id="27" name="Espace réservé du texte 9"/>
          <p:cNvSpPr>
            <a:spLocks noGrp="1"/>
          </p:cNvSpPr>
          <p:nvPr>
            <p:ph type="body" sz="quarter" idx="25" hasCustomPrompt="1"/>
          </p:nvPr>
        </p:nvSpPr>
        <p:spPr bwMode="gray">
          <a:xfrm>
            <a:off x="4716400" y="4131488"/>
            <a:ext cx="3564000" cy="324000"/>
          </a:xfrm>
          <a:solidFill>
            <a:schemeClr val="bg2"/>
          </a:solidFill>
          <a:ln w="9525">
            <a:solidFill>
              <a:schemeClr val="bg2"/>
            </a:solidFill>
          </a:ln>
        </p:spPr>
        <p:txBody>
          <a:bodyPr anchor="ctr" anchorCtr="0"/>
          <a:lstStyle>
            <a:lvl1pPr algn="ctr">
              <a:lnSpc>
                <a:spcPct val="100000"/>
              </a:lnSpc>
              <a:defRPr>
                <a:solidFill>
                  <a:schemeClr val="bg1"/>
                </a:solidFill>
              </a:defRPr>
            </a:lvl1pPr>
          </a:lstStyle>
          <a:p>
            <a:pPr lvl="0"/>
            <a:r>
              <a:rPr lang="en-GB" noProof="0"/>
              <a:t>Text level 1</a:t>
            </a:r>
          </a:p>
        </p:txBody>
      </p:sp>
      <p:sp>
        <p:nvSpPr>
          <p:cNvPr id="28" name="Espace réservé du texte 9"/>
          <p:cNvSpPr>
            <a:spLocks noGrp="1"/>
          </p:cNvSpPr>
          <p:nvPr>
            <p:ph type="body" sz="quarter" idx="26" hasCustomPrompt="1"/>
          </p:nvPr>
        </p:nvSpPr>
        <p:spPr bwMode="gray">
          <a:xfrm>
            <a:off x="4716400" y="4455488"/>
            <a:ext cx="3564000" cy="1350000"/>
          </a:xfrm>
          <a:ln w="9525">
            <a:solidFill>
              <a:schemeClr val="bg2"/>
            </a:solidFill>
          </a:ln>
        </p:spPr>
        <p:txBody>
          <a:bodyPr tIns="72000"/>
          <a:lstStyle>
            <a:lvl1pPr marL="324000" indent="-180000">
              <a:lnSpc>
                <a:spcPct val="100000"/>
              </a:lnSpc>
              <a:spcBef>
                <a:spcPts val="300"/>
              </a:spcBef>
              <a:buClr>
                <a:schemeClr val="accent3"/>
              </a:buClr>
              <a:buFont typeface="Arial" pitchFamily="34" charset="0"/>
              <a:buChar char="•"/>
              <a:defRPr sz="1800">
                <a:solidFill>
                  <a:schemeClr val="tx1"/>
                </a:solidFill>
              </a:defRPr>
            </a:lvl1pPr>
            <a:lvl2pPr marL="504000">
              <a:buClr>
                <a:schemeClr val="tx1"/>
              </a:buClr>
              <a:defRPr sz="1600" b="0"/>
            </a:lvl2pPr>
            <a:lvl3pPr indent="0">
              <a:buNone/>
              <a:defRPr/>
            </a:lvl3pPr>
            <a:lvl4pPr marL="684000" indent="-180000">
              <a:buClr>
                <a:schemeClr val="tx1"/>
              </a:buClr>
              <a:buFont typeface="Arial" pitchFamily="34" charset="0"/>
              <a:buChar char="•"/>
              <a:defRPr sz="1400"/>
            </a:lvl4pPr>
          </a:lstStyle>
          <a:p>
            <a:pPr lvl="0"/>
            <a:r>
              <a:rPr lang="en-GB" noProof="0"/>
              <a:t>Text level 2</a:t>
            </a:r>
          </a:p>
          <a:p>
            <a:pPr lvl="1"/>
            <a:r>
              <a:rPr lang="en-GB" noProof="0"/>
              <a:t>Text level 3</a:t>
            </a:r>
          </a:p>
          <a:p>
            <a:pPr lvl="2"/>
            <a:r>
              <a:rPr lang="en-GB" noProof="0"/>
              <a:t>Text level 4</a:t>
            </a:r>
          </a:p>
          <a:p>
            <a:pPr lvl="3"/>
            <a:r>
              <a:rPr lang="en-GB" noProof="0"/>
              <a:t>Text level 5</a:t>
            </a:r>
          </a:p>
        </p:txBody>
      </p:sp>
    </p:spTree>
    <p:extLst>
      <p:ext uri="{BB962C8B-B14F-4D97-AF65-F5344CB8AC3E}">
        <p14:creationId xmlns:p14="http://schemas.microsoft.com/office/powerpoint/2010/main" val="1657984417"/>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pic>
        <p:nvPicPr>
          <p:cNvPr id="6" name="Image 18" descr="FD_02.pn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gray">
          <a:xfrm>
            <a:off x="0" y="0"/>
            <a:ext cx="9144000" cy="51577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7" name="Rectangle 6"/>
          <p:cNvSpPr/>
          <p:nvPr userDrawn="1"/>
        </p:nvSpPr>
        <p:spPr bwMode="gray">
          <a:xfrm>
            <a:off x="3635375" y="5265738"/>
            <a:ext cx="5508625" cy="15922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prstClr val="white"/>
              </a:solidFill>
            </a:endParaRPr>
          </a:p>
        </p:txBody>
      </p:sp>
      <p:pic>
        <p:nvPicPr>
          <p:cNvPr id="10" name="Image 19" descr="Bas_couv.png"/>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gray">
          <a:xfrm>
            <a:off x="0" y="5172075"/>
            <a:ext cx="3635375" cy="16859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1" name="Rectangle 10"/>
          <p:cNvSpPr/>
          <p:nvPr userDrawn="1"/>
        </p:nvSpPr>
        <p:spPr bwMode="gray">
          <a:xfrm>
            <a:off x="3635375" y="6354763"/>
            <a:ext cx="5113338" cy="2873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p>
            <a:pPr algn="r">
              <a:defRPr/>
            </a:pPr>
            <a:r>
              <a:rPr lang="en-US" sz="1000" err="1">
                <a:solidFill>
                  <a:srgbClr val="95D600"/>
                </a:solidFill>
              </a:rPr>
              <a:t>www.gavi.org</a:t>
            </a:r>
            <a:endParaRPr lang="en-US" sz="1000">
              <a:solidFill>
                <a:srgbClr val="95D600"/>
              </a:solidFill>
            </a:endParaRPr>
          </a:p>
        </p:txBody>
      </p:sp>
      <p:cxnSp>
        <p:nvCxnSpPr>
          <p:cNvPr id="12" name="Connecteur droit 22"/>
          <p:cNvCxnSpPr/>
          <p:nvPr userDrawn="1"/>
        </p:nvCxnSpPr>
        <p:spPr bwMode="gray">
          <a:xfrm flipH="1">
            <a:off x="468313" y="3402013"/>
            <a:ext cx="2447925" cy="0"/>
          </a:xfrm>
          <a:prstGeom prst="line">
            <a:avLst/>
          </a:prstGeom>
          <a:ln w="24130">
            <a:solidFill>
              <a:schemeClr val="accent1"/>
            </a:solidFill>
          </a:ln>
        </p:spPr>
        <p:style>
          <a:lnRef idx="1">
            <a:schemeClr val="accent1"/>
          </a:lnRef>
          <a:fillRef idx="0">
            <a:schemeClr val="accent1"/>
          </a:fillRef>
          <a:effectRef idx="0">
            <a:schemeClr val="accent1"/>
          </a:effectRef>
          <a:fontRef idx="minor">
            <a:schemeClr val="tx1"/>
          </a:fontRef>
        </p:style>
      </p:cxnSp>
      <p:sp>
        <p:nvSpPr>
          <p:cNvPr id="9" name="Espace réservé du texte 8"/>
          <p:cNvSpPr>
            <a:spLocks noGrp="1"/>
          </p:cNvSpPr>
          <p:nvPr>
            <p:ph type="body" sz="quarter" idx="13"/>
          </p:nvPr>
        </p:nvSpPr>
        <p:spPr bwMode="gray">
          <a:xfrm>
            <a:off x="468314" y="1036800"/>
            <a:ext cx="4824412" cy="2232000"/>
          </a:xfrm>
        </p:spPr>
        <p:txBody>
          <a:bodyPr anchor="b"/>
          <a:lstStyle>
            <a:lvl1pPr marL="0" indent="0" algn="l">
              <a:lnSpc>
                <a:spcPct val="90000"/>
              </a:lnSpc>
              <a:buNone/>
              <a:defRPr sz="2800" b="1" cap="none" baseline="0">
                <a:solidFill>
                  <a:schemeClr val="bg1"/>
                </a:solidFill>
              </a:defRPr>
            </a:lvl1pPr>
            <a:lvl2pPr marL="0" algn="ctr">
              <a:lnSpc>
                <a:spcPct val="100000"/>
              </a:lnSpc>
              <a:spcBef>
                <a:spcPts val="6900"/>
              </a:spcBef>
              <a:defRPr sz="2000" b="1">
                <a:solidFill>
                  <a:schemeClr val="bg1"/>
                </a:solidFill>
              </a:defRPr>
            </a:lvl2pPr>
          </a:lstStyle>
          <a:p>
            <a:pPr lvl="0"/>
            <a:r>
              <a:rPr lang="en-US" noProof="0"/>
              <a:t>Click to edit Master text styles</a:t>
            </a:r>
          </a:p>
        </p:txBody>
      </p:sp>
      <p:sp>
        <p:nvSpPr>
          <p:cNvPr id="8" name="Espace réservé du texte 8"/>
          <p:cNvSpPr>
            <a:spLocks noGrp="1"/>
          </p:cNvSpPr>
          <p:nvPr>
            <p:ph type="body" sz="quarter" idx="14"/>
          </p:nvPr>
        </p:nvSpPr>
        <p:spPr bwMode="gray">
          <a:xfrm>
            <a:off x="468314" y="3585600"/>
            <a:ext cx="4824411" cy="1479600"/>
          </a:xfrm>
        </p:spPr>
        <p:txBody>
          <a:bodyPr/>
          <a:lstStyle>
            <a:lvl1pPr marL="0" indent="0" algn="l">
              <a:lnSpc>
                <a:spcPct val="90000"/>
              </a:lnSpc>
              <a:buNone/>
              <a:defRPr sz="2000" b="0" baseline="0">
                <a:solidFill>
                  <a:schemeClr val="bg1"/>
                </a:solidFill>
              </a:defRPr>
            </a:lvl1pPr>
            <a:lvl2pPr marL="0" algn="ctr">
              <a:lnSpc>
                <a:spcPct val="100000"/>
              </a:lnSpc>
              <a:spcBef>
                <a:spcPts val="6900"/>
              </a:spcBef>
              <a:defRPr sz="2000" b="1">
                <a:solidFill>
                  <a:schemeClr val="bg1"/>
                </a:solidFill>
              </a:defRPr>
            </a:lvl2pPr>
          </a:lstStyle>
          <a:p>
            <a:pPr lvl="0"/>
            <a:r>
              <a:rPr lang="en-US" noProof="0"/>
              <a:t>Click to edit Master text styles</a:t>
            </a:r>
          </a:p>
        </p:txBody>
      </p:sp>
      <p:sp>
        <p:nvSpPr>
          <p:cNvPr id="15" name="Espace réservé du texte 14"/>
          <p:cNvSpPr>
            <a:spLocks noGrp="1"/>
          </p:cNvSpPr>
          <p:nvPr>
            <p:ph type="body" sz="quarter" idx="19"/>
          </p:nvPr>
        </p:nvSpPr>
        <p:spPr bwMode="gray">
          <a:xfrm>
            <a:off x="3635376" y="6021388"/>
            <a:ext cx="5113338" cy="324000"/>
          </a:xfrm>
        </p:spPr>
        <p:txBody>
          <a:bodyPr anchor="b"/>
          <a:lstStyle>
            <a:lvl1pPr algn="r">
              <a:lnSpc>
                <a:spcPct val="100000"/>
              </a:lnSpc>
              <a:defRPr sz="1000" b="1">
                <a:solidFill>
                  <a:schemeClr val="accent3"/>
                </a:solidFill>
              </a:defRPr>
            </a:lvl1pPr>
          </a:lstStyle>
          <a:p>
            <a:pPr lvl="0"/>
            <a:r>
              <a:rPr lang="en-US" noProof="0"/>
              <a:t>Click to edit Master text styles</a:t>
            </a:r>
          </a:p>
        </p:txBody>
      </p:sp>
      <p:sp>
        <p:nvSpPr>
          <p:cNvPr id="17" name="Espace réservé du texte 16"/>
          <p:cNvSpPr>
            <a:spLocks noGrp="1"/>
          </p:cNvSpPr>
          <p:nvPr>
            <p:ph type="body" sz="quarter" idx="20"/>
          </p:nvPr>
        </p:nvSpPr>
        <p:spPr bwMode="gray">
          <a:xfrm>
            <a:off x="0" y="5157788"/>
            <a:ext cx="9144000" cy="287337"/>
          </a:xfrm>
          <a:solidFill>
            <a:schemeClr val="bg1"/>
          </a:solidFill>
        </p:spPr>
        <p:txBody>
          <a:bodyPr/>
          <a:lstStyle>
            <a:lvl1pPr>
              <a:defRPr sz="100" b="0">
                <a:solidFill>
                  <a:schemeClr val="bg1">
                    <a:alpha val="0"/>
                  </a:schemeClr>
                </a:solidFill>
              </a:defRPr>
            </a:lvl1pPr>
          </a:lstStyle>
          <a:p>
            <a:pPr lvl="0"/>
            <a:r>
              <a:rPr lang="en-US" noProof="0"/>
              <a:t>Click to edit Master text styles</a:t>
            </a:r>
          </a:p>
        </p:txBody>
      </p:sp>
      <p:sp>
        <p:nvSpPr>
          <p:cNvPr id="13" name="Espace réservé de la date 9"/>
          <p:cNvSpPr>
            <a:spLocks noGrp="1"/>
          </p:cNvSpPr>
          <p:nvPr>
            <p:ph type="dt" sz="half" idx="21"/>
          </p:nvPr>
        </p:nvSpPr>
        <p:spPr/>
        <p:txBody>
          <a:bodyPr/>
          <a:lstStyle>
            <a:lvl1pPr>
              <a:defRPr/>
            </a:lvl1pPr>
          </a:lstStyle>
          <a:p>
            <a:pPr>
              <a:defRPr/>
            </a:pPr>
            <a:r>
              <a:rPr lang="en-US">
                <a:solidFill>
                  <a:prstClr val="white">
                    <a:alpha val="0"/>
                  </a:prstClr>
                </a:solidFill>
              </a:rPr>
              <a:t>Date</a:t>
            </a:r>
          </a:p>
        </p:txBody>
      </p:sp>
      <p:sp>
        <p:nvSpPr>
          <p:cNvPr id="14" name="Espace réservé du numéro de diapositive 10"/>
          <p:cNvSpPr>
            <a:spLocks noGrp="1"/>
          </p:cNvSpPr>
          <p:nvPr>
            <p:ph type="sldNum" sz="quarter" idx="22"/>
          </p:nvPr>
        </p:nvSpPr>
        <p:spPr/>
        <p:txBody>
          <a:bodyPr/>
          <a:lstStyle>
            <a:lvl1pPr>
              <a:defRPr sz="100">
                <a:solidFill>
                  <a:schemeClr val="bg1">
                    <a:alpha val="0"/>
                  </a:schemeClr>
                </a:solidFill>
              </a:defRPr>
            </a:lvl1pPr>
          </a:lstStyle>
          <a:p>
            <a:pPr>
              <a:defRPr/>
            </a:pPr>
            <a:r>
              <a:rPr lang="en-US">
                <a:solidFill>
                  <a:prstClr val="white">
                    <a:alpha val="0"/>
                  </a:prstClr>
                </a:solidFill>
              </a:rPr>
              <a:t>Page: </a:t>
            </a:r>
            <a:fld id="{541ADD26-9626-44B7-849C-716E619042DF}" type="slidenum">
              <a:rPr lang="en-US">
                <a:solidFill>
                  <a:prstClr val="white">
                    <a:alpha val="0"/>
                  </a:prstClr>
                </a:solidFill>
              </a:rPr>
              <a:pPr>
                <a:defRPr/>
              </a:pPr>
              <a:t>‹#›</a:t>
            </a:fld>
            <a:endParaRPr lang="en-US">
              <a:solidFill>
                <a:prstClr val="white">
                  <a:alpha val="0"/>
                </a:prstClr>
              </a:solidFill>
            </a:endParaRPr>
          </a:p>
        </p:txBody>
      </p:sp>
      <p:sp>
        <p:nvSpPr>
          <p:cNvPr id="16" name="Espace réservé du pied de page 11"/>
          <p:cNvSpPr>
            <a:spLocks noGrp="1"/>
          </p:cNvSpPr>
          <p:nvPr>
            <p:ph type="ftr" sz="quarter" idx="23"/>
          </p:nvPr>
        </p:nvSpPr>
        <p:spPr>
          <a:xfrm>
            <a:off x="468313" y="523875"/>
            <a:ext cx="4824412" cy="360363"/>
          </a:xfrm>
        </p:spPr>
        <p:txBody>
          <a:bodyPr/>
          <a:lstStyle>
            <a:lvl1pPr algn="l">
              <a:defRPr sz="1800" b="0">
                <a:solidFill>
                  <a:schemeClr val="bg1"/>
                </a:solidFill>
              </a:defRPr>
            </a:lvl1pPr>
          </a:lstStyle>
          <a:p>
            <a:pPr>
              <a:defRPr/>
            </a:pPr>
            <a:r>
              <a:rPr lang="en-US">
                <a:solidFill>
                  <a:prstClr val="white"/>
                </a:solidFill>
              </a:rPr>
              <a:t>#vaccelerate</a:t>
            </a:r>
          </a:p>
        </p:txBody>
      </p:sp>
    </p:spTree>
    <p:extLst>
      <p:ext uri="{BB962C8B-B14F-4D97-AF65-F5344CB8AC3E}">
        <p14:creationId xmlns:p14="http://schemas.microsoft.com/office/powerpoint/2010/main" val="2928657137"/>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Cover_Picture_1">
    <p:spTree>
      <p:nvGrpSpPr>
        <p:cNvPr id="1" name=""/>
        <p:cNvGrpSpPr/>
        <p:nvPr/>
      </p:nvGrpSpPr>
      <p:grpSpPr>
        <a:xfrm>
          <a:off x="0" y="0"/>
          <a:ext cx="0" cy="0"/>
          <a:chOff x="0" y="0"/>
          <a:chExt cx="0" cy="0"/>
        </a:xfrm>
      </p:grpSpPr>
      <p:pic>
        <p:nvPicPr>
          <p:cNvPr id="7" name="Image 20" descr="FD_1_L254.png"/>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gray">
          <a:xfrm>
            <a:off x="0" y="0"/>
            <a:ext cx="9144000" cy="51577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0" name="Rectangle 9"/>
          <p:cNvSpPr/>
          <p:nvPr userDrawn="1"/>
        </p:nvSpPr>
        <p:spPr bwMode="gray">
          <a:xfrm>
            <a:off x="3635375" y="5265738"/>
            <a:ext cx="5508625" cy="15922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prstClr val="white"/>
              </a:solidFill>
            </a:endParaRPr>
          </a:p>
        </p:txBody>
      </p:sp>
      <p:pic>
        <p:nvPicPr>
          <p:cNvPr id="11" name="Image 19" descr="Bas_couv.png"/>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gray">
          <a:xfrm>
            <a:off x="0" y="5172075"/>
            <a:ext cx="3635375" cy="16859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2" name="Rectangle 11"/>
          <p:cNvSpPr/>
          <p:nvPr userDrawn="1"/>
        </p:nvSpPr>
        <p:spPr bwMode="gray">
          <a:xfrm>
            <a:off x="3635375" y="6354763"/>
            <a:ext cx="5113338" cy="2873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p>
            <a:pPr algn="r">
              <a:defRPr/>
            </a:pPr>
            <a:r>
              <a:rPr lang="en-US" sz="1000" err="1">
                <a:solidFill>
                  <a:srgbClr val="95D600"/>
                </a:solidFill>
              </a:rPr>
              <a:t>www.gavi.org</a:t>
            </a:r>
            <a:endParaRPr lang="en-US" sz="1000">
              <a:solidFill>
                <a:srgbClr val="95D600"/>
              </a:solidFill>
            </a:endParaRPr>
          </a:p>
        </p:txBody>
      </p:sp>
      <p:cxnSp>
        <p:nvCxnSpPr>
          <p:cNvPr id="13" name="Connecteur droit 22"/>
          <p:cNvCxnSpPr/>
          <p:nvPr userDrawn="1"/>
        </p:nvCxnSpPr>
        <p:spPr bwMode="gray">
          <a:xfrm flipH="1">
            <a:off x="468313" y="3402013"/>
            <a:ext cx="2447925" cy="0"/>
          </a:xfrm>
          <a:prstGeom prst="line">
            <a:avLst/>
          </a:prstGeom>
          <a:ln w="24130">
            <a:solidFill>
              <a:schemeClr val="accent1"/>
            </a:solidFill>
          </a:ln>
        </p:spPr>
        <p:style>
          <a:lnRef idx="1">
            <a:schemeClr val="accent1"/>
          </a:lnRef>
          <a:fillRef idx="0">
            <a:schemeClr val="accent1"/>
          </a:fillRef>
          <a:effectRef idx="0">
            <a:schemeClr val="accent1"/>
          </a:effectRef>
          <a:fontRef idx="minor">
            <a:schemeClr val="tx1"/>
          </a:fontRef>
        </p:style>
      </p:cxnSp>
      <p:sp>
        <p:nvSpPr>
          <p:cNvPr id="9" name="Espace réservé du texte 8"/>
          <p:cNvSpPr>
            <a:spLocks noGrp="1"/>
          </p:cNvSpPr>
          <p:nvPr>
            <p:ph type="body" sz="quarter" idx="13"/>
          </p:nvPr>
        </p:nvSpPr>
        <p:spPr bwMode="gray">
          <a:xfrm>
            <a:off x="468314" y="1036638"/>
            <a:ext cx="4824412" cy="2231392"/>
          </a:xfrm>
        </p:spPr>
        <p:txBody>
          <a:bodyPr anchor="b"/>
          <a:lstStyle>
            <a:lvl1pPr marL="0" indent="0" algn="l">
              <a:lnSpc>
                <a:spcPct val="90000"/>
              </a:lnSpc>
              <a:buNone/>
              <a:defRPr sz="2800" b="1" cap="none" baseline="0">
                <a:solidFill>
                  <a:schemeClr val="bg1"/>
                </a:solidFill>
              </a:defRPr>
            </a:lvl1pPr>
            <a:lvl2pPr marL="0" algn="ctr">
              <a:lnSpc>
                <a:spcPct val="100000"/>
              </a:lnSpc>
              <a:spcBef>
                <a:spcPts val="6900"/>
              </a:spcBef>
              <a:defRPr sz="2000" b="1">
                <a:solidFill>
                  <a:schemeClr val="bg1"/>
                </a:solidFill>
              </a:defRPr>
            </a:lvl2pPr>
          </a:lstStyle>
          <a:p>
            <a:pPr lvl="0"/>
            <a:r>
              <a:rPr lang="en-US" noProof="0"/>
              <a:t>Click to edit Master text styles</a:t>
            </a:r>
          </a:p>
        </p:txBody>
      </p:sp>
      <p:sp>
        <p:nvSpPr>
          <p:cNvPr id="8" name="Espace réservé du texte 8"/>
          <p:cNvSpPr>
            <a:spLocks noGrp="1"/>
          </p:cNvSpPr>
          <p:nvPr>
            <p:ph type="body" sz="quarter" idx="14"/>
          </p:nvPr>
        </p:nvSpPr>
        <p:spPr bwMode="gray">
          <a:xfrm>
            <a:off x="468314" y="3584637"/>
            <a:ext cx="3592800" cy="1477788"/>
          </a:xfrm>
        </p:spPr>
        <p:txBody>
          <a:bodyPr/>
          <a:lstStyle>
            <a:lvl1pPr marL="0" indent="0" algn="l">
              <a:lnSpc>
                <a:spcPct val="90000"/>
              </a:lnSpc>
              <a:buNone/>
              <a:defRPr sz="2000" b="0" baseline="0">
                <a:solidFill>
                  <a:schemeClr val="bg1"/>
                </a:solidFill>
              </a:defRPr>
            </a:lvl1pPr>
            <a:lvl2pPr marL="0" algn="ctr">
              <a:lnSpc>
                <a:spcPct val="100000"/>
              </a:lnSpc>
              <a:spcBef>
                <a:spcPts val="6900"/>
              </a:spcBef>
              <a:defRPr sz="2000" b="1">
                <a:solidFill>
                  <a:schemeClr val="bg1"/>
                </a:solidFill>
              </a:defRPr>
            </a:lvl2pPr>
          </a:lstStyle>
          <a:p>
            <a:pPr lvl="0"/>
            <a:r>
              <a:rPr lang="en-US" noProof="0"/>
              <a:t>Click to edit Master text styles</a:t>
            </a:r>
          </a:p>
        </p:txBody>
      </p:sp>
      <p:sp>
        <p:nvSpPr>
          <p:cNvPr id="15" name="Espace réservé du texte 14"/>
          <p:cNvSpPr>
            <a:spLocks noGrp="1"/>
          </p:cNvSpPr>
          <p:nvPr>
            <p:ph type="body" sz="quarter" idx="19"/>
          </p:nvPr>
        </p:nvSpPr>
        <p:spPr bwMode="gray">
          <a:xfrm>
            <a:off x="3635376" y="6021388"/>
            <a:ext cx="5113338" cy="324000"/>
          </a:xfrm>
        </p:spPr>
        <p:txBody>
          <a:bodyPr anchor="b"/>
          <a:lstStyle>
            <a:lvl1pPr algn="r">
              <a:lnSpc>
                <a:spcPct val="100000"/>
              </a:lnSpc>
              <a:defRPr sz="1000" b="1">
                <a:solidFill>
                  <a:schemeClr val="accent3"/>
                </a:solidFill>
              </a:defRPr>
            </a:lvl1pPr>
          </a:lstStyle>
          <a:p>
            <a:pPr lvl="0"/>
            <a:r>
              <a:rPr lang="en-US" noProof="0"/>
              <a:t>Click to edit Master text styles</a:t>
            </a:r>
          </a:p>
        </p:txBody>
      </p:sp>
      <p:sp>
        <p:nvSpPr>
          <p:cNvPr id="17" name="Espace réservé du texte 16"/>
          <p:cNvSpPr>
            <a:spLocks noGrp="1"/>
          </p:cNvSpPr>
          <p:nvPr>
            <p:ph type="body" sz="quarter" idx="20"/>
          </p:nvPr>
        </p:nvSpPr>
        <p:spPr bwMode="gray">
          <a:xfrm>
            <a:off x="0" y="5157788"/>
            <a:ext cx="9144000" cy="287337"/>
          </a:xfrm>
          <a:solidFill>
            <a:schemeClr val="bg1"/>
          </a:solidFill>
        </p:spPr>
        <p:txBody>
          <a:bodyPr/>
          <a:lstStyle>
            <a:lvl1pPr>
              <a:defRPr sz="100" b="0">
                <a:solidFill>
                  <a:schemeClr val="bg1">
                    <a:alpha val="0"/>
                  </a:schemeClr>
                </a:solidFill>
              </a:defRPr>
            </a:lvl1pPr>
          </a:lstStyle>
          <a:p>
            <a:pPr lvl="0"/>
            <a:r>
              <a:rPr lang="en-US" noProof="0"/>
              <a:t>Click to edit Master text styles</a:t>
            </a:r>
          </a:p>
        </p:txBody>
      </p:sp>
      <p:sp>
        <p:nvSpPr>
          <p:cNvPr id="24" name="Espace réservé pour une image  17"/>
          <p:cNvSpPr>
            <a:spLocks noGrp="1"/>
          </p:cNvSpPr>
          <p:nvPr>
            <p:ph type="pic" sz="quarter" idx="18"/>
          </p:nvPr>
        </p:nvSpPr>
        <p:spPr bwMode="gray">
          <a:xfrm>
            <a:off x="4192588" y="0"/>
            <a:ext cx="4951412" cy="5162400"/>
          </a:xfrm>
          <a:custGeom>
            <a:avLst/>
            <a:gdLst>
              <a:gd name="connsiteX0" fmla="*/ 0 w 3851275"/>
              <a:gd name="connsiteY0" fmla="*/ 0 h 5157788"/>
              <a:gd name="connsiteX1" fmla="*/ 3851275 w 3851275"/>
              <a:gd name="connsiteY1" fmla="*/ 0 h 5157788"/>
              <a:gd name="connsiteX2" fmla="*/ 3851275 w 3851275"/>
              <a:gd name="connsiteY2" fmla="*/ 5157788 h 5157788"/>
              <a:gd name="connsiteX3" fmla="*/ 0 w 3851275"/>
              <a:gd name="connsiteY3" fmla="*/ 5157788 h 5157788"/>
              <a:gd name="connsiteX4" fmla="*/ 0 w 3851275"/>
              <a:gd name="connsiteY4"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0 w 3851275"/>
              <a:gd name="connsiteY3" fmla="*/ 5157788 h 5157788"/>
              <a:gd name="connsiteX4" fmla="*/ 1692275 w 3851275"/>
              <a:gd name="connsiteY4" fmla="*/ 0 h 5157788"/>
              <a:gd name="connsiteX0" fmla="*/ 0 w 2159000"/>
              <a:gd name="connsiteY0" fmla="*/ 0 h 5157788"/>
              <a:gd name="connsiteX1" fmla="*/ 2159000 w 2159000"/>
              <a:gd name="connsiteY1" fmla="*/ 0 h 5157788"/>
              <a:gd name="connsiteX2" fmla="*/ 2159000 w 2159000"/>
              <a:gd name="connsiteY2" fmla="*/ 5157788 h 5157788"/>
              <a:gd name="connsiteX3" fmla="*/ 0 w 2159000"/>
              <a:gd name="connsiteY3" fmla="*/ 5157788 h 5157788"/>
              <a:gd name="connsiteX4" fmla="*/ 0 w 2159000"/>
              <a:gd name="connsiteY4" fmla="*/ 0 h 5157788"/>
              <a:gd name="connsiteX0" fmla="*/ 2625271 w 4784271"/>
              <a:gd name="connsiteY0" fmla="*/ 0 h 5157788"/>
              <a:gd name="connsiteX1" fmla="*/ 4784271 w 4784271"/>
              <a:gd name="connsiteY1" fmla="*/ 0 h 5157788"/>
              <a:gd name="connsiteX2" fmla="*/ 4784271 w 4784271"/>
              <a:gd name="connsiteY2" fmla="*/ 5157788 h 5157788"/>
              <a:gd name="connsiteX3" fmla="*/ 2625271 w 4784271"/>
              <a:gd name="connsiteY3" fmla="*/ 5157788 h 5157788"/>
              <a:gd name="connsiteX4" fmla="*/ 2625271 w 4784271"/>
              <a:gd name="connsiteY4" fmla="*/ 0 h 5157788"/>
              <a:gd name="connsiteX0" fmla="*/ 2625271 w 4784271"/>
              <a:gd name="connsiteY0" fmla="*/ 0 h 5157788"/>
              <a:gd name="connsiteX1" fmla="*/ 4784271 w 4784271"/>
              <a:gd name="connsiteY1" fmla="*/ 0 h 5157788"/>
              <a:gd name="connsiteX2" fmla="*/ 4784271 w 4784271"/>
              <a:gd name="connsiteY2" fmla="*/ 5157788 h 5157788"/>
              <a:gd name="connsiteX3" fmla="*/ 2625271 w 4784271"/>
              <a:gd name="connsiteY3" fmla="*/ 5157788 h 5157788"/>
              <a:gd name="connsiteX4" fmla="*/ 2625271 w 4784271"/>
              <a:gd name="connsiteY4" fmla="*/ 0 h 5157788"/>
              <a:gd name="connsiteX0" fmla="*/ 3568576 w 5727576"/>
              <a:gd name="connsiteY0" fmla="*/ 0 h 5157788"/>
              <a:gd name="connsiteX1" fmla="*/ 5727576 w 5727576"/>
              <a:gd name="connsiteY1" fmla="*/ 0 h 5157788"/>
              <a:gd name="connsiteX2" fmla="*/ 5727576 w 5727576"/>
              <a:gd name="connsiteY2" fmla="*/ 5157788 h 5157788"/>
              <a:gd name="connsiteX3" fmla="*/ 3568576 w 5727576"/>
              <a:gd name="connsiteY3" fmla="*/ 5157788 h 5157788"/>
              <a:gd name="connsiteX4" fmla="*/ 3568576 w 5727576"/>
              <a:gd name="connsiteY4" fmla="*/ 0 h 5157788"/>
              <a:gd name="connsiteX0" fmla="*/ 3306355 w 5465355"/>
              <a:gd name="connsiteY0" fmla="*/ 0 h 5157788"/>
              <a:gd name="connsiteX1" fmla="*/ 5465355 w 5465355"/>
              <a:gd name="connsiteY1" fmla="*/ 0 h 5157788"/>
              <a:gd name="connsiteX2" fmla="*/ 5465355 w 5465355"/>
              <a:gd name="connsiteY2" fmla="*/ 5157788 h 5157788"/>
              <a:gd name="connsiteX3" fmla="*/ 3306355 w 5465355"/>
              <a:gd name="connsiteY3" fmla="*/ 5157788 h 5157788"/>
              <a:gd name="connsiteX4" fmla="*/ 3306355 w 5465355"/>
              <a:gd name="connsiteY4" fmla="*/ 0 h 5157788"/>
              <a:gd name="connsiteX0" fmla="*/ 1416957 w 3575957"/>
              <a:gd name="connsiteY0" fmla="*/ 0 h 5157788"/>
              <a:gd name="connsiteX1" fmla="*/ 3575957 w 3575957"/>
              <a:gd name="connsiteY1" fmla="*/ 0 h 5157788"/>
              <a:gd name="connsiteX2" fmla="*/ 3575957 w 3575957"/>
              <a:gd name="connsiteY2" fmla="*/ 5157788 h 5157788"/>
              <a:gd name="connsiteX3" fmla="*/ 1416957 w 3575957"/>
              <a:gd name="connsiteY3" fmla="*/ 5157788 h 5157788"/>
              <a:gd name="connsiteX4" fmla="*/ 0 w 3575957"/>
              <a:gd name="connsiteY4" fmla="*/ 3339193 h 5157788"/>
              <a:gd name="connsiteX5" fmla="*/ 1416957 w 3575957"/>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6017419"/>
              <a:gd name="connsiteX1" fmla="*/ 3851275 w 3851275"/>
              <a:gd name="connsiteY1" fmla="*/ 0 h 6017419"/>
              <a:gd name="connsiteX2" fmla="*/ 3851275 w 3851275"/>
              <a:gd name="connsiteY2" fmla="*/ 5157788 h 6017419"/>
              <a:gd name="connsiteX3" fmla="*/ 1692275 w 3851275"/>
              <a:gd name="connsiteY3" fmla="*/ 5157788 h 6017419"/>
              <a:gd name="connsiteX4" fmla="*/ 0 w 3851275"/>
              <a:gd name="connsiteY4" fmla="*/ 3284984 h 6017419"/>
              <a:gd name="connsiteX5" fmla="*/ 1692275 w 3851275"/>
              <a:gd name="connsiteY5" fmla="*/ 0 h 6017419"/>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429000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429000 h 5157788"/>
              <a:gd name="connsiteX5" fmla="*/ 1710871 w 3869871"/>
              <a:gd name="connsiteY5" fmla="*/ 0 h 5157788"/>
              <a:gd name="connsiteX0" fmla="*/ 1704975 w 3863975"/>
              <a:gd name="connsiteY0" fmla="*/ 0 h 5157788"/>
              <a:gd name="connsiteX1" fmla="*/ 3863975 w 3863975"/>
              <a:gd name="connsiteY1" fmla="*/ 0 h 5157788"/>
              <a:gd name="connsiteX2" fmla="*/ 3863975 w 3863975"/>
              <a:gd name="connsiteY2" fmla="*/ 5157788 h 5157788"/>
              <a:gd name="connsiteX3" fmla="*/ 1704975 w 3863975"/>
              <a:gd name="connsiteY3" fmla="*/ 5157788 h 5157788"/>
              <a:gd name="connsiteX4" fmla="*/ 12700 w 3863975"/>
              <a:gd name="connsiteY4" fmla="*/ 3429000 h 5157788"/>
              <a:gd name="connsiteX5" fmla="*/ 1704975 w 3863975"/>
              <a:gd name="connsiteY5" fmla="*/ 0 h 5157788"/>
              <a:gd name="connsiteX0" fmla="*/ 1707243 w 3866243"/>
              <a:gd name="connsiteY0" fmla="*/ 0 h 5157788"/>
              <a:gd name="connsiteX1" fmla="*/ 3866243 w 3866243"/>
              <a:gd name="connsiteY1" fmla="*/ 0 h 5157788"/>
              <a:gd name="connsiteX2" fmla="*/ 3866243 w 3866243"/>
              <a:gd name="connsiteY2" fmla="*/ 5157788 h 5157788"/>
              <a:gd name="connsiteX3" fmla="*/ 1707243 w 3866243"/>
              <a:gd name="connsiteY3" fmla="*/ 5157788 h 5157788"/>
              <a:gd name="connsiteX4" fmla="*/ 14968 w 3866243"/>
              <a:gd name="connsiteY4" fmla="*/ 3429000 h 5157788"/>
              <a:gd name="connsiteX5" fmla="*/ 1707243 w 3866243"/>
              <a:gd name="connsiteY5" fmla="*/ 0 h 5157788"/>
              <a:gd name="connsiteX0" fmla="*/ 1130447 w 3866243"/>
              <a:gd name="connsiteY0" fmla="*/ 0 h 5157788"/>
              <a:gd name="connsiteX1" fmla="*/ 3866243 w 3866243"/>
              <a:gd name="connsiteY1" fmla="*/ 0 h 5157788"/>
              <a:gd name="connsiteX2" fmla="*/ 3866243 w 3866243"/>
              <a:gd name="connsiteY2" fmla="*/ 5157788 h 5157788"/>
              <a:gd name="connsiteX3" fmla="*/ 1707243 w 3866243"/>
              <a:gd name="connsiteY3" fmla="*/ 5157788 h 5157788"/>
              <a:gd name="connsiteX4" fmla="*/ 14968 w 3866243"/>
              <a:gd name="connsiteY4" fmla="*/ 3429000 h 5157788"/>
              <a:gd name="connsiteX5" fmla="*/ 1130447 w 3866243"/>
              <a:gd name="connsiteY5" fmla="*/ 0 h 5157788"/>
              <a:gd name="connsiteX0" fmla="*/ 2746143 w 5481939"/>
              <a:gd name="connsiteY0" fmla="*/ 0 h 5157788"/>
              <a:gd name="connsiteX1" fmla="*/ 5481939 w 5481939"/>
              <a:gd name="connsiteY1" fmla="*/ 0 h 5157788"/>
              <a:gd name="connsiteX2" fmla="*/ 5481939 w 5481939"/>
              <a:gd name="connsiteY2" fmla="*/ 5157788 h 5157788"/>
              <a:gd name="connsiteX3" fmla="*/ 585903 w 5481939"/>
              <a:gd name="connsiteY3" fmla="*/ 5153180 h 5157788"/>
              <a:gd name="connsiteX4" fmla="*/ 1630664 w 5481939"/>
              <a:gd name="connsiteY4" fmla="*/ 3429000 h 5157788"/>
              <a:gd name="connsiteX5" fmla="*/ 2746143 w 5481939"/>
              <a:gd name="connsiteY5" fmla="*/ 0 h 5157788"/>
              <a:gd name="connsiteX0" fmla="*/ 2746143 w 5481939"/>
              <a:gd name="connsiteY0" fmla="*/ 0 h 5157788"/>
              <a:gd name="connsiteX1" fmla="*/ 5481939 w 5481939"/>
              <a:gd name="connsiteY1" fmla="*/ 0 h 5157788"/>
              <a:gd name="connsiteX2" fmla="*/ 5481939 w 5481939"/>
              <a:gd name="connsiteY2" fmla="*/ 5157788 h 5157788"/>
              <a:gd name="connsiteX3" fmla="*/ 585903 w 5481939"/>
              <a:gd name="connsiteY3" fmla="*/ 5153180 h 5157788"/>
              <a:gd name="connsiteX4" fmla="*/ 1630664 w 5481939"/>
              <a:gd name="connsiteY4" fmla="*/ 3429000 h 5157788"/>
              <a:gd name="connsiteX5" fmla="*/ 2746143 w 548193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3574235 w 6310031"/>
              <a:gd name="connsiteY0" fmla="*/ 0 h 5157788"/>
              <a:gd name="connsiteX1" fmla="*/ 6310031 w 6310031"/>
              <a:gd name="connsiteY1" fmla="*/ 0 h 5157788"/>
              <a:gd name="connsiteX2" fmla="*/ 6310031 w 6310031"/>
              <a:gd name="connsiteY2" fmla="*/ 5157788 h 5157788"/>
              <a:gd name="connsiteX3" fmla="*/ 585903 w 6310031"/>
              <a:gd name="connsiteY3" fmla="*/ 5153180 h 5157788"/>
              <a:gd name="connsiteX4" fmla="*/ 1738031 w 6310031"/>
              <a:gd name="connsiteY4" fmla="*/ 3389965 h 5157788"/>
              <a:gd name="connsiteX5" fmla="*/ 3574235 w 6310031"/>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296143 w 5724128"/>
              <a:gd name="connsiteY4" fmla="*/ 3461908 h 5157788"/>
              <a:gd name="connsiteX5" fmla="*/ 2988332 w 5724128"/>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1188132 w 5760132"/>
              <a:gd name="connsiteY4" fmla="*/ 3425937 h 5157788"/>
              <a:gd name="connsiteX5" fmla="*/ 3024336 w 5760132"/>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2736304 w 5760132"/>
              <a:gd name="connsiteY4" fmla="*/ 3461908 h 5157788"/>
              <a:gd name="connsiteX5" fmla="*/ 3024336 w 5760132"/>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2736304 w 5760132"/>
              <a:gd name="connsiteY4" fmla="*/ 3461908 h 5157788"/>
              <a:gd name="connsiteX5" fmla="*/ 3024336 w 5760132"/>
              <a:gd name="connsiteY5" fmla="*/ 0 h 5157788"/>
              <a:gd name="connsiteX0" fmla="*/ 2160240 w 4896036"/>
              <a:gd name="connsiteY0" fmla="*/ 0 h 5157788"/>
              <a:gd name="connsiteX1" fmla="*/ 4896036 w 4896036"/>
              <a:gd name="connsiteY1" fmla="*/ 0 h 5157788"/>
              <a:gd name="connsiteX2" fmla="*/ 4896036 w 4896036"/>
              <a:gd name="connsiteY2" fmla="*/ 5157788 h 5157788"/>
              <a:gd name="connsiteX3" fmla="*/ 0 w 4896036"/>
              <a:gd name="connsiteY3" fmla="*/ 5153180 h 5157788"/>
              <a:gd name="connsiteX4" fmla="*/ 1872208 w 4896036"/>
              <a:gd name="connsiteY4" fmla="*/ 3461908 h 5157788"/>
              <a:gd name="connsiteX5" fmla="*/ 2160240 w 4896036"/>
              <a:gd name="connsiteY5" fmla="*/ 0 h 5157788"/>
              <a:gd name="connsiteX0" fmla="*/ 2232248 w 4968044"/>
              <a:gd name="connsiteY0" fmla="*/ 0 h 5157788"/>
              <a:gd name="connsiteX1" fmla="*/ 4968044 w 4968044"/>
              <a:gd name="connsiteY1" fmla="*/ 0 h 5157788"/>
              <a:gd name="connsiteX2" fmla="*/ 4968044 w 4968044"/>
              <a:gd name="connsiteY2" fmla="*/ 5157788 h 5157788"/>
              <a:gd name="connsiteX3" fmla="*/ 0 w 4968044"/>
              <a:gd name="connsiteY3" fmla="*/ 5153180 h 5157788"/>
              <a:gd name="connsiteX4" fmla="*/ 1944216 w 4968044"/>
              <a:gd name="connsiteY4" fmla="*/ 3461908 h 5157788"/>
              <a:gd name="connsiteX5" fmla="*/ 2232248 w 4968044"/>
              <a:gd name="connsiteY5" fmla="*/ 0 h 5157788"/>
              <a:gd name="connsiteX0" fmla="*/ 2207679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207679 w 4943475"/>
              <a:gd name="connsiteY5" fmla="*/ 0 h 5157788"/>
              <a:gd name="connsiteX0" fmla="*/ 2963763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963763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092200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71575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343583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675731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675731 w 4943475"/>
              <a:gd name="connsiteY5" fmla="*/ 0 h 5157788"/>
              <a:gd name="connsiteX0" fmla="*/ 2675731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675731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9672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19672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51412" h="5157788">
                <a:moveTo>
                  <a:pt x="2706687" y="0"/>
                </a:moveTo>
                <a:lnTo>
                  <a:pt x="4951412" y="0"/>
                </a:lnTo>
                <a:lnTo>
                  <a:pt x="4951412" y="5157788"/>
                </a:lnTo>
                <a:lnTo>
                  <a:pt x="0" y="5153180"/>
                </a:lnTo>
                <a:cubicBezTo>
                  <a:pt x="84411" y="4542509"/>
                  <a:pt x="183041" y="4024723"/>
                  <a:pt x="1243508" y="2562613"/>
                </a:cubicBezTo>
                <a:cubicBezTo>
                  <a:pt x="1867447" y="1704780"/>
                  <a:pt x="2665955" y="709265"/>
                  <a:pt x="2706687" y="0"/>
                </a:cubicBezTo>
                <a:close/>
              </a:path>
            </a:pathLst>
          </a:custGeom>
          <a:solidFill>
            <a:schemeClr val="bg2"/>
          </a:solidFill>
          <a:ln w="3175">
            <a:noFill/>
          </a:ln>
        </p:spPr>
        <p:txBody>
          <a:bodyPr tIns="720000" rtlCol="0" anchor="ctr">
            <a:noAutofit/>
          </a:bodyPr>
          <a:lstStyle>
            <a:lvl1pPr algn="ctr">
              <a:defRPr sz="1500">
                <a:solidFill>
                  <a:schemeClr val="bg1"/>
                </a:solidFill>
              </a:defRPr>
            </a:lvl1pPr>
          </a:lstStyle>
          <a:p>
            <a:pPr lvl="0"/>
            <a:r>
              <a:rPr lang="en-US" noProof="0"/>
              <a:t>Click icon to add picture</a:t>
            </a:r>
          </a:p>
        </p:txBody>
      </p:sp>
      <p:sp>
        <p:nvSpPr>
          <p:cNvPr id="14" name="Espace réservé de la date 9"/>
          <p:cNvSpPr>
            <a:spLocks noGrp="1"/>
          </p:cNvSpPr>
          <p:nvPr>
            <p:ph type="dt" sz="half" idx="21"/>
          </p:nvPr>
        </p:nvSpPr>
        <p:spPr/>
        <p:txBody>
          <a:bodyPr/>
          <a:lstStyle>
            <a:lvl1pPr>
              <a:defRPr/>
            </a:lvl1pPr>
          </a:lstStyle>
          <a:p>
            <a:pPr>
              <a:defRPr/>
            </a:pPr>
            <a:r>
              <a:rPr lang="en-US">
                <a:solidFill>
                  <a:prstClr val="white">
                    <a:alpha val="0"/>
                  </a:prstClr>
                </a:solidFill>
              </a:rPr>
              <a:t>Date</a:t>
            </a:r>
          </a:p>
        </p:txBody>
      </p:sp>
      <p:sp>
        <p:nvSpPr>
          <p:cNvPr id="16" name="Espace réservé du numéro de diapositive 10"/>
          <p:cNvSpPr>
            <a:spLocks noGrp="1"/>
          </p:cNvSpPr>
          <p:nvPr>
            <p:ph type="sldNum" sz="quarter" idx="22"/>
          </p:nvPr>
        </p:nvSpPr>
        <p:spPr/>
        <p:txBody>
          <a:bodyPr/>
          <a:lstStyle>
            <a:lvl1pPr>
              <a:defRPr sz="100">
                <a:solidFill>
                  <a:schemeClr val="bg1">
                    <a:alpha val="0"/>
                  </a:schemeClr>
                </a:solidFill>
              </a:defRPr>
            </a:lvl1pPr>
          </a:lstStyle>
          <a:p>
            <a:pPr>
              <a:defRPr/>
            </a:pPr>
            <a:r>
              <a:rPr lang="en-US">
                <a:solidFill>
                  <a:prstClr val="white">
                    <a:alpha val="0"/>
                  </a:prstClr>
                </a:solidFill>
              </a:rPr>
              <a:t>Page: </a:t>
            </a:r>
            <a:fld id="{FBC781E1-DB0D-44EA-942B-52789A2EA6EC}" type="slidenum">
              <a:rPr lang="en-US">
                <a:solidFill>
                  <a:prstClr val="white">
                    <a:alpha val="0"/>
                  </a:prstClr>
                </a:solidFill>
              </a:rPr>
              <a:pPr>
                <a:defRPr/>
              </a:pPr>
              <a:t>‹#›</a:t>
            </a:fld>
            <a:endParaRPr lang="en-US">
              <a:solidFill>
                <a:prstClr val="white">
                  <a:alpha val="0"/>
                </a:prstClr>
              </a:solidFill>
            </a:endParaRPr>
          </a:p>
        </p:txBody>
      </p:sp>
      <p:sp>
        <p:nvSpPr>
          <p:cNvPr id="18" name="Espace réservé du pied de page 11"/>
          <p:cNvSpPr>
            <a:spLocks noGrp="1"/>
          </p:cNvSpPr>
          <p:nvPr>
            <p:ph type="ftr" sz="quarter" idx="23"/>
          </p:nvPr>
        </p:nvSpPr>
        <p:spPr>
          <a:xfrm>
            <a:off x="468313" y="523875"/>
            <a:ext cx="4824412" cy="360363"/>
          </a:xfrm>
        </p:spPr>
        <p:txBody>
          <a:bodyPr/>
          <a:lstStyle>
            <a:lvl1pPr algn="l">
              <a:defRPr sz="1800" b="0">
                <a:solidFill>
                  <a:schemeClr val="bg1"/>
                </a:solidFill>
              </a:defRPr>
            </a:lvl1pPr>
          </a:lstStyle>
          <a:p>
            <a:pPr>
              <a:defRPr/>
            </a:pPr>
            <a:r>
              <a:rPr lang="en-US">
                <a:solidFill>
                  <a:prstClr val="white"/>
                </a:solidFill>
              </a:rPr>
              <a:t>#</a:t>
            </a:r>
            <a:r>
              <a:rPr lang="en-US" err="1">
                <a:solidFill>
                  <a:prstClr val="white"/>
                </a:solidFill>
              </a:rPr>
              <a:t>vaccineswork</a:t>
            </a:r>
            <a:endParaRPr lang="en-US">
              <a:solidFill>
                <a:prstClr val="white"/>
              </a:solidFill>
            </a:endParaRPr>
          </a:p>
          <a:p>
            <a:pPr>
              <a:defRPr/>
            </a:pPr>
            <a:endParaRPr lang="en-US">
              <a:solidFill>
                <a:prstClr val="white"/>
              </a:solidFill>
            </a:endParaRPr>
          </a:p>
        </p:txBody>
      </p:sp>
    </p:spTree>
    <p:extLst>
      <p:ext uri="{BB962C8B-B14F-4D97-AF65-F5344CB8AC3E}">
        <p14:creationId xmlns:p14="http://schemas.microsoft.com/office/powerpoint/2010/main" val="4185086485"/>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Cover_Picture_2">
    <p:spTree>
      <p:nvGrpSpPr>
        <p:cNvPr id="1" name=""/>
        <p:cNvGrpSpPr/>
        <p:nvPr/>
      </p:nvGrpSpPr>
      <p:grpSpPr>
        <a:xfrm>
          <a:off x="0" y="0"/>
          <a:ext cx="0" cy="0"/>
          <a:chOff x="0" y="0"/>
          <a:chExt cx="0" cy="0"/>
        </a:xfrm>
      </p:grpSpPr>
      <p:pic>
        <p:nvPicPr>
          <p:cNvPr id="7" name="Image 20" descr="FD_1_L254.png"/>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gray">
          <a:xfrm>
            <a:off x="0" y="0"/>
            <a:ext cx="9144000" cy="51577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0" name="Rectangle 9"/>
          <p:cNvSpPr/>
          <p:nvPr userDrawn="1"/>
        </p:nvSpPr>
        <p:spPr bwMode="gray">
          <a:xfrm>
            <a:off x="3635375" y="5265738"/>
            <a:ext cx="5508625" cy="15922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prstClr val="white"/>
              </a:solidFill>
            </a:endParaRPr>
          </a:p>
        </p:txBody>
      </p:sp>
      <p:pic>
        <p:nvPicPr>
          <p:cNvPr id="11" name="Image 19" descr="Bas_couv.png"/>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gray">
          <a:xfrm>
            <a:off x="0" y="5172075"/>
            <a:ext cx="3635375" cy="16859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2" name="Rectangle 11"/>
          <p:cNvSpPr/>
          <p:nvPr userDrawn="1"/>
        </p:nvSpPr>
        <p:spPr bwMode="gray">
          <a:xfrm>
            <a:off x="3635375" y="6354763"/>
            <a:ext cx="5113338" cy="2873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p>
            <a:pPr algn="r">
              <a:defRPr/>
            </a:pPr>
            <a:r>
              <a:rPr lang="en-US" sz="1000" err="1">
                <a:solidFill>
                  <a:srgbClr val="95D600"/>
                </a:solidFill>
              </a:rPr>
              <a:t>www.gavi.org</a:t>
            </a:r>
            <a:endParaRPr lang="en-US" sz="1000">
              <a:solidFill>
                <a:srgbClr val="95D600"/>
              </a:solidFill>
            </a:endParaRPr>
          </a:p>
        </p:txBody>
      </p:sp>
      <p:cxnSp>
        <p:nvCxnSpPr>
          <p:cNvPr id="13" name="Connecteur droit 13"/>
          <p:cNvCxnSpPr/>
          <p:nvPr userDrawn="1"/>
        </p:nvCxnSpPr>
        <p:spPr bwMode="gray">
          <a:xfrm flipH="1">
            <a:off x="468313" y="3402013"/>
            <a:ext cx="2447925" cy="0"/>
          </a:xfrm>
          <a:prstGeom prst="line">
            <a:avLst/>
          </a:prstGeom>
          <a:ln w="24130">
            <a:solidFill>
              <a:schemeClr val="accent1"/>
            </a:solidFill>
          </a:ln>
        </p:spPr>
        <p:style>
          <a:lnRef idx="1">
            <a:schemeClr val="accent1"/>
          </a:lnRef>
          <a:fillRef idx="0">
            <a:schemeClr val="accent1"/>
          </a:fillRef>
          <a:effectRef idx="0">
            <a:schemeClr val="accent1"/>
          </a:effectRef>
          <a:fontRef idx="minor">
            <a:schemeClr val="tx1"/>
          </a:fontRef>
        </p:style>
      </p:cxnSp>
      <p:sp>
        <p:nvSpPr>
          <p:cNvPr id="9" name="Espace réservé du texte 8"/>
          <p:cNvSpPr>
            <a:spLocks noGrp="1"/>
          </p:cNvSpPr>
          <p:nvPr>
            <p:ph type="body" sz="quarter" idx="13"/>
          </p:nvPr>
        </p:nvSpPr>
        <p:spPr bwMode="gray">
          <a:xfrm>
            <a:off x="468000" y="1036800"/>
            <a:ext cx="4824412" cy="2232000"/>
          </a:xfrm>
        </p:spPr>
        <p:txBody>
          <a:bodyPr anchor="b"/>
          <a:lstStyle>
            <a:lvl1pPr marL="0" indent="0" algn="l">
              <a:lnSpc>
                <a:spcPct val="90000"/>
              </a:lnSpc>
              <a:buNone/>
              <a:defRPr sz="2800" b="1" cap="none" baseline="0">
                <a:solidFill>
                  <a:schemeClr val="bg1"/>
                </a:solidFill>
              </a:defRPr>
            </a:lvl1pPr>
            <a:lvl2pPr marL="0" algn="ctr">
              <a:lnSpc>
                <a:spcPct val="100000"/>
              </a:lnSpc>
              <a:spcBef>
                <a:spcPts val="6900"/>
              </a:spcBef>
              <a:defRPr sz="2000" b="1">
                <a:solidFill>
                  <a:schemeClr val="bg1"/>
                </a:solidFill>
              </a:defRPr>
            </a:lvl2pPr>
          </a:lstStyle>
          <a:p>
            <a:pPr lvl="0"/>
            <a:r>
              <a:rPr lang="en-US" noProof="0"/>
              <a:t>Click to edit Master text styles</a:t>
            </a:r>
          </a:p>
        </p:txBody>
      </p:sp>
      <p:sp>
        <p:nvSpPr>
          <p:cNvPr id="8" name="Espace réservé du texte 8"/>
          <p:cNvSpPr>
            <a:spLocks noGrp="1"/>
          </p:cNvSpPr>
          <p:nvPr>
            <p:ph type="body" sz="quarter" idx="14"/>
          </p:nvPr>
        </p:nvSpPr>
        <p:spPr bwMode="gray">
          <a:xfrm>
            <a:off x="468314" y="3585600"/>
            <a:ext cx="3592800" cy="1479600"/>
          </a:xfrm>
        </p:spPr>
        <p:txBody>
          <a:bodyPr/>
          <a:lstStyle>
            <a:lvl1pPr marL="0" indent="0" algn="l">
              <a:lnSpc>
                <a:spcPct val="90000"/>
              </a:lnSpc>
              <a:buNone/>
              <a:defRPr sz="2000" b="0" baseline="0">
                <a:solidFill>
                  <a:schemeClr val="bg1"/>
                </a:solidFill>
              </a:defRPr>
            </a:lvl1pPr>
            <a:lvl2pPr marL="0" algn="ctr">
              <a:lnSpc>
                <a:spcPct val="100000"/>
              </a:lnSpc>
              <a:spcBef>
                <a:spcPts val="6900"/>
              </a:spcBef>
              <a:defRPr sz="2000" b="1">
                <a:solidFill>
                  <a:schemeClr val="bg1"/>
                </a:solidFill>
              </a:defRPr>
            </a:lvl2pPr>
          </a:lstStyle>
          <a:p>
            <a:pPr lvl="0"/>
            <a:r>
              <a:rPr lang="en-US" noProof="0"/>
              <a:t>Click to edit Master text styles</a:t>
            </a:r>
          </a:p>
        </p:txBody>
      </p:sp>
      <p:sp>
        <p:nvSpPr>
          <p:cNvPr id="15" name="Espace réservé du texte 14"/>
          <p:cNvSpPr>
            <a:spLocks noGrp="1"/>
          </p:cNvSpPr>
          <p:nvPr>
            <p:ph type="body" sz="quarter" idx="19"/>
          </p:nvPr>
        </p:nvSpPr>
        <p:spPr bwMode="gray">
          <a:xfrm>
            <a:off x="3635376" y="6021388"/>
            <a:ext cx="5113338" cy="324000"/>
          </a:xfrm>
        </p:spPr>
        <p:txBody>
          <a:bodyPr anchor="b"/>
          <a:lstStyle>
            <a:lvl1pPr algn="r">
              <a:lnSpc>
                <a:spcPct val="100000"/>
              </a:lnSpc>
              <a:defRPr sz="1000" b="1">
                <a:solidFill>
                  <a:schemeClr val="accent3"/>
                </a:solidFill>
              </a:defRPr>
            </a:lvl1pPr>
          </a:lstStyle>
          <a:p>
            <a:pPr lvl="0"/>
            <a:r>
              <a:rPr lang="en-US" noProof="0"/>
              <a:t>Click to edit Master text styles</a:t>
            </a:r>
          </a:p>
        </p:txBody>
      </p:sp>
      <p:sp>
        <p:nvSpPr>
          <p:cNvPr id="17" name="Espace réservé du texte 16"/>
          <p:cNvSpPr>
            <a:spLocks noGrp="1"/>
          </p:cNvSpPr>
          <p:nvPr>
            <p:ph type="body" sz="quarter" idx="20"/>
          </p:nvPr>
        </p:nvSpPr>
        <p:spPr bwMode="gray">
          <a:xfrm>
            <a:off x="0" y="5157788"/>
            <a:ext cx="9144000" cy="287337"/>
          </a:xfrm>
          <a:solidFill>
            <a:schemeClr val="bg1"/>
          </a:solidFill>
        </p:spPr>
        <p:txBody>
          <a:bodyPr/>
          <a:lstStyle>
            <a:lvl1pPr>
              <a:defRPr sz="100" b="0">
                <a:solidFill>
                  <a:schemeClr val="bg1">
                    <a:alpha val="0"/>
                  </a:schemeClr>
                </a:solidFill>
              </a:defRPr>
            </a:lvl1pPr>
          </a:lstStyle>
          <a:p>
            <a:pPr lvl="0"/>
            <a:r>
              <a:rPr lang="en-US" noProof="0"/>
              <a:t>Click to edit Master text styles</a:t>
            </a:r>
          </a:p>
        </p:txBody>
      </p:sp>
      <p:sp>
        <p:nvSpPr>
          <p:cNvPr id="18" name="Espace réservé pour une image  17"/>
          <p:cNvSpPr>
            <a:spLocks noGrp="1"/>
          </p:cNvSpPr>
          <p:nvPr>
            <p:ph type="pic" sz="quarter" idx="18"/>
          </p:nvPr>
        </p:nvSpPr>
        <p:spPr bwMode="gray">
          <a:xfrm>
            <a:off x="4192588" y="0"/>
            <a:ext cx="4951412" cy="5162400"/>
          </a:xfrm>
          <a:custGeom>
            <a:avLst/>
            <a:gdLst>
              <a:gd name="connsiteX0" fmla="*/ 0 w 3851275"/>
              <a:gd name="connsiteY0" fmla="*/ 0 h 5157788"/>
              <a:gd name="connsiteX1" fmla="*/ 3851275 w 3851275"/>
              <a:gd name="connsiteY1" fmla="*/ 0 h 5157788"/>
              <a:gd name="connsiteX2" fmla="*/ 3851275 w 3851275"/>
              <a:gd name="connsiteY2" fmla="*/ 5157788 h 5157788"/>
              <a:gd name="connsiteX3" fmla="*/ 0 w 3851275"/>
              <a:gd name="connsiteY3" fmla="*/ 5157788 h 5157788"/>
              <a:gd name="connsiteX4" fmla="*/ 0 w 3851275"/>
              <a:gd name="connsiteY4"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0 w 3851275"/>
              <a:gd name="connsiteY3" fmla="*/ 5157788 h 5157788"/>
              <a:gd name="connsiteX4" fmla="*/ 1692275 w 3851275"/>
              <a:gd name="connsiteY4" fmla="*/ 0 h 5157788"/>
              <a:gd name="connsiteX0" fmla="*/ 0 w 2159000"/>
              <a:gd name="connsiteY0" fmla="*/ 0 h 5157788"/>
              <a:gd name="connsiteX1" fmla="*/ 2159000 w 2159000"/>
              <a:gd name="connsiteY1" fmla="*/ 0 h 5157788"/>
              <a:gd name="connsiteX2" fmla="*/ 2159000 w 2159000"/>
              <a:gd name="connsiteY2" fmla="*/ 5157788 h 5157788"/>
              <a:gd name="connsiteX3" fmla="*/ 0 w 2159000"/>
              <a:gd name="connsiteY3" fmla="*/ 5157788 h 5157788"/>
              <a:gd name="connsiteX4" fmla="*/ 0 w 2159000"/>
              <a:gd name="connsiteY4" fmla="*/ 0 h 5157788"/>
              <a:gd name="connsiteX0" fmla="*/ 2625271 w 4784271"/>
              <a:gd name="connsiteY0" fmla="*/ 0 h 5157788"/>
              <a:gd name="connsiteX1" fmla="*/ 4784271 w 4784271"/>
              <a:gd name="connsiteY1" fmla="*/ 0 h 5157788"/>
              <a:gd name="connsiteX2" fmla="*/ 4784271 w 4784271"/>
              <a:gd name="connsiteY2" fmla="*/ 5157788 h 5157788"/>
              <a:gd name="connsiteX3" fmla="*/ 2625271 w 4784271"/>
              <a:gd name="connsiteY3" fmla="*/ 5157788 h 5157788"/>
              <a:gd name="connsiteX4" fmla="*/ 2625271 w 4784271"/>
              <a:gd name="connsiteY4" fmla="*/ 0 h 5157788"/>
              <a:gd name="connsiteX0" fmla="*/ 2625271 w 4784271"/>
              <a:gd name="connsiteY0" fmla="*/ 0 h 5157788"/>
              <a:gd name="connsiteX1" fmla="*/ 4784271 w 4784271"/>
              <a:gd name="connsiteY1" fmla="*/ 0 h 5157788"/>
              <a:gd name="connsiteX2" fmla="*/ 4784271 w 4784271"/>
              <a:gd name="connsiteY2" fmla="*/ 5157788 h 5157788"/>
              <a:gd name="connsiteX3" fmla="*/ 2625271 w 4784271"/>
              <a:gd name="connsiteY3" fmla="*/ 5157788 h 5157788"/>
              <a:gd name="connsiteX4" fmla="*/ 2625271 w 4784271"/>
              <a:gd name="connsiteY4" fmla="*/ 0 h 5157788"/>
              <a:gd name="connsiteX0" fmla="*/ 3568576 w 5727576"/>
              <a:gd name="connsiteY0" fmla="*/ 0 h 5157788"/>
              <a:gd name="connsiteX1" fmla="*/ 5727576 w 5727576"/>
              <a:gd name="connsiteY1" fmla="*/ 0 h 5157788"/>
              <a:gd name="connsiteX2" fmla="*/ 5727576 w 5727576"/>
              <a:gd name="connsiteY2" fmla="*/ 5157788 h 5157788"/>
              <a:gd name="connsiteX3" fmla="*/ 3568576 w 5727576"/>
              <a:gd name="connsiteY3" fmla="*/ 5157788 h 5157788"/>
              <a:gd name="connsiteX4" fmla="*/ 3568576 w 5727576"/>
              <a:gd name="connsiteY4" fmla="*/ 0 h 5157788"/>
              <a:gd name="connsiteX0" fmla="*/ 3306355 w 5465355"/>
              <a:gd name="connsiteY0" fmla="*/ 0 h 5157788"/>
              <a:gd name="connsiteX1" fmla="*/ 5465355 w 5465355"/>
              <a:gd name="connsiteY1" fmla="*/ 0 h 5157788"/>
              <a:gd name="connsiteX2" fmla="*/ 5465355 w 5465355"/>
              <a:gd name="connsiteY2" fmla="*/ 5157788 h 5157788"/>
              <a:gd name="connsiteX3" fmla="*/ 3306355 w 5465355"/>
              <a:gd name="connsiteY3" fmla="*/ 5157788 h 5157788"/>
              <a:gd name="connsiteX4" fmla="*/ 3306355 w 5465355"/>
              <a:gd name="connsiteY4" fmla="*/ 0 h 5157788"/>
              <a:gd name="connsiteX0" fmla="*/ 1416957 w 3575957"/>
              <a:gd name="connsiteY0" fmla="*/ 0 h 5157788"/>
              <a:gd name="connsiteX1" fmla="*/ 3575957 w 3575957"/>
              <a:gd name="connsiteY1" fmla="*/ 0 h 5157788"/>
              <a:gd name="connsiteX2" fmla="*/ 3575957 w 3575957"/>
              <a:gd name="connsiteY2" fmla="*/ 5157788 h 5157788"/>
              <a:gd name="connsiteX3" fmla="*/ 1416957 w 3575957"/>
              <a:gd name="connsiteY3" fmla="*/ 5157788 h 5157788"/>
              <a:gd name="connsiteX4" fmla="*/ 0 w 3575957"/>
              <a:gd name="connsiteY4" fmla="*/ 3339193 h 5157788"/>
              <a:gd name="connsiteX5" fmla="*/ 1416957 w 3575957"/>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6017419"/>
              <a:gd name="connsiteX1" fmla="*/ 3851275 w 3851275"/>
              <a:gd name="connsiteY1" fmla="*/ 0 h 6017419"/>
              <a:gd name="connsiteX2" fmla="*/ 3851275 w 3851275"/>
              <a:gd name="connsiteY2" fmla="*/ 5157788 h 6017419"/>
              <a:gd name="connsiteX3" fmla="*/ 1692275 w 3851275"/>
              <a:gd name="connsiteY3" fmla="*/ 5157788 h 6017419"/>
              <a:gd name="connsiteX4" fmla="*/ 0 w 3851275"/>
              <a:gd name="connsiteY4" fmla="*/ 3284984 h 6017419"/>
              <a:gd name="connsiteX5" fmla="*/ 1692275 w 3851275"/>
              <a:gd name="connsiteY5" fmla="*/ 0 h 6017419"/>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429000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429000 h 5157788"/>
              <a:gd name="connsiteX5" fmla="*/ 1710871 w 3869871"/>
              <a:gd name="connsiteY5" fmla="*/ 0 h 5157788"/>
              <a:gd name="connsiteX0" fmla="*/ 1704975 w 3863975"/>
              <a:gd name="connsiteY0" fmla="*/ 0 h 5157788"/>
              <a:gd name="connsiteX1" fmla="*/ 3863975 w 3863975"/>
              <a:gd name="connsiteY1" fmla="*/ 0 h 5157788"/>
              <a:gd name="connsiteX2" fmla="*/ 3863975 w 3863975"/>
              <a:gd name="connsiteY2" fmla="*/ 5157788 h 5157788"/>
              <a:gd name="connsiteX3" fmla="*/ 1704975 w 3863975"/>
              <a:gd name="connsiteY3" fmla="*/ 5157788 h 5157788"/>
              <a:gd name="connsiteX4" fmla="*/ 12700 w 3863975"/>
              <a:gd name="connsiteY4" fmla="*/ 3429000 h 5157788"/>
              <a:gd name="connsiteX5" fmla="*/ 1704975 w 3863975"/>
              <a:gd name="connsiteY5" fmla="*/ 0 h 5157788"/>
              <a:gd name="connsiteX0" fmla="*/ 1707243 w 3866243"/>
              <a:gd name="connsiteY0" fmla="*/ 0 h 5157788"/>
              <a:gd name="connsiteX1" fmla="*/ 3866243 w 3866243"/>
              <a:gd name="connsiteY1" fmla="*/ 0 h 5157788"/>
              <a:gd name="connsiteX2" fmla="*/ 3866243 w 3866243"/>
              <a:gd name="connsiteY2" fmla="*/ 5157788 h 5157788"/>
              <a:gd name="connsiteX3" fmla="*/ 1707243 w 3866243"/>
              <a:gd name="connsiteY3" fmla="*/ 5157788 h 5157788"/>
              <a:gd name="connsiteX4" fmla="*/ 14968 w 3866243"/>
              <a:gd name="connsiteY4" fmla="*/ 3429000 h 5157788"/>
              <a:gd name="connsiteX5" fmla="*/ 1707243 w 3866243"/>
              <a:gd name="connsiteY5" fmla="*/ 0 h 5157788"/>
              <a:gd name="connsiteX0" fmla="*/ 1130447 w 3866243"/>
              <a:gd name="connsiteY0" fmla="*/ 0 h 5157788"/>
              <a:gd name="connsiteX1" fmla="*/ 3866243 w 3866243"/>
              <a:gd name="connsiteY1" fmla="*/ 0 h 5157788"/>
              <a:gd name="connsiteX2" fmla="*/ 3866243 w 3866243"/>
              <a:gd name="connsiteY2" fmla="*/ 5157788 h 5157788"/>
              <a:gd name="connsiteX3" fmla="*/ 1707243 w 3866243"/>
              <a:gd name="connsiteY3" fmla="*/ 5157788 h 5157788"/>
              <a:gd name="connsiteX4" fmla="*/ 14968 w 3866243"/>
              <a:gd name="connsiteY4" fmla="*/ 3429000 h 5157788"/>
              <a:gd name="connsiteX5" fmla="*/ 1130447 w 3866243"/>
              <a:gd name="connsiteY5" fmla="*/ 0 h 5157788"/>
              <a:gd name="connsiteX0" fmla="*/ 2746143 w 5481939"/>
              <a:gd name="connsiteY0" fmla="*/ 0 h 5157788"/>
              <a:gd name="connsiteX1" fmla="*/ 5481939 w 5481939"/>
              <a:gd name="connsiteY1" fmla="*/ 0 h 5157788"/>
              <a:gd name="connsiteX2" fmla="*/ 5481939 w 5481939"/>
              <a:gd name="connsiteY2" fmla="*/ 5157788 h 5157788"/>
              <a:gd name="connsiteX3" fmla="*/ 585903 w 5481939"/>
              <a:gd name="connsiteY3" fmla="*/ 5153180 h 5157788"/>
              <a:gd name="connsiteX4" fmla="*/ 1630664 w 5481939"/>
              <a:gd name="connsiteY4" fmla="*/ 3429000 h 5157788"/>
              <a:gd name="connsiteX5" fmla="*/ 2746143 w 5481939"/>
              <a:gd name="connsiteY5" fmla="*/ 0 h 5157788"/>
              <a:gd name="connsiteX0" fmla="*/ 2746143 w 5481939"/>
              <a:gd name="connsiteY0" fmla="*/ 0 h 5157788"/>
              <a:gd name="connsiteX1" fmla="*/ 5481939 w 5481939"/>
              <a:gd name="connsiteY1" fmla="*/ 0 h 5157788"/>
              <a:gd name="connsiteX2" fmla="*/ 5481939 w 5481939"/>
              <a:gd name="connsiteY2" fmla="*/ 5157788 h 5157788"/>
              <a:gd name="connsiteX3" fmla="*/ 585903 w 5481939"/>
              <a:gd name="connsiteY3" fmla="*/ 5153180 h 5157788"/>
              <a:gd name="connsiteX4" fmla="*/ 1630664 w 5481939"/>
              <a:gd name="connsiteY4" fmla="*/ 3429000 h 5157788"/>
              <a:gd name="connsiteX5" fmla="*/ 2746143 w 548193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3574235 w 6310031"/>
              <a:gd name="connsiteY0" fmla="*/ 0 h 5157788"/>
              <a:gd name="connsiteX1" fmla="*/ 6310031 w 6310031"/>
              <a:gd name="connsiteY1" fmla="*/ 0 h 5157788"/>
              <a:gd name="connsiteX2" fmla="*/ 6310031 w 6310031"/>
              <a:gd name="connsiteY2" fmla="*/ 5157788 h 5157788"/>
              <a:gd name="connsiteX3" fmla="*/ 585903 w 6310031"/>
              <a:gd name="connsiteY3" fmla="*/ 5153180 h 5157788"/>
              <a:gd name="connsiteX4" fmla="*/ 1738031 w 6310031"/>
              <a:gd name="connsiteY4" fmla="*/ 3389965 h 5157788"/>
              <a:gd name="connsiteX5" fmla="*/ 3574235 w 6310031"/>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296143 w 5724128"/>
              <a:gd name="connsiteY4" fmla="*/ 3461908 h 5157788"/>
              <a:gd name="connsiteX5" fmla="*/ 2988332 w 5724128"/>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1188132 w 5760132"/>
              <a:gd name="connsiteY4" fmla="*/ 3425937 h 5157788"/>
              <a:gd name="connsiteX5" fmla="*/ 3024336 w 5760132"/>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2736304 w 5760132"/>
              <a:gd name="connsiteY4" fmla="*/ 3461908 h 5157788"/>
              <a:gd name="connsiteX5" fmla="*/ 3024336 w 5760132"/>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2736304 w 5760132"/>
              <a:gd name="connsiteY4" fmla="*/ 3461908 h 5157788"/>
              <a:gd name="connsiteX5" fmla="*/ 3024336 w 5760132"/>
              <a:gd name="connsiteY5" fmla="*/ 0 h 5157788"/>
              <a:gd name="connsiteX0" fmla="*/ 2160240 w 4896036"/>
              <a:gd name="connsiteY0" fmla="*/ 0 h 5157788"/>
              <a:gd name="connsiteX1" fmla="*/ 4896036 w 4896036"/>
              <a:gd name="connsiteY1" fmla="*/ 0 h 5157788"/>
              <a:gd name="connsiteX2" fmla="*/ 4896036 w 4896036"/>
              <a:gd name="connsiteY2" fmla="*/ 5157788 h 5157788"/>
              <a:gd name="connsiteX3" fmla="*/ 0 w 4896036"/>
              <a:gd name="connsiteY3" fmla="*/ 5153180 h 5157788"/>
              <a:gd name="connsiteX4" fmla="*/ 1872208 w 4896036"/>
              <a:gd name="connsiteY4" fmla="*/ 3461908 h 5157788"/>
              <a:gd name="connsiteX5" fmla="*/ 2160240 w 4896036"/>
              <a:gd name="connsiteY5" fmla="*/ 0 h 5157788"/>
              <a:gd name="connsiteX0" fmla="*/ 2232248 w 4968044"/>
              <a:gd name="connsiteY0" fmla="*/ 0 h 5157788"/>
              <a:gd name="connsiteX1" fmla="*/ 4968044 w 4968044"/>
              <a:gd name="connsiteY1" fmla="*/ 0 h 5157788"/>
              <a:gd name="connsiteX2" fmla="*/ 4968044 w 4968044"/>
              <a:gd name="connsiteY2" fmla="*/ 5157788 h 5157788"/>
              <a:gd name="connsiteX3" fmla="*/ 0 w 4968044"/>
              <a:gd name="connsiteY3" fmla="*/ 5153180 h 5157788"/>
              <a:gd name="connsiteX4" fmla="*/ 1944216 w 4968044"/>
              <a:gd name="connsiteY4" fmla="*/ 3461908 h 5157788"/>
              <a:gd name="connsiteX5" fmla="*/ 2232248 w 4968044"/>
              <a:gd name="connsiteY5" fmla="*/ 0 h 5157788"/>
              <a:gd name="connsiteX0" fmla="*/ 2207679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207679 w 4943475"/>
              <a:gd name="connsiteY5" fmla="*/ 0 h 5157788"/>
              <a:gd name="connsiteX0" fmla="*/ 2963763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963763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092200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71575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343583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675731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675731 w 4943475"/>
              <a:gd name="connsiteY5" fmla="*/ 0 h 5157788"/>
              <a:gd name="connsiteX0" fmla="*/ 2675731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675731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9672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19672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51412" h="5157788">
                <a:moveTo>
                  <a:pt x="2706687" y="0"/>
                </a:moveTo>
                <a:lnTo>
                  <a:pt x="4951412" y="0"/>
                </a:lnTo>
                <a:lnTo>
                  <a:pt x="4951412" y="5157788"/>
                </a:lnTo>
                <a:lnTo>
                  <a:pt x="0" y="5153180"/>
                </a:lnTo>
                <a:cubicBezTo>
                  <a:pt x="84411" y="4542509"/>
                  <a:pt x="183041" y="4024723"/>
                  <a:pt x="1243508" y="2562613"/>
                </a:cubicBezTo>
                <a:cubicBezTo>
                  <a:pt x="1867447" y="1704780"/>
                  <a:pt x="2665955" y="709265"/>
                  <a:pt x="2706687" y="0"/>
                </a:cubicBezTo>
                <a:close/>
              </a:path>
            </a:pathLst>
          </a:custGeom>
          <a:solidFill>
            <a:schemeClr val="bg2"/>
          </a:solidFill>
          <a:ln w="3175">
            <a:noFill/>
          </a:ln>
        </p:spPr>
        <p:txBody>
          <a:bodyPr tIns="720000" rtlCol="0" anchor="ctr">
            <a:noAutofit/>
          </a:bodyPr>
          <a:lstStyle>
            <a:lvl1pPr algn="ctr">
              <a:defRPr sz="1500">
                <a:solidFill>
                  <a:schemeClr val="bg1"/>
                </a:solidFill>
              </a:defRPr>
            </a:lvl1pPr>
          </a:lstStyle>
          <a:p>
            <a:pPr lvl="0"/>
            <a:r>
              <a:rPr lang="en-US" noProof="0"/>
              <a:t>Click icon to add picture</a:t>
            </a:r>
          </a:p>
        </p:txBody>
      </p:sp>
      <p:sp>
        <p:nvSpPr>
          <p:cNvPr id="14" name="Espace réservé de la date 9"/>
          <p:cNvSpPr>
            <a:spLocks noGrp="1"/>
          </p:cNvSpPr>
          <p:nvPr>
            <p:ph type="dt" sz="half" idx="21"/>
          </p:nvPr>
        </p:nvSpPr>
        <p:spPr/>
        <p:txBody>
          <a:bodyPr/>
          <a:lstStyle>
            <a:lvl1pPr>
              <a:defRPr/>
            </a:lvl1pPr>
          </a:lstStyle>
          <a:p>
            <a:pPr>
              <a:defRPr/>
            </a:pPr>
            <a:r>
              <a:rPr lang="en-US">
                <a:solidFill>
                  <a:prstClr val="white">
                    <a:alpha val="0"/>
                  </a:prstClr>
                </a:solidFill>
              </a:rPr>
              <a:t>Date</a:t>
            </a:r>
          </a:p>
        </p:txBody>
      </p:sp>
      <p:sp>
        <p:nvSpPr>
          <p:cNvPr id="16" name="Espace réservé du numéro de diapositive 10"/>
          <p:cNvSpPr>
            <a:spLocks noGrp="1"/>
          </p:cNvSpPr>
          <p:nvPr>
            <p:ph type="sldNum" sz="quarter" idx="22"/>
          </p:nvPr>
        </p:nvSpPr>
        <p:spPr/>
        <p:txBody>
          <a:bodyPr/>
          <a:lstStyle>
            <a:lvl1pPr>
              <a:defRPr sz="100">
                <a:solidFill>
                  <a:schemeClr val="bg1">
                    <a:alpha val="0"/>
                  </a:schemeClr>
                </a:solidFill>
              </a:defRPr>
            </a:lvl1pPr>
          </a:lstStyle>
          <a:p>
            <a:pPr>
              <a:defRPr/>
            </a:pPr>
            <a:r>
              <a:rPr lang="en-US">
                <a:solidFill>
                  <a:prstClr val="white">
                    <a:alpha val="0"/>
                  </a:prstClr>
                </a:solidFill>
              </a:rPr>
              <a:t>Page: </a:t>
            </a:r>
            <a:fld id="{A170035D-6B8C-439A-85EA-19B5ADE5A975}" type="slidenum">
              <a:rPr lang="en-US">
                <a:solidFill>
                  <a:prstClr val="white">
                    <a:alpha val="0"/>
                  </a:prstClr>
                </a:solidFill>
              </a:rPr>
              <a:pPr>
                <a:defRPr/>
              </a:pPr>
              <a:t>‹#›</a:t>
            </a:fld>
            <a:endParaRPr lang="en-US">
              <a:solidFill>
                <a:prstClr val="white">
                  <a:alpha val="0"/>
                </a:prstClr>
              </a:solidFill>
            </a:endParaRPr>
          </a:p>
        </p:txBody>
      </p:sp>
      <p:sp>
        <p:nvSpPr>
          <p:cNvPr id="19" name="Espace réservé du pied de page 11"/>
          <p:cNvSpPr>
            <a:spLocks noGrp="1"/>
          </p:cNvSpPr>
          <p:nvPr>
            <p:ph type="ftr" sz="quarter" idx="23"/>
          </p:nvPr>
        </p:nvSpPr>
        <p:spPr>
          <a:xfrm>
            <a:off x="468313" y="523875"/>
            <a:ext cx="4824412" cy="360363"/>
          </a:xfrm>
        </p:spPr>
        <p:txBody>
          <a:bodyPr/>
          <a:lstStyle>
            <a:lvl1pPr algn="l">
              <a:defRPr sz="1800" b="0">
                <a:solidFill>
                  <a:schemeClr val="bg1"/>
                </a:solidFill>
              </a:defRPr>
            </a:lvl1pPr>
          </a:lstStyle>
          <a:p>
            <a:pPr>
              <a:defRPr/>
            </a:pPr>
            <a:r>
              <a:rPr lang="en-US">
                <a:solidFill>
                  <a:prstClr val="white"/>
                </a:solidFill>
              </a:rPr>
              <a:t>#</a:t>
            </a:r>
            <a:r>
              <a:rPr lang="en-US" err="1">
                <a:solidFill>
                  <a:prstClr val="white"/>
                </a:solidFill>
              </a:rPr>
              <a:t>vaccineswork</a:t>
            </a:r>
            <a:endParaRPr lang="en-US">
              <a:solidFill>
                <a:prstClr val="white"/>
              </a:solidFill>
            </a:endParaRPr>
          </a:p>
        </p:txBody>
      </p:sp>
    </p:spTree>
    <p:extLst>
      <p:ext uri="{BB962C8B-B14F-4D97-AF65-F5344CB8AC3E}">
        <p14:creationId xmlns:p14="http://schemas.microsoft.com/office/powerpoint/2010/main" val="2815247793"/>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Chapter_Layout">
    <p:spTree>
      <p:nvGrpSpPr>
        <p:cNvPr id="1" name=""/>
        <p:cNvGrpSpPr/>
        <p:nvPr/>
      </p:nvGrpSpPr>
      <p:grpSpPr>
        <a:xfrm>
          <a:off x="0" y="0"/>
          <a:ext cx="0" cy="0"/>
          <a:chOff x="0" y="0"/>
          <a:chExt cx="0" cy="0"/>
        </a:xfrm>
      </p:grpSpPr>
      <p:pic>
        <p:nvPicPr>
          <p:cNvPr id="6" name="Image 17" descr="FD_03_chap_110x190,5.pn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gray">
          <a:xfrm>
            <a:off x="0" y="0"/>
            <a:ext cx="3959225" cy="68580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cxnSp>
        <p:nvCxnSpPr>
          <p:cNvPr id="7" name="Connecteur droit 14"/>
          <p:cNvCxnSpPr/>
          <p:nvPr userDrawn="1"/>
        </p:nvCxnSpPr>
        <p:spPr bwMode="gray">
          <a:xfrm flipH="1">
            <a:off x="3635375" y="2389188"/>
            <a:ext cx="1584325" cy="0"/>
          </a:xfrm>
          <a:prstGeom prst="line">
            <a:avLst/>
          </a:prstGeom>
          <a:ln w="24130">
            <a:solidFill>
              <a:schemeClr val="accent1"/>
            </a:solidFill>
          </a:ln>
        </p:spPr>
        <p:style>
          <a:lnRef idx="1">
            <a:schemeClr val="accent1"/>
          </a:lnRef>
          <a:fillRef idx="0">
            <a:schemeClr val="accent1"/>
          </a:fillRef>
          <a:effectRef idx="0">
            <a:schemeClr val="accent1"/>
          </a:effectRef>
          <a:fontRef idx="minor">
            <a:schemeClr val="tx1"/>
          </a:fontRef>
        </p:style>
      </p:cxnSp>
      <p:sp>
        <p:nvSpPr>
          <p:cNvPr id="2" name="Titre 1"/>
          <p:cNvSpPr>
            <a:spLocks noGrp="1"/>
          </p:cNvSpPr>
          <p:nvPr>
            <p:ph type="title"/>
          </p:nvPr>
        </p:nvSpPr>
        <p:spPr bwMode="gray">
          <a:xfrm>
            <a:off x="3635374" y="1036638"/>
            <a:ext cx="3263901" cy="1268759"/>
          </a:xfrm>
        </p:spPr>
        <p:txBody>
          <a:bodyPr/>
          <a:lstStyle/>
          <a:p>
            <a:r>
              <a:rPr lang="en-US" noProof="0"/>
              <a:t>Click to edit Master title style</a:t>
            </a:r>
          </a:p>
        </p:txBody>
      </p:sp>
      <p:sp>
        <p:nvSpPr>
          <p:cNvPr id="10" name="Espace réservé du texte 9"/>
          <p:cNvSpPr>
            <a:spLocks noGrp="1"/>
          </p:cNvSpPr>
          <p:nvPr>
            <p:ph type="body" sz="quarter" idx="13"/>
          </p:nvPr>
        </p:nvSpPr>
        <p:spPr bwMode="gray">
          <a:xfrm>
            <a:off x="3635376" y="2574000"/>
            <a:ext cx="3263900" cy="3447388"/>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Espace réservé du texte 9"/>
          <p:cNvSpPr>
            <a:spLocks noGrp="1"/>
          </p:cNvSpPr>
          <p:nvPr>
            <p:ph type="body" sz="quarter" idx="14"/>
          </p:nvPr>
        </p:nvSpPr>
        <p:spPr bwMode="gray">
          <a:xfrm>
            <a:off x="0" y="139974"/>
            <a:ext cx="2628000" cy="5017814"/>
          </a:xfrm>
        </p:spPr>
        <p:txBody>
          <a:bodyPr/>
          <a:lstStyle>
            <a:lvl1pPr algn="r">
              <a:defRPr sz="16600" b="1">
                <a:solidFill>
                  <a:schemeClr val="bg1"/>
                </a:solidFill>
              </a:defRPr>
            </a:lvl1pPr>
          </a:lstStyle>
          <a:p>
            <a:pPr lvl="0"/>
            <a:r>
              <a:rPr lang="en-US" noProof="0"/>
              <a:t>Click to edit Master text styles</a:t>
            </a:r>
          </a:p>
        </p:txBody>
      </p:sp>
      <p:sp>
        <p:nvSpPr>
          <p:cNvPr id="19" name="Espace réservé pour une image  17"/>
          <p:cNvSpPr>
            <a:spLocks noGrp="1"/>
          </p:cNvSpPr>
          <p:nvPr>
            <p:ph type="pic" sz="quarter" idx="18"/>
          </p:nvPr>
        </p:nvSpPr>
        <p:spPr bwMode="gray">
          <a:xfrm>
            <a:off x="7254332" y="132082"/>
            <a:ext cx="1899827" cy="5812641"/>
          </a:xfrm>
          <a:custGeom>
            <a:avLst/>
            <a:gdLst>
              <a:gd name="connsiteX0" fmla="*/ 0 w 3851275"/>
              <a:gd name="connsiteY0" fmla="*/ 0 h 5157788"/>
              <a:gd name="connsiteX1" fmla="*/ 3851275 w 3851275"/>
              <a:gd name="connsiteY1" fmla="*/ 0 h 5157788"/>
              <a:gd name="connsiteX2" fmla="*/ 3851275 w 3851275"/>
              <a:gd name="connsiteY2" fmla="*/ 5157788 h 5157788"/>
              <a:gd name="connsiteX3" fmla="*/ 0 w 3851275"/>
              <a:gd name="connsiteY3" fmla="*/ 5157788 h 5157788"/>
              <a:gd name="connsiteX4" fmla="*/ 0 w 3851275"/>
              <a:gd name="connsiteY4"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0 w 3851275"/>
              <a:gd name="connsiteY3" fmla="*/ 5157788 h 5157788"/>
              <a:gd name="connsiteX4" fmla="*/ 1692275 w 3851275"/>
              <a:gd name="connsiteY4" fmla="*/ 0 h 5157788"/>
              <a:gd name="connsiteX0" fmla="*/ 0 w 2159000"/>
              <a:gd name="connsiteY0" fmla="*/ 0 h 5157788"/>
              <a:gd name="connsiteX1" fmla="*/ 2159000 w 2159000"/>
              <a:gd name="connsiteY1" fmla="*/ 0 h 5157788"/>
              <a:gd name="connsiteX2" fmla="*/ 2159000 w 2159000"/>
              <a:gd name="connsiteY2" fmla="*/ 5157788 h 5157788"/>
              <a:gd name="connsiteX3" fmla="*/ 0 w 2159000"/>
              <a:gd name="connsiteY3" fmla="*/ 5157788 h 5157788"/>
              <a:gd name="connsiteX4" fmla="*/ 0 w 2159000"/>
              <a:gd name="connsiteY4" fmla="*/ 0 h 5157788"/>
              <a:gd name="connsiteX0" fmla="*/ 2625271 w 4784271"/>
              <a:gd name="connsiteY0" fmla="*/ 0 h 5157788"/>
              <a:gd name="connsiteX1" fmla="*/ 4784271 w 4784271"/>
              <a:gd name="connsiteY1" fmla="*/ 0 h 5157788"/>
              <a:gd name="connsiteX2" fmla="*/ 4784271 w 4784271"/>
              <a:gd name="connsiteY2" fmla="*/ 5157788 h 5157788"/>
              <a:gd name="connsiteX3" fmla="*/ 2625271 w 4784271"/>
              <a:gd name="connsiteY3" fmla="*/ 5157788 h 5157788"/>
              <a:gd name="connsiteX4" fmla="*/ 2625271 w 4784271"/>
              <a:gd name="connsiteY4" fmla="*/ 0 h 5157788"/>
              <a:gd name="connsiteX0" fmla="*/ 2625271 w 4784271"/>
              <a:gd name="connsiteY0" fmla="*/ 0 h 5157788"/>
              <a:gd name="connsiteX1" fmla="*/ 4784271 w 4784271"/>
              <a:gd name="connsiteY1" fmla="*/ 0 h 5157788"/>
              <a:gd name="connsiteX2" fmla="*/ 4784271 w 4784271"/>
              <a:gd name="connsiteY2" fmla="*/ 5157788 h 5157788"/>
              <a:gd name="connsiteX3" fmla="*/ 2625271 w 4784271"/>
              <a:gd name="connsiteY3" fmla="*/ 5157788 h 5157788"/>
              <a:gd name="connsiteX4" fmla="*/ 2625271 w 4784271"/>
              <a:gd name="connsiteY4" fmla="*/ 0 h 5157788"/>
              <a:gd name="connsiteX0" fmla="*/ 3568576 w 5727576"/>
              <a:gd name="connsiteY0" fmla="*/ 0 h 5157788"/>
              <a:gd name="connsiteX1" fmla="*/ 5727576 w 5727576"/>
              <a:gd name="connsiteY1" fmla="*/ 0 h 5157788"/>
              <a:gd name="connsiteX2" fmla="*/ 5727576 w 5727576"/>
              <a:gd name="connsiteY2" fmla="*/ 5157788 h 5157788"/>
              <a:gd name="connsiteX3" fmla="*/ 3568576 w 5727576"/>
              <a:gd name="connsiteY3" fmla="*/ 5157788 h 5157788"/>
              <a:gd name="connsiteX4" fmla="*/ 3568576 w 5727576"/>
              <a:gd name="connsiteY4" fmla="*/ 0 h 5157788"/>
              <a:gd name="connsiteX0" fmla="*/ 3306355 w 5465355"/>
              <a:gd name="connsiteY0" fmla="*/ 0 h 5157788"/>
              <a:gd name="connsiteX1" fmla="*/ 5465355 w 5465355"/>
              <a:gd name="connsiteY1" fmla="*/ 0 h 5157788"/>
              <a:gd name="connsiteX2" fmla="*/ 5465355 w 5465355"/>
              <a:gd name="connsiteY2" fmla="*/ 5157788 h 5157788"/>
              <a:gd name="connsiteX3" fmla="*/ 3306355 w 5465355"/>
              <a:gd name="connsiteY3" fmla="*/ 5157788 h 5157788"/>
              <a:gd name="connsiteX4" fmla="*/ 3306355 w 5465355"/>
              <a:gd name="connsiteY4" fmla="*/ 0 h 5157788"/>
              <a:gd name="connsiteX0" fmla="*/ 1416957 w 3575957"/>
              <a:gd name="connsiteY0" fmla="*/ 0 h 5157788"/>
              <a:gd name="connsiteX1" fmla="*/ 3575957 w 3575957"/>
              <a:gd name="connsiteY1" fmla="*/ 0 h 5157788"/>
              <a:gd name="connsiteX2" fmla="*/ 3575957 w 3575957"/>
              <a:gd name="connsiteY2" fmla="*/ 5157788 h 5157788"/>
              <a:gd name="connsiteX3" fmla="*/ 1416957 w 3575957"/>
              <a:gd name="connsiteY3" fmla="*/ 5157788 h 5157788"/>
              <a:gd name="connsiteX4" fmla="*/ 0 w 3575957"/>
              <a:gd name="connsiteY4" fmla="*/ 3339193 h 5157788"/>
              <a:gd name="connsiteX5" fmla="*/ 1416957 w 3575957"/>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6017419"/>
              <a:gd name="connsiteX1" fmla="*/ 3851275 w 3851275"/>
              <a:gd name="connsiteY1" fmla="*/ 0 h 6017419"/>
              <a:gd name="connsiteX2" fmla="*/ 3851275 w 3851275"/>
              <a:gd name="connsiteY2" fmla="*/ 5157788 h 6017419"/>
              <a:gd name="connsiteX3" fmla="*/ 1692275 w 3851275"/>
              <a:gd name="connsiteY3" fmla="*/ 5157788 h 6017419"/>
              <a:gd name="connsiteX4" fmla="*/ 0 w 3851275"/>
              <a:gd name="connsiteY4" fmla="*/ 3284984 h 6017419"/>
              <a:gd name="connsiteX5" fmla="*/ 1692275 w 3851275"/>
              <a:gd name="connsiteY5" fmla="*/ 0 h 6017419"/>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429000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429000 h 5157788"/>
              <a:gd name="connsiteX5" fmla="*/ 1710871 w 3869871"/>
              <a:gd name="connsiteY5" fmla="*/ 0 h 5157788"/>
              <a:gd name="connsiteX0" fmla="*/ 1704975 w 3863975"/>
              <a:gd name="connsiteY0" fmla="*/ 0 h 5157788"/>
              <a:gd name="connsiteX1" fmla="*/ 3863975 w 3863975"/>
              <a:gd name="connsiteY1" fmla="*/ 0 h 5157788"/>
              <a:gd name="connsiteX2" fmla="*/ 3863975 w 3863975"/>
              <a:gd name="connsiteY2" fmla="*/ 5157788 h 5157788"/>
              <a:gd name="connsiteX3" fmla="*/ 1704975 w 3863975"/>
              <a:gd name="connsiteY3" fmla="*/ 5157788 h 5157788"/>
              <a:gd name="connsiteX4" fmla="*/ 12700 w 3863975"/>
              <a:gd name="connsiteY4" fmla="*/ 3429000 h 5157788"/>
              <a:gd name="connsiteX5" fmla="*/ 1704975 w 3863975"/>
              <a:gd name="connsiteY5" fmla="*/ 0 h 5157788"/>
              <a:gd name="connsiteX0" fmla="*/ 1707243 w 3866243"/>
              <a:gd name="connsiteY0" fmla="*/ 0 h 5157788"/>
              <a:gd name="connsiteX1" fmla="*/ 3866243 w 3866243"/>
              <a:gd name="connsiteY1" fmla="*/ 0 h 5157788"/>
              <a:gd name="connsiteX2" fmla="*/ 3866243 w 3866243"/>
              <a:gd name="connsiteY2" fmla="*/ 5157788 h 5157788"/>
              <a:gd name="connsiteX3" fmla="*/ 1707243 w 3866243"/>
              <a:gd name="connsiteY3" fmla="*/ 5157788 h 5157788"/>
              <a:gd name="connsiteX4" fmla="*/ 14968 w 3866243"/>
              <a:gd name="connsiteY4" fmla="*/ 3429000 h 5157788"/>
              <a:gd name="connsiteX5" fmla="*/ 1707243 w 3866243"/>
              <a:gd name="connsiteY5" fmla="*/ 0 h 5157788"/>
              <a:gd name="connsiteX0" fmla="*/ 1130447 w 3866243"/>
              <a:gd name="connsiteY0" fmla="*/ 0 h 5157788"/>
              <a:gd name="connsiteX1" fmla="*/ 3866243 w 3866243"/>
              <a:gd name="connsiteY1" fmla="*/ 0 h 5157788"/>
              <a:gd name="connsiteX2" fmla="*/ 3866243 w 3866243"/>
              <a:gd name="connsiteY2" fmla="*/ 5157788 h 5157788"/>
              <a:gd name="connsiteX3" fmla="*/ 1707243 w 3866243"/>
              <a:gd name="connsiteY3" fmla="*/ 5157788 h 5157788"/>
              <a:gd name="connsiteX4" fmla="*/ 14968 w 3866243"/>
              <a:gd name="connsiteY4" fmla="*/ 3429000 h 5157788"/>
              <a:gd name="connsiteX5" fmla="*/ 1130447 w 3866243"/>
              <a:gd name="connsiteY5" fmla="*/ 0 h 5157788"/>
              <a:gd name="connsiteX0" fmla="*/ 2746143 w 5481939"/>
              <a:gd name="connsiteY0" fmla="*/ 0 h 5157788"/>
              <a:gd name="connsiteX1" fmla="*/ 5481939 w 5481939"/>
              <a:gd name="connsiteY1" fmla="*/ 0 h 5157788"/>
              <a:gd name="connsiteX2" fmla="*/ 5481939 w 5481939"/>
              <a:gd name="connsiteY2" fmla="*/ 5157788 h 5157788"/>
              <a:gd name="connsiteX3" fmla="*/ 585903 w 5481939"/>
              <a:gd name="connsiteY3" fmla="*/ 5153180 h 5157788"/>
              <a:gd name="connsiteX4" fmla="*/ 1630664 w 5481939"/>
              <a:gd name="connsiteY4" fmla="*/ 3429000 h 5157788"/>
              <a:gd name="connsiteX5" fmla="*/ 2746143 w 5481939"/>
              <a:gd name="connsiteY5" fmla="*/ 0 h 5157788"/>
              <a:gd name="connsiteX0" fmla="*/ 2746143 w 5481939"/>
              <a:gd name="connsiteY0" fmla="*/ 0 h 5157788"/>
              <a:gd name="connsiteX1" fmla="*/ 5481939 w 5481939"/>
              <a:gd name="connsiteY1" fmla="*/ 0 h 5157788"/>
              <a:gd name="connsiteX2" fmla="*/ 5481939 w 5481939"/>
              <a:gd name="connsiteY2" fmla="*/ 5157788 h 5157788"/>
              <a:gd name="connsiteX3" fmla="*/ 585903 w 5481939"/>
              <a:gd name="connsiteY3" fmla="*/ 5153180 h 5157788"/>
              <a:gd name="connsiteX4" fmla="*/ 1630664 w 5481939"/>
              <a:gd name="connsiteY4" fmla="*/ 3429000 h 5157788"/>
              <a:gd name="connsiteX5" fmla="*/ 2746143 w 548193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3574235 w 6310031"/>
              <a:gd name="connsiteY0" fmla="*/ 0 h 5157788"/>
              <a:gd name="connsiteX1" fmla="*/ 6310031 w 6310031"/>
              <a:gd name="connsiteY1" fmla="*/ 0 h 5157788"/>
              <a:gd name="connsiteX2" fmla="*/ 6310031 w 6310031"/>
              <a:gd name="connsiteY2" fmla="*/ 5157788 h 5157788"/>
              <a:gd name="connsiteX3" fmla="*/ 585903 w 6310031"/>
              <a:gd name="connsiteY3" fmla="*/ 5153180 h 5157788"/>
              <a:gd name="connsiteX4" fmla="*/ 1738031 w 6310031"/>
              <a:gd name="connsiteY4" fmla="*/ 3389965 h 5157788"/>
              <a:gd name="connsiteX5" fmla="*/ 3574235 w 6310031"/>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296143 w 5724128"/>
              <a:gd name="connsiteY4" fmla="*/ 3461908 h 5157788"/>
              <a:gd name="connsiteX5" fmla="*/ 2988332 w 5724128"/>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1188132 w 5760132"/>
              <a:gd name="connsiteY4" fmla="*/ 3425937 h 5157788"/>
              <a:gd name="connsiteX5" fmla="*/ 3024336 w 5760132"/>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2736304 w 5760132"/>
              <a:gd name="connsiteY4" fmla="*/ 3461908 h 5157788"/>
              <a:gd name="connsiteX5" fmla="*/ 3024336 w 5760132"/>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2736304 w 5760132"/>
              <a:gd name="connsiteY4" fmla="*/ 3461908 h 5157788"/>
              <a:gd name="connsiteX5" fmla="*/ 3024336 w 5760132"/>
              <a:gd name="connsiteY5" fmla="*/ 0 h 5157788"/>
              <a:gd name="connsiteX0" fmla="*/ 2160240 w 4896036"/>
              <a:gd name="connsiteY0" fmla="*/ 0 h 5157788"/>
              <a:gd name="connsiteX1" fmla="*/ 4896036 w 4896036"/>
              <a:gd name="connsiteY1" fmla="*/ 0 h 5157788"/>
              <a:gd name="connsiteX2" fmla="*/ 4896036 w 4896036"/>
              <a:gd name="connsiteY2" fmla="*/ 5157788 h 5157788"/>
              <a:gd name="connsiteX3" fmla="*/ 0 w 4896036"/>
              <a:gd name="connsiteY3" fmla="*/ 5153180 h 5157788"/>
              <a:gd name="connsiteX4" fmla="*/ 1872208 w 4896036"/>
              <a:gd name="connsiteY4" fmla="*/ 3461908 h 5157788"/>
              <a:gd name="connsiteX5" fmla="*/ 2160240 w 4896036"/>
              <a:gd name="connsiteY5" fmla="*/ 0 h 5157788"/>
              <a:gd name="connsiteX0" fmla="*/ 2232248 w 4968044"/>
              <a:gd name="connsiteY0" fmla="*/ 0 h 5157788"/>
              <a:gd name="connsiteX1" fmla="*/ 4968044 w 4968044"/>
              <a:gd name="connsiteY1" fmla="*/ 0 h 5157788"/>
              <a:gd name="connsiteX2" fmla="*/ 4968044 w 4968044"/>
              <a:gd name="connsiteY2" fmla="*/ 5157788 h 5157788"/>
              <a:gd name="connsiteX3" fmla="*/ 0 w 4968044"/>
              <a:gd name="connsiteY3" fmla="*/ 5153180 h 5157788"/>
              <a:gd name="connsiteX4" fmla="*/ 1944216 w 4968044"/>
              <a:gd name="connsiteY4" fmla="*/ 3461908 h 5157788"/>
              <a:gd name="connsiteX5" fmla="*/ 2232248 w 4968044"/>
              <a:gd name="connsiteY5" fmla="*/ 0 h 5157788"/>
              <a:gd name="connsiteX0" fmla="*/ 2207679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207679 w 4943475"/>
              <a:gd name="connsiteY5" fmla="*/ 0 h 5157788"/>
              <a:gd name="connsiteX0" fmla="*/ 2963763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963763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092200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71575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343583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675731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675731 w 4943475"/>
              <a:gd name="connsiteY5" fmla="*/ 0 h 5157788"/>
              <a:gd name="connsiteX0" fmla="*/ 2675731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675731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9672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19672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1668519 w 3913244"/>
              <a:gd name="connsiteY0" fmla="*/ 0 h 5183692"/>
              <a:gd name="connsiteX1" fmla="*/ 3913244 w 3913244"/>
              <a:gd name="connsiteY1" fmla="*/ 0 h 5183692"/>
              <a:gd name="connsiteX2" fmla="*/ 3913244 w 3913244"/>
              <a:gd name="connsiteY2" fmla="*/ 5157788 h 5183692"/>
              <a:gd name="connsiteX3" fmla="*/ 2456872 w 3913244"/>
              <a:gd name="connsiteY3" fmla="*/ 5183633 h 5183692"/>
              <a:gd name="connsiteX4" fmla="*/ 205340 w 3913244"/>
              <a:gd name="connsiteY4" fmla="*/ 2562613 h 5183692"/>
              <a:gd name="connsiteX5" fmla="*/ 1668519 w 3913244"/>
              <a:gd name="connsiteY5" fmla="*/ 0 h 5183692"/>
              <a:gd name="connsiteX0" fmla="*/ 1668519 w 3923404"/>
              <a:gd name="connsiteY0" fmla="*/ 0 h 5939409"/>
              <a:gd name="connsiteX1" fmla="*/ 3913244 w 3923404"/>
              <a:gd name="connsiteY1" fmla="*/ 0 h 5939409"/>
              <a:gd name="connsiteX2" fmla="*/ 3923404 w 3923404"/>
              <a:gd name="connsiteY2" fmla="*/ 5939409 h 5939409"/>
              <a:gd name="connsiteX3" fmla="*/ 2456872 w 3923404"/>
              <a:gd name="connsiteY3" fmla="*/ 5183633 h 5939409"/>
              <a:gd name="connsiteX4" fmla="*/ 205340 w 3923404"/>
              <a:gd name="connsiteY4" fmla="*/ 2562613 h 5939409"/>
              <a:gd name="connsiteX5" fmla="*/ 1668519 w 3923404"/>
              <a:gd name="connsiteY5" fmla="*/ 0 h 5939409"/>
              <a:gd name="connsiteX0" fmla="*/ 1668519 w 3923404"/>
              <a:gd name="connsiteY0" fmla="*/ 0 h 5939409"/>
              <a:gd name="connsiteX1" fmla="*/ 3913244 w 3923404"/>
              <a:gd name="connsiteY1" fmla="*/ 0 h 5939409"/>
              <a:gd name="connsiteX2" fmla="*/ 3923404 w 3923404"/>
              <a:gd name="connsiteY2" fmla="*/ 5939409 h 5939409"/>
              <a:gd name="connsiteX3" fmla="*/ 2456872 w 3923404"/>
              <a:gd name="connsiteY3" fmla="*/ 5183633 h 5939409"/>
              <a:gd name="connsiteX4" fmla="*/ 205340 w 3923404"/>
              <a:gd name="connsiteY4" fmla="*/ 2562613 h 5939409"/>
              <a:gd name="connsiteX5" fmla="*/ 1668519 w 3923404"/>
              <a:gd name="connsiteY5" fmla="*/ 0 h 5939409"/>
              <a:gd name="connsiteX0" fmla="*/ 1696047 w 3950932"/>
              <a:gd name="connsiteY0" fmla="*/ 0 h 5939409"/>
              <a:gd name="connsiteX1" fmla="*/ 3940772 w 3950932"/>
              <a:gd name="connsiteY1" fmla="*/ 0 h 5939409"/>
              <a:gd name="connsiteX2" fmla="*/ 3950932 w 3950932"/>
              <a:gd name="connsiteY2" fmla="*/ 5939409 h 5939409"/>
              <a:gd name="connsiteX3" fmla="*/ 2484400 w 3950932"/>
              <a:gd name="connsiteY3" fmla="*/ 5183633 h 5939409"/>
              <a:gd name="connsiteX4" fmla="*/ 232868 w 3950932"/>
              <a:gd name="connsiteY4" fmla="*/ 2562613 h 5939409"/>
              <a:gd name="connsiteX5" fmla="*/ 1696047 w 3950932"/>
              <a:gd name="connsiteY5" fmla="*/ 0 h 5939409"/>
              <a:gd name="connsiteX0" fmla="*/ 1463179 w 3718064"/>
              <a:gd name="connsiteY0" fmla="*/ 0 h 5983194"/>
              <a:gd name="connsiteX1" fmla="*/ 3707904 w 3718064"/>
              <a:gd name="connsiteY1" fmla="*/ 0 h 5983194"/>
              <a:gd name="connsiteX2" fmla="*/ 3718064 w 3718064"/>
              <a:gd name="connsiteY2" fmla="*/ 5939409 h 5983194"/>
              <a:gd name="connsiteX3" fmla="*/ 0 w 3718064"/>
              <a:gd name="connsiteY3" fmla="*/ 2562613 h 5983194"/>
              <a:gd name="connsiteX4" fmla="*/ 1463179 w 3718064"/>
              <a:gd name="connsiteY4" fmla="*/ 0 h 5983194"/>
              <a:gd name="connsiteX0" fmla="*/ 1464005 w 3718890"/>
              <a:gd name="connsiteY0" fmla="*/ 0 h 5987401"/>
              <a:gd name="connsiteX1" fmla="*/ 3708730 w 3718890"/>
              <a:gd name="connsiteY1" fmla="*/ 0 h 5987401"/>
              <a:gd name="connsiteX2" fmla="*/ 3718890 w 3718890"/>
              <a:gd name="connsiteY2" fmla="*/ 5939409 h 5987401"/>
              <a:gd name="connsiteX3" fmla="*/ 826 w 3718890"/>
              <a:gd name="connsiteY3" fmla="*/ 2562613 h 5987401"/>
              <a:gd name="connsiteX4" fmla="*/ 1464005 w 3718890"/>
              <a:gd name="connsiteY4" fmla="*/ 0 h 5987401"/>
              <a:gd name="connsiteX0" fmla="*/ 1267 w 2256152"/>
              <a:gd name="connsiteY0" fmla="*/ 0 h 6002954"/>
              <a:gd name="connsiteX1" fmla="*/ 2245992 w 2256152"/>
              <a:gd name="connsiteY1" fmla="*/ 0 h 6002954"/>
              <a:gd name="connsiteX2" fmla="*/ 2256152 w 2256152"/>
              <a:gd name="connsiteY2" fmla="*/ 5939409 h 6002954"/>
              <a:gd name="connsiteX3" fmla="*/ 956168 w 2256152"/>
              <a:gd name="connsiteY3" fmla="*/ 3273178 h 6002954"/>
              <a:gd name="connsiteX4" fmla="*/ 1267 w 2256152"/>
              <a:gd name="connsiteY4" fmla="*/ 0 h 6002954"/>
              <a:gd name="connsiteX0" fmla="*/ 2 w 1299986"/>
              <a:gd name="connsiteY0" fmla="*/ 3321709 h 6044422"/>
              <a:gd name="connsiteX1" fmla="*/ 1289826 w 1299986"/>
              <a:gd name="connsiteY1" fmla="*/ 48531 h 6044422"/>
              <a:gd name="connsiteX2" fmla="*/ 1299986 w 1299986"/>
              <a:gd name="connsiteY2" fmla="*/ 5987940 h 6044422"/>
              <a:gd name="connsiteX3" fmla="*/ 2 w 1299986"/>
              <a:gd name="connsiteY3" fmla="*/ 3321709 h 6044422"/>
              <a:gd name="connsiteX0" fmla="*/ 2 w 1299986"/>
              <a:gd name="connsiteY0" fmla="*/ 3273178 h 5995891"/>
              <a:gd name="connsiteX1" fmla="*/ 1289826 w 1299986"/>
              <a:gd name="connsiteY1" fmla="*/ 0 h 5995891"/>
              <a:gd name="connsiteX2" fmla="*/ 1299986 w 1299986"/>
              <a:gd name="connsiteY2" fmla="*/ 5939409 h 5995891"/>
              <a:gd name="connsiteX3" fmla="*/ 2 w 1299986"/>
              <a:gd name="connsiteY3" fmla="*/ 3273178 h 5995891"/>
              <a:gd name="connsiteX0" fmla="*/ 2 w 1299986"/>
              <a:gd name="connsiteY0" fmla="*/ 3273178 h 5995891"/>
              <a:gd name="connsiteX1" fmla="*/ 1289826 w 1299986"/>
              <a:gd name="connsiteY1" fmla="*/ 0 h 5995891"/>
              <a:gd name="connsiteX2" fmla="*/ 1299986 w 1299986"/>
              <a:gd name="connsiteY2" fmla="*/ 5939409 h 5995891"/>
              <a:gd name="connsiteX3" fmla="*/ 2 w 1299986"/>
              <a:gd name="connsiteY3" fmla="*/ 3273178 h 5995891"/>
              <a:gd name="connsiteX0" fmla="*/ 2 w 1299986"/>
              <a:gd name="connsiteY0" fmla="*/ 3273178 h 5995891"/>
              <a:gd name="connsiteX1" fmla="*/ 1289826 w 1299986"/>
              <a:gd name="connsiteY1" fmla="*/ 0 h 5995891"/>
              <a:gd name="connsiteX2" fmla="*/ 1299986 w 1299986"/>
              <a:gd name="connsiteY2" fmla="*/ 5939409 h 5995891"/>
              <a:gd name="connsiteX3" fmla="*/ 2 w 1299986"/>
              <a:gd name="connsiteY3" fmla="*/ 3273178 h 5995891"/>
              <a:gd name="connsiteX0" fmla="*/ 2 w 1299986"/>
              <a:gd name="connsiteY0" fmla="*/ 2725028 h 5445777"/>
              <a:gd name="connsiteX1" fmla="*/ 1289826 w 1299986"/>
              <a:gd name="connsiteY1" fmla="*/ 0 h 5445777"/>
              <a:gd name="connsiteX2" fmla="*/ 1299986 w 1299986"/>
              <a:gd name="connsiteY2" fmla="*/ 5391259 h 5445777"/>
              <a:gd name="connsiteX3" fmla="*/ 2 w 1299986"/>
              <a:gd name="connsiteY3" fmla="*/ 2725028 h 5445777"/>
              <a:gd name="connsiteX0" fmla="*/ 2 w 1299986"/>
              <a:gd name="connsiteY0" fmla="*/ 3141216 h 5863443"/>
              <a:gd name="connsiteX1" fmla="*/ 1289826 w 1299986"/>
              <a:gd name="connsiteY1" fmla="*/ 0 h 5863443"/>
              <a:gd name="connsiteX2" fmla="*/ 1299986 w 1299986"/>
              <a:gd name="connsiteY2" fmla="*/ 5807447 h 5863443"/>
              <a:gd name="connsiteX3" fmla="*/ 2 w 1299986"/>
              <a:gd name="connsiteY3" fmla="*/ 3141216 h 5863443"/>
              <a:gd name="connsiteX0" fmla="*/ 2 w 1299986"/>
              <a:gd name="connsiteY0" fmla="*/ 3141216 h 5863444"/>
              <a:gd name="connsiteX1" fmla="*/ 1289826 w 1299986"/>
              <a:gd name="connsiteY1" fmla="*/ 0 h 5863444"/>
              <a:gd name="connsiteX2" fmla="*/ 1299986 w 1299986"/>
              <a:gd name="connsiteY2" fmla="*/ 5807447 h 5863444"/>
              <a:gd name="connsiteX3" fmla="*/ 2 w 1299986"/>
              <a:gd name="connsiteY3" fmla="*/ 3141216 h 5863444"/>
              <a:gd name="connsiteX0" fmla="*/ 1 w 1889265"/>
              <a:gd name="connsiteY0" fmla="*/ 3851780 h 5885741"/>
              <a:gd name="connsiteX1" fmla="*/ 1879105 w 1889265"/>
              <a:gd name="connsiteY1" fmla="*/ 0 h 5885741"/>
              <a:gd name="connsiteX2" fmla="*/ 1889265 w 1889265"/>
              <a:gd name="connsiteY2" fmla="*/ 5807447 h 5885741"/>
              <a:gd name="connsiteX3" fmla="*/ 1 w 1889265"/>
              <a:gd name="connsiteY3" fmla="*/ 3851780 h 5885741"/>
              <a:gd name="connsiteX0" fmla="*/ 694 w 1889958"/>
              <a:gd name="connsiteY0" fmla="*/ 3851780 h 5898819"/>
              <a:gd name="connsiteX1" fmla="*/ 1879798 w 1889958"/>
              <a:gd name="connsiteY1" fmla="*/ 0 h 5898819"/>
              <a:gd name="connsiteX2" fmla="*/ 1889958 w 1889958"/>
              <a:gd name="connsiteY2" fmla="*/ 5807447 h 5898819"/>
              <a:gd name="connsiteX3" fmla="*/ 694 w 1889958"/>
              <a:gd name="connsiteY3" fmla="*/ 3851780 h 5898819"/>
              <a:gd name="connsiteX0" fmla="*/ 694 w 1889958"/>
              <a:gd name="connsiteY0" fmla="*/ 3740120 h 5892762"/>
              <a:gd name="connsiteX1" fmla="*/ 1879798 w 1889958"/>
              <a:gd name="connsiteY1" fmla="*/ 0 h 5892762"/>
              <a:gd name="connsiteX2" fmla="*/ 1889958 w 1889958"/>
              <a:gd name="connsiteY2" fmla="*/ 5807447 h 5892762"/>
              <a:gd name="connsiteX3" fmla="*/ 694 w 1889958"/>
              <a:gd name="connsiteY3" fmla="*/ 3740120 h 5892762"/>
              <a:gd name="connsiteX0" fmla="*/ 690 w 1900114"/>
              <a:gd name="connsiteY0" fmla="*/ 3811177 h 5896524"/>
              <a:gd name="connsiteX1" fmla="*/ 1889954 w 1900114"/>
              <a:gd name="connsiteY1" fmla="*/ 0 h 5896524"/>
              <a:gd name="connsiteX2" fmla="*/ 1900114 w 1900114"/>
              <a:gd name="connsiteY2" fmla="*/ 5807447 h 5896524"/>
              <a:gd name="connsiteX3" fmla="*/ 690 w 1900114"/>
              <a:gd name="connsiteY3" fmla="*/ 3811177 h 5896524"/>
              <a:gd name="connsiteX0" fmla="*/ 690 w 1900114"/>
              <a:gd name="connsiteY0" fmla="*/ 3811177 h 5807447"/>
              <a:gd name="connsiteX1" fmla="*/ 1889954 w 1900114"/>
              <a:gd name="connsiteY1" fmla="*/ 0 h 5807447"/>
              <a:gd name="connsiteX2" fmla="*/ 1900114 w 1900114"/>
              <a:gd name="connsiteY2" fmla="*/ 5807447 h 5807447"/>
              <a:gd name="connsiteX3" fmla="*/ 690 w 1900114"/>
              <a:gd name="connsiteY3" fmla="*/ 3811177 h 5807447"/>
              <a:gd name="connsiteX0" fmla="*/ 690 w 1900114"/>
              <a:gd name="connsiteY0" fmla="*/ 3811177 h 5807447"/>
              <a:gd name="connsiteX1" fmla="*/ 1889954 w 1900114"/>
              <a:gd name="connsiteY1" fmla="*/ 0 h 5807447"/>
              <a:gd name="connsiteX2" fmla="*/ 1900114 w 1900114"/>
              <a:gd name="connsiteY2" fmla="*/ 5807447 h 5807447"/>
              <a:gd name="connsiteX3" fmla="*/ 690 w 1900114"/>
              <a:gd name="connsiteY3" fmla="*/ 3811177 h 5807447"/>
              <a:gd name="connsiteX0" fmla="*/ 403 w 1899827"/>
              <a:gd name="connsiteY0" fmla="*/ 3811177 h 5807447"/>
              <a:gd name="connsiteX1" fmla="*/ 1889667 w 1899827"/>
              <a:gd name="connsiteY1" fmla="*/ 0 h 5807447"/>
              <a:gd name="connsiteX2" fmla="*/ 1899827 w 1899827"/>
              <a:gd name="connsiteY2" fmla="*/ 5807447 h 5807447"/>
              <a:gd name="connsiteX3" fmla="*/ 403 w 1899827"/>
              <a:gd name="connsiteY3" fmla="*/ 3811177 h 5807447"/>
            </a:gdLst>
            <a:ahLst/>
            <a:cxnLst>
              <a:cxn ang="0">
                <a:pos x="connsiteX0" y="connsiteY0"/>
              </a:cxn>
              <a:cxn ang="0">
                <a:pos x="connsiteX1" y="connsiteY1"/>
              </a:cxn>
              <a:cxn ang="0">
                <a:pos x="connsiteX2" y="connsiteY2"/>
              </a:cxn>
              <a:cxn ang="0">
                <a:pos x="connsiteX3" y="connsiteY3"/>
              </a:cxn>
            </a:cxnLst>
            <a:rect l="l" t="t" r="r" b="b"/>
            <a:pathLst>
              <a:path w="1899827" h="5807447">
                <a:moveTo>
                  <a:pt x="403" y="3811177"/>
                </a:moveTo>
                <a:cubicBezTo>
                  <a:pt x="-31770" y="2467685"/>
                  <a:pt x="1876203" y="854946"/>
                  <a:pt x="1889667" y="0"/>
                </a:cubicBezTo>
                <a:cubicBezTo>
                  <a:pt x="1893054" y="1979803"/>
                  <a:pt x="1896440" y="3827644"/>
                  <a:pt x="1899827" y="5807447"/>
                </a:cubicBezTo>
                <a:cubicBezTo>
                  <a:pt x="1007523" y="5706703"/>
                  <a:pt x="32576" y="5154669"/>
                  <a:pt x="403" y="3811177"/>
                </a:cubicBezTo>
                <a:close/>
              </a:path>
            </a:pathLst>
          </a:custGeom>
          <a:solidFill>
            <a:schemeClr val="bg2"/>
          </a:solidFill>
          <a:ln w="3175">
            <a:noFill/>
          </a:ln>
        </p:spPr>
        <p:txBody>
          <a:bodyPr tIns="720000" rtlCol="0" anchor="ctr">
            <a:noAutofit/>
          </a:bodyPr>
          <a:lstStyle>
            <a:lvl1pPr algn="ctr">
              <a:defRPr sz="1500">
                <a:solidFill>
                  <a:schemeClr val="bg1"/>
                </a:solidFill>
              </a:defRPr>
            </a:lvl1pPr>
          </a:lstStyle>
          <a:p>
            <a:pPr lvl="0"/>
            <a:r>
              <a:rPr lang="en-US" noProof="0"/>
              <a:t>Click icon to add picture</a:t>
            </a:r>
          </a:p>
        </p:txBody>
      </p:sp>
      <p:sp>
        <p:nvSpPr>
          <p:cNvPr id="8" name="Espace réservé de la date 10"/>
          <p:cNvSpPr>
            <a:spLocks noGrp="1"/>
          </p:cNvSpPr>
          <p:nvPr>
            <p:ph type="dt" sz="half" idx="19"/>
          </p:nvPr>
        </p:nvSpPr>
        <p:spPr/>
        <p:txBody>
          <a:bodyPr/>
          <a:lstStyle>
            <a:lvl1pPr>
              <a:defRPr/>
            </a:lvl1pPr>
          </a:lstStyle>
          <a:p>
            <a:pPr>
              <a:defRPr/>
            </a:pPr>
            <a:r>
              <a:rPr lang="en-US">
                <a:solidFill>
                  <a:prstClr val="white">
                    <a:alpha val="0"/>
                  </a:prstClr>
                </a:solidFill>
              </a:rPr>
              <a:t>Date</a:t>
            </a:r>
          </a:p>
        </p:txBody>
      </p:sp>
      <p:sp>
        <p:nvSpPr>
          <p:cNvPr id="9" name="Espace réservé du numéro de diapositive 11"/>
          <p:cNvSpPr>
            <a:spLocks noGrp="1"/>
          </p:cNvSpPr>
          <p:nvPr>
            <p:ph type="sldNum" sz="quarter" idx="20"/>
          </p:nvPr>
        </p:nvSpPr>
        <p:spPr/>
        <p:txBody>
          <a:bodyPr/>
          <a:lstStyle>
            <a:lvl1pPr>
              <a:defRPr/>
            </a:lvl1pPr>
          </a:lstStyle>
          <a:p>
            <a:pPr>
              <a:defRPr/>
            </a:pPr>
            <a:fld id="{669CD8F2-86ED-43C7-A24E-82A206DEE6AE}" type="slidenum">
              <a:rPr lang="en-US">
                <a:solidFill>
                  <a:srgbClr val="343434"/>
                </a:solidFill>
              </a:rPr>
              <a:pPr>
                <a:defRPr/>
              </a:pPr>
              <a:t>‹#›</a:t>
            </a:fld>
            <a:endParaRPr lang="en-US">
              <a:solidFill>
                <a:srgbClr val="343434"/>
              </a:solidFill>
            </a:endParaRPr>
          </a:p>
        </p:txBody>
      </p:sp>
      <p:sp>
        <p:nvSpPr>
          <p:cNvPr id="11" name="Espace réservé du pied de page 12"/>
          <p:cNvSpPr>
            <a:spLocks noGrp="1"/>
          </p:cNvSpPr>
          <p:nvPr>
            <p:ph type="ftr" sz="quarter" idx="21"/>
          </p:nvPr>
        </p:nvSpPr>
        <p:spPr/>
        <p:txBody>
          <a:bodyPr/>
          <a:lstStyle>
            <a:lvl1pPr>
              <a:defRPr/>
            </a:lvl1pPr>
          </a:lstStyle>
          <a:p>
            <a:pPr>
              <a:defRPr/>
            </a:pPr>
            <a:r>
              <a:rPr lang="en-US">
                <a:solidFill>
                  <a:srgbClr val="005CB9"/>
                </a:solidFill>
              </a:rPr>
              <a:t>#</a:t>
            </a:r>
            <a:r>
              <a:rPr lang="en-US" err="1">
                <a:solidFill>
                  <a:srgbClr val="005CB9"/>
                </a:solidFill>
              </a:rPr>
              <a:t>vaccineswork</a:t>
            </a:r>
            <a:endParaRPr lang="en-US">
              <a:solidFill>
                <a:srgbClr val="005CB9"/>
              </a:solidFill>
            </a:endParaRPr>
          </a:p>
        </p:txBody>
      </p:sp>
    </p:spTree>
    <p:extLst>
      <p:ext uri="{BB962C8B-B14F-4D97-AF65-F5344CB8AC3E}">
        <p14:creationId xmlns:p14="http://schemas.microsoft.com/office/powerpoint/2010/main" val="1576630562"/>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obj">
  <p:cSld name="Content_Layout">
    <p:spTree>
      <p:nvGrpSpPr>
        <p:cNvPr id="1" name=""/>
        <p:cNvGrpSpPr/>
        <p:nvPr/>
      </p:nvGrpSpPr>
      <p:grpSpPr>
        <a:xfrm>
          <a:off x="0" y="0"/>
          <a:ext cx="0" cy="0"/>
          <a:chOff x="0" y="0"/>
          <a:chExt cx="0" cy="0"/>
        </a:xfrm>
      </p:grpSpPr>
      <p:sp>
        <p:nvSpPr>
          <p:cNvPr id="2" name="Titre 1"/>
          <p:cNvSpPr>
            <a:spLocks noGrp="1"/>
          </p:cNvSpPr>
          <p:nvPr>
            <p:ph type="title"/>
          </p:nvPr>
        </p:nvSpPr>
        <p:spPr bwMode="gray"/>
        <p:txBody>
          <a:bodyPr/>
          <a:lstStyle/>
          <a:p>
            <a:r>
              <a:rPr lang="en-US" noProof="0"/>
              <a:t>Click to edit Master title style</a:t>
            </a:r>
          </a:p>
        </p:txBody>
      </p:sp>
      <p:sp>
        <p:nvSpPr>
          <p:cNvPr id="3" name="Espace réservé du contenu 2"/>
          <p:cNvSpPr>
            <a:spLocks noGrp="1"/>
          </p:cNvSpPr>
          <p:nvPr>
            <p:ph idx="1"/>
          </p:nvPr>
        </p:nvSpPr>
        <p:spPr bwMode="gray"/>
        <p:txBody>
          <a:bodyPr/>
          <a:lstStyle>
            <a:lvl2pPr>
              <a:defRPr/>
            </a:lvl2pPr>
            <a:lvl3pPr>
              <a:defRPr/>
            </a:lvl3pPr>
            <a:lvl4pPr>
              <a:defRPr baseline="0"/>
            </a:lvl4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Espace réservé de la date 3"/>
          <p:cNvSpPr>
            <a:spLocks noGrp="1"/>
          </p:cNvSpPr>
          <p:nvPr>
            <p:ph type="dt" sz="half" idx="10"/>
          </p:nvPr>
        </p:nvSpPr>
        <p:spPr/>
        <p:txBody>
          <a:bodyPr/>
          <a:lstStyle>
            <a:lvl1pPr>
              <a:defRPr/>
            </a:lvl1pPr>
          </a:lstStyle>
          <a:p>
            <a:pPr>
              <a:defRPr/>
            </a:pPr>
            <a:r>
              <a:rPr lang="en-US">
                <a:solidFill>
                  <a:prstClr val="white">
                    <a:alpha val="0"/>
                  </a:prstClr>
                </a:solidFill>
              </a:rPr>
              <a:t>Date</a:t>
            </a:r>
          </a:p>
        </p:txBody>
      </p:sp>
      <p:sp>
        <p:nvSpPr>
          <p:cNvPr id="5" name="Espace réservé du pied de page 4"/>
          <p:cNvSpPr>
            <a:spLocks noGrp="1"/>
          </p:cNvSpPr>
          <p:nvPr>
            <p:ph type="ftr" sz="quarter" idx="11"/>
          </p:nvPr>
        </p:nvSpPr>
        <p:spPr/>
        <p:txBody>
          <a:bodyPr/>
          <a:lstStyle>
            <a:lvl1pPr>
              <a:defRPr/>
            </a:lvl1pPr>
          </a:lstStyle>
          <a:p>
            <a:pPr>
              <a:defRPr/>
            </a:pPr>
            <a:r>
              <a:rPr lang="en-US">
                <a:solidFill>
                  <a:srgbClr val="005CB9"/>
                </a:solidFill>
              </a:rPr>
              <a:t>#</a:t>
            </a:r>
            <a:r>
              <a:rPr lang="en-US" err="1">
                <a:solidFill>
                  <a:srgbClr val="005CB9"/>
                </a:solidFill>
              </a:rPr>
              <a:t>vaccineswork</a:t>
            </a:r>
            <a:endParaRPr lang="en-US">
              <a:solidFill>
                <a:srgbClr val="005CB9"/>
              </a:solidFill>
            </a:endParaRPr>
          </a:p>
        </p:txBody>
      </p:sp>
      <p:sp>
        <p:nvSpPr>
          <p:cNvPr id="6" name="Espace réservé du numéro de diapositive 5"/>
          <p:cNvSpPr>
            <a:spLocks noGrp="1"/>
          </p:cNvSpPr>
          <p:nvPr>
            <p:ph type="sldNum" sz="quarter" idx="12"/>
          </p:nvPr>
        </p:nvSpPr>
        <p:spPr/>
        <p:txBody>
          <a:bodyPr/>
          <a:lstStyle>
            <a:lvl1pPr>
              <a:defRPr/>
            </a:lvl1pPr>
          </a:lstStyle>
          <a:p>
            <a:pPr>
              <a:defRPr/>
            </a:pPr>
            <a:fld id="{02A591CC-FF3A-423F-AEE4-347403BE7256}" type="slidenum">
              <a:rPr lang="en-US">
                <a:solidFill>
                  <a:srgbClr val="343434"/>
                </a:solidFill>
              </a:rPr>
              <a:pPr>
                <a:defRPr/>
              </a:pPr>
              <a:t>‹#›</a:t>
            </a:fld>
            <a:endParaRPr lang="en-US">
              <a:solidFill>
                <a:srgbClr val="343434"/>
              </a:solidFill>
            </a:endParaRPr>
          </a:p>
        </p:txBody>
      </p:sp>
    </p:spTree>
    <p:extLst>
      <p:ext uri="{BB962C8B-B14F-4D97-AF65-F5344CB8AC3E}">
        <p14:creationId xmlns:p14="http://schemas.microsoft.com/office/powerpoint/2010/main" val="718089883"/>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Picture_Layout">
    <p:spTree>
      <p:nvGrpSpPr>
        <p:cNvPr id="1" name=""/>
        <p:cNvGrpSpPr/>
        <p:nvPr/>
      </p:nvGrpSpPr>
      <p:grpSpPr>
        <a:xfrm>
          <a:off x="0" y="0"/>
          <a:ext cx="0" cy="0"/>
          <a:chOff x="0" y="0"/>
          <a:chExt cx="0" cy="0"/>
        </a:xfrm>
      </p:grpSpPr>
      <p:sp>
        <p:nvSpPr>
          <p:cNvPr id="2" name="Titre 1"/>
          <p:cNvSpPr>
            <a:spLocks noGrp="1"/>
          </p:cNvSpPr>
          <p:nvPr>
            <p:ph type="title"/>
          </p:nvPr>
        </p:nvSpPr>
        <p:spPr bwMode="gray"/>
        <p:txBody>
          <a:bodyPr/>
          <a:lstStyle/>
          <a:p>
            <a:r>
              <a:rPr lang="en-US" noProof="0"/>
              <a:t>Click to edit Master title style</a:t>
            </a:r>
          </a:p>
        </p:txBody>
      </p:sp>
      <p:sp>
        <p:nvSpPr>
          <p:cNvPr id="3" name="Espace réservé du contenu 2"/>
          <p:cNvSpPr>
            <a:spLocks noGrp="1"/>
          </p:cNvSpPr>
          <p:nvPr>
            <p:ph idx="1"/>
          </p:nvPr>
        </p:nvSpPr>
        <p:spPr bwMode="gray">
          <a:xfrm>
            <a:off x="3635896" y="1304925"/>
            <a:ext cx="4644504" cy="4716463"/>
          </a:xfrm>
        </p:spPr>
        <p:txBody>
          <a:bodyPr/>
          <a:lstStyle>
            <a:lvl2pPr>
              <a:defRPr/>
            </a:lvl2pPr>
            <a:lvl3pPr>
              <a:defRPr/>
            </a:lvl3pPr>
            <a:lvl4pPr>
              <a:defRPr baseline="0"/>
            </a:lvl4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Espace réservé pour une image  8"/>
          <p:cNvSpPr>
            <a:spLocks noGrp="1"/>
          </p:cNvSpPr>
          <p:nvPr>
            <p:ph type="pic" sz="quarter" idx="13"/>
          </p:nvPr>
        </p:nvSpPr>
        <p:spPr bwMode="gray">
          <a:xfrm>
            <a:off x="0" y="1341438"/>
            <a:ext cx="3419038" cy="4679950"/>
          </a:xfrm>
        </p:spPr>
        <p:txBody>
          <a:bodyPr tIns="1008000" rtlCol="0" anchor="ctr">
            <a:noAutofit/>
          </a:bodyPr>
          <a:lstStyle>
            <a:lvl1pPr algn="ctr">
              <a:defRPr/>
            </a:lvl1pPr>
          </a:lstStyle>
          <a:p>
            <a:pPr lvl="0"/>
            <a:r>
              <a:rPr lang="en-US" noProof="0"/>
              <a:t>Click icon to add picture</a:t>
            </a:r>
          </a:p>
        </p:txBody>
      </p:sp>
      <p:sp>
        <p:nvSpPr>
          <p:cNvPr id="5" name="Espace réservé de la date 3"/>
          <p:cNvSpPr>
            <a:spLocks noGrp="1"/>
          </p:cNvSpPr>
          <p:nvPr>
            <p:ph type="dt" sz="half" idx="14"/>
          </p:nvPr>
        </p:nvSpPr>
        <p:spPr/>
        <p:txBody>
          <a:bodyPr/>
          <a:lstStyle>
            <a:lvl1pPr>
              <a:defRPr/>
            </a:lvl1pPr>
          </a:lstStyle>
          <a:p>
            <a:pPr>
              <a:defRPr/>
            </a:pPr>
            <a:r>
              <a:rPr lang="en-US">
                <a:solidFill>
                  <a:prstClr val="white">
                    <a:alpha val="0"/>
                  </a:prstClr>
                </a:solidFill>
              </a:rPr>
              <a:t>Date</a:t>
            </a:r>
          </a:p>
        </p:txBody>
      </p:sp>
      <p:sp>
        <p:nvSpPr>
          <p:cNvPr id="6" name="Espace réservé du pied de page 4"/>
          <p:cNvSpPr>
            <a:spLocks noGrp="1"/>
          </p:cNvSpPr>
          <p:nvPr>
            <p:ph type="ftr" sz="quarter" idx="15"/>
          </p:nvPr>
        </p:nvSpPr>
        <p:spPr/>
        <p:txBody>
          <a:bodyPr/>
          <a:lstStyle>
            <a:lvl1pPr>
              <a:defRPr/>
            </a:lvl1pPr>
          </a:lstStyle>
          <a:p>
            <a:pPr>
              <a:defRPr/>
            </a:pPr>
            <a:r>
              <a:rPr lang="en-US">
                <a:solidFill>
                  <a:srgbClr val="005CB9"/>
                </a:solidFill>
              </a:rPr>
              <a:t>#</a:t>
            </a:r>
            <a:r>
              <a:rPr lang="en-US" err="1">
                <a:solidFill>
                  <a:srgbClr val="005CB9"/>
                </a:solidFill>
              </a:rPr>
              <a:t>vaccineswork</a:t>
            </a:r>
            <a:endParaRPr lang="en-US">
              <a:solidFill>
                <a:srgbClr val="005CB9"/>
              </a:solidFill>
            </a:endParaRPr>
          </a:p>
        </p:txBody>
      </p:sp>
      <p:sp>
        <p:nvSpPr>
          <p:cNvPr id="7" name="Espace réservé du numéro de diapositive 5"/>
          <p:cNvSpPr>
            <a:spLocks noGrp="1"/>
          </p:cNvSpPr>
          <p:nvPr>
            <p:ph type="sldNum" sz="quarter" idx="16"/>
          </p:nvPr>
        </p:nvSpPr>
        <p:spPr/>
        <p:txBody>
          <a:bodyPr/>
          <a:lstStyle>
            <a:lvl1pPr>
              <a:defRPr/>
            </a:lvl1pPr>
          </a:lstStyle>
          <a:p>
            <a:pPr>
              <a:defRPr/>
            </a:pPr>
            <a:fld id="{D8886677-8A24-41A7-8E0F-301076E1EA36}" type="slidenum">
              <a:rPr lang="en-US">
                <a:solidFill>
                  <a:srgbClr val="343434"/>
                </a:solidFill>
              </a:rPr>
              <a:pPr>
                <a:defRPr/>
              </a:pPr>
              <a:t>‹#›</a:t>
            </a:fld>
            <a:endParaRPr lang="en-US">
              <a:solidFill>
                <a:srgbClr val="343434"/>
              </a:solidFill>
            </a:endParaRPr>
          </a:p>
        </p:txBody>
      </p:sp>
    </p:spTree>
    <p:extLst>
      <p:ext uri="{BB962C8B-B14F-4D97-AF65-F5344CB8AC3E}">
        <p14:creationId xmlns:p14="http://schemas.microsoft.com/office/powerpoint/2010/main" val="358874906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Picture&amp;Content_Layout">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p:txBody>
          <a:bodyPr/>
          <a:lstStyle/>
          <a:p>
            <a:r>
              <a:rPr lang="en-US" noProof="0"/>
              <a:t>TITLE</a:t>
            </a:r>
          </a:p>
        </p:txBody>
      </p:sp>
      <p:sp>
        <p:nvSpPr>
          <p:cNvPr id="3" name="Espace réservé du contenu 2"/>
          <p:cNvSpPr>
            <a:spLocks noGrp="1"/>
          </p:cNvSpPr>
          <p:nvPr>
            <p:ph idx="1" hasCustomPrompt="1"/>
          </p:nvPr>
        </p:nvSpPr>
        <p:spPr bwMode="gray">
          <a:xfrm>
            <a:off x="3635896" y="1304925"/>
            <a:ext cx="4644504" cy="4716463"/>
          </a:xfrm>
        </p:spPr>
        <p:txBody>
          <a:bodyPr/>
          <a:lstStyle>
            <a:lvl2pPr>
              <a:defRPr/>
            </a:lvl2pPr>
            <a:lvl3pPr>
              <a:defRPr/>
            </a:lvl3pPr>
            <a:lvl4pPr>
              <a:defRPr baseline="0"/>
            </a:lvl4pPr>
            <a:lvl5pPr>
              <a:defRPr/>
            </a:lvl5pPr>
          </a:lstStyle>
          <a:p>
            <a:pPr lvl="0"/>
            <a:r>
              <a:rPr lang="en-US" noProof="0"/>
              <a:t>Text level 1</a:t>
            </a:r>
          </a:p>
          <a:p>
            <a:pPr lvl="1"/>
            <a:r>
              <a:rPr lang="en-US" noProof="0"/>
              <a:t>Text level 2</a:t>
            </a:r>
          </a:p>
          <a:p>
            <a:pPr lvl="2"/>
            <a:r>
              <a:rPr lang="en-US" noProof="0"/>
              <a:t>Text level 3</a:t>
            </a:r>
          </a:p>
          <a:p>
            <a:pPr lvl="3"/>
            <a:r>
              <a:rPr lang="en-US" noProof="0"/>
              <a:t>Text level 4</a:t>
            </a:r>
          </a:p>
          <a:p>
            <a:pPr lvl="4"/>
            <a:r>
              <a:rPr lang="en-US" noProof="0"/>
              <a:t>Text level 5</a:t>
            </a:r>
          </a:p>
        </p:txBody>
      </p:sp>
      <p:sp>
        <p:nvSpPr>
          <p:cNvPr id="9" name="Espace réservé pour une image  8"/>
          <p:cNvSpPr>
            <a:spLocks noGrp="1"/>
          </p:cNvSpPr>
          <p:nvPr>
            <p:ph type="pic" sz="quarter" idx="13" hasCustomPrompt="1"/>
          </p:nvPr>
        </p:nvSpPr>
        <p:spPr bwMode="gray">
          <a:xfrm>
            <a:off x="0" y="1341438"/>
            <a:ext cx="3419038" cy="4679950"/>
          </a:xfrm>
        </p:spPr>
        <p:txBody>
          <a:bodyPr tIns="1008000" anchor="ctr" anchorCtr="0"/>
          <a:lstStyle>
            <a:lvl1pPr algn="ctr">
              <a:defRPr/>
            </a:lvl1pPr>
          </a:lstStyle>
          <a:p>
            <a:r>
              <a:rPr lang="en-US" noProof="0"/>
              <a:t>Select your own photo</a:t>
            </a:r>
          </a:p>
        </p:txBody>
      </p:sp>
      <p:sp>
        <p:nvSpPr>
          <p:cNvPr id="8" name="Espace réservé de la date 7"/>
          <p:cNvSpPr>
            <a:spLocks noGrp="1"/>
          </p:cNvSpPr>
          <p:nvPr>
            <p:ph type="dt" sz="half" idx="14"/>
          </p:nvPr>
        </p:nvSpPr>
        <p:spPr bwMode="gray"/>
        <p:txBody>
          <a:bodyPr/>
          <a:lstStyle/>
          <a:p>
            <a:r>
              <a:rPr lang="en-US" noProof="0"/>
              <a:t>Date</a:t>
            </a:r>
          </a:p>
        </p:txBody>
      </p:sp>
      <p:sp>
        <p:nvSpPr>
          <p:cNvPr id="11" name="Espace réservé du numéro de diapositive 10"/>
          <p:cNvSpPr>
            <a:spLocks noGrp="1"/>
          </p:cNvSpPr>
          <p:nvPr>
            <p:ph type="sldNum" sz="quarter" idx="15"/>
          </p:nvPr>
        </p:nvSpPr>
        <p:spPr bwMode="gray"/>
        <p:txBody>
          <a:bodyPr/>
          <a:lstStyle/>
          <a:p>
            <a:pPr algn="l"/>
            <a:fld id="{733122C9-A0B9-462F-8757-0847AD287B63}" type="slidenum">
              <a:rPr lang="en-US" noProof="0" smtClean="0"/>
              <a:pPr algn="l"/>
              <a:t>‹#›</a:t>
            </a:fld>
            <a:endParaRPr lang="en-US" noProof="0"/>
          </a:p>
        </p:txBody>
      </p:sp>
      <p:sp>
        <p:nvSpPr>
          <p:cNvPr id="12" name="Espace réservé du pied de page 11"/>
          <p:cNvSpPr>
            <a:spLocks noGrp="1"/>
          </p:cNvSpPr>
          <p:nvPr>
            <p:ph type="ftr" sz="quarter" idx="16"/>
          </p:nvPr>
        </p:nvSpPr>
        <p:spPr bwMode="gray"/>
        <p:txBody>
          <a:bodyPr/>
          <a:lstStyle/>
          <a:p>
            <a:r>
              <a:rPr lang="en-US" noProof="0"/>
              <a:t>#add your hashtag</a:t>
            </a:r>
          </a:p>
        </p:txBody>
      </p:sp>
    </p:spTree>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ext&amp;Content_Layout">
    <p:spTree>
      <p:nvGrpSpPr>
        <p:cNvPr id="1" name=""/>
        <p:cNvGrpSpPr/>
        <p:nvPr/>
      </p:nvGrpSpPr>
      <p:grpSpPr>
        <a:xfrm>
          <a:off x="0" y="0"/>
          <a:ext cx="0" cy="0"/>
          <a:chOff x="0" y="0"/>
          <a:chExt cx="0" cy="0"/>
        </a:xfrm>
      </p:grpSpPr>
      <p:sp>
        <p:nvSpPr>
          <p:cNvPr id="2" name="Titre 1"/>
          <p:cNvSpPr>
            <a:spLocks noGrp="1"/>
          </p:cNvSpPr>
          <p:nvPr>
            <p:ph type="title"/>
          </p:nvPr>
        </p:nvSpPr>
        <p:spPr bwMode="gray"/>
        <p:txBody>
          <a:bodyPr/>
          <a:lstStyle/>
          <a:p>
            <a:r>
              <a:rPr lang="en-US" noProof="0"/>
              <a:t>Click to edit Master title style</a:t>
            </a:r>
          </a:p>
        </p:txBody>
      </p:sp>
      <p:sp>
        <p:nvSpPr>
          <p:cNvPr id="3" name="Espace réservé du contenu 2"/>
          <p:cNvSpPr>
            <a:spLocks noGrp="1"/>
          </p:cNvSpPr>
          <p:nvPr>
            <p:ph idx="1"/>
          </p:nvPr>
        </p:nvSpPr>
        <p:spPr bwMode="gray">
          <a:xfrm>
            <a:off x="935038" y="2781388"/>
            <a:ext cx="7345362" cy="3240000"/>
          </a:xfrm>
        </p:spPr>
        <p:txBody>
          <a:bodyPr/>
          <a:lstStyle>
            <a:lvl2pPr>
              <a:defRPr/>
            </a:lvl2pPr>
            <a:lvl3pPr>
              <a:defRPr/>
            </a:lvl3pPr>
            <a:lvl4pPr>
              <a:defRPr baseline="0"/>
            </a:lvl4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Espace réservé du texte 9"/>
          <p:cNvSpPr>
            <a:spLocks noGrp="1"/>
          </p:cNvSpPr>
          <p:nvPr>
            <p:ph type="body" sz="quarter" idx="13"/>
          </p:nvPr>
        </p:nvSpPr>
        <p:spPr bwMode="gray">
          <a:xfrm>
            <a:off x="935038" y="1304924"/>
            <a:ext cx="7345362" cy="126000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Espace réservé de la date 3"/>
          <p:cNvSpPr>
            <a:spLocks noGrp="1"/>
          </p:cNvSpPr>
          <p:nvPr>
            <p:ph type="dt" sz="half" idx="14"/>
          </p:nvPr>
        </p:nvSpPr>
        <p:spPr/>
        <p:txBody>
          <a:bodyPr/>
          <a:lstStyle>
            <a:lvl1pPr>
              <a:defRPr/>
            </a:lvl1pPr>
          </a:lstStyle>
          <a:p>
            <a:pPr>
              <a:defRPr/>
            </a:pPr>
            <a:r>
              <a:rPr lang="en-US">
                <a:solidFill>
                  <a:prstClr val="white">
                    <a:alpha val="0"/>
                  </a:prstClr>
                </a:solidFill>
              </a:rPr>
              <a:t>Date</a:t>
            </a:r>
          </a:p>
        </p:txBody>
      </p:sp>
      <p:sp>
        <p:nvSpPr>
          <p:cNvPr id="6" name="Espace réservé du pied de page 4"/>
          <p:cNvSpPr>
            <a:spLocks noGrp="1"/>
          </p:cNvSpPr>
          <p:nvPr>
            <p:ph type="ftr" sz="quarter" idx="15"/>
          </p:nvPr>
        </p:nvSpPr>
        <p:spPr/>
        <p:txBody>
          <a:bodyPr/>
          <a:lstStyle>
            <a:lvl1pPr>
              <a:defRPr/>
            </a:lvl1pPr>
          </a:lstStyle>
          <a:p>
            <a:pPr>
              <a:defRPr/>
            </a:pPr>
            <a:r>
              <a:rPr lang="en-US">
                <a:solidFill>
                  <a:srgbClr val="005CB9"/>
                </a:solidFill>
              </a:rPr>
              <a:t>#</a:t>
            </a:r>
            <a:r>
              <a:rPr lang="en-US" err="1">
                <a:solidFill>
                  <a:srgbClr val="005CB9"/>
                </a:solidFill>
              </a:rPr>
              <a:t>vaccineswork</a:t>
            </a:r>
            <a:endParaRPr lang="en-US">
              <a:solidFill>
                <a:srgbClr val="005CB9"/>
              </a:solidFill>
            </a:endParaRPr>
          </a:p>
        </p:txBody>
      </p:sp>
      <p:sp>
        <p:nvSpPr>
          <p:cNvPr id="7" name="Espace réservé du numéro de diapositive 5"/>
          <p:cNvSpPr>
            <a:spLocks noGrp="1"/>
          </p:cNvSpPr>
          <p:nvPr>
            <p:ph type="sldNum" sz="quarter" idx="16"/>
          </p:nvPr>
        </p:nvSpPr>
        <p:spPr/>
        <p:txBody>
          <a:bodyPr/>
          <a:lstStyle>
            <a:lvl1pPr>
              <a:defRPr/>
            </a:lvl1pPr>
          </a:lstStyle>
          <a:p>
            <a:pPr>
              <a:defRPr/>
            </a:pPr>
            <a:fld id="{8779425B-3CAA-48C9-9B95-57BAD5A3D82E}" type="slidenum">
              <a:rPr lang="en-US">
                <a:solidFill>
                  <a:srgbClr val="343434"/>
                </a:solidFill>
              </a:rPr>
              <a:pPr>
                <a:defRPr/>
              </a:pPr>
              <a:t>‹#›</a:t>
            </a:fld>
            <a:endParaRPr lang="en-US">
              <a:solidFill>
                <a:srgbClr val="343434"/>
              </a:solidFill>
            </a:endParaRPr>
          </a:p>
        </p:txBody>
      </p:sp>
    </p:spTree>
    <p:extLst>
      <p:ext uri="{BB962C8B-B14F-4D97-AF65-F5344CB8AC3E}">
        <p14:creationId xmlns:p14="http://schemas.microsoft.com/office/powerpoint/2010/main" val="1018409048"/>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hank_you_1">
    <p:spTree>
      <p:nvGrpSpPr>
        <p:cNvPr id="1" name=""/>
        <p:cNvGrpSpPr/>
        <p:nvPr/>
      </p:nvGrpSpPr>
      <p:grpSpPr>
        <a:xfrm>
          <a:off x="0" y="0"/>
          <a:ext cx="0" cy="0"/>
          <a:chOff x="0" y="0"/>
          <a:chExt cx="0" cy="0"/>
        </a:xfrm>
      </p:grpSpPr>
      <p:pic>
        <p:nvPicPr>
          <p:cNvPr id="5" name="Image 18" descr="FD_1_L254.png"/>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gray">
          <a:xfrm>
            <a:off x="0" y="0"/>
            <a:ext cx="9144000" cy="51577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6" name="Rectangle 5"/>
          <p:cNvSpPr/>
          <p:nvPr userDrawn="1"/>
        </p:nvSpPr>
        <p:spPr bwMode="gray">
          <a:xfrm>
            <a:off x="3635375" y="5265738"/>
            <a:ext cx="5508625" cy="15922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prstClr val="white"/>
              </a:solidFill>
            </a:endParaRPr>
          </a:p>
        </p:txBody>
      </p:sp>
      <p:pic>
        <p:nvPicPr>
          <p:cNvPr id="7" name="Image 19" descr="Bas_couv.png"/>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gray">
          <a:xfrm>
            <a:off x="0" y="5172075"/>
            <a:ext cx="3635375" cy="16859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8" name="Rectangle 7"/>
          <p:cNvSpPr/>
          <p:nvPr userDrawn="1"/>
        </p:nvSpPr>
        <p:spPr bwMode="gray">
          <a:xfrm>
            <a:off x="3635375" y="6354763"/>
            <a:ext cx="5113338" cy="2873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p>
            <a:pPr algn="r">
              <a:defRPr/>
            </a:pPr>
            <a:r>
              <a:rPr lang="en-US" sz="1000" err="1">
                <a:solidFill>
                  <a:srgbClr val="95D600"/>
                </a:solidFill>
              </a:rPr>
              <a:t>www.gavi.org</a:t>
            </a:r>
            <a:endParaRPr lang="en-US" sz="1000">
              <a:solidFill>
                <a:srgbClr val="95D600"/>
              </a:solidFill>
            </a:endParaRPr>
          </a:p>
        </p:txBody>
      </p:sp>
      <p:cxnSp>
        <p:nvCxnSpPr>
          <p:cNvPr id="10" name="Connecteur droit 13"/>
          <p:cNvCxnSpPr/>
          <p:nvPr userDrawn="1"/>
        </p:nvCxnSpPr>
        <p:spPr bwMode="gray">
          <a:xfrm flipH="1">
            <a:off x="468313" y="3400425"/>
            <a:ext cx="2447925" cy="0"/>
          </a:xfrm>
          <a:prstGeom prst="line">
            <a:avLst/>
          </a:prstGeom>
          <a:ln w="24130">
            <a:solidFill>
              <a:schemeClr val="accent1"/>
            </a:solidFill>
          </a:ln>
        </p:spPr>
        <p:style>
          <a:lnRef idx="1">
            <a:schemeClr val="accent1"/>
          </a:lnRef>
          <a:fillRef idx="0">
            <a:schemeClr val="accent1"/>
          </a:fillRef>
          <a:effectRef idx="0">
            <a:schemeClr val="accent1"/>
          </a:effectRef>
          <a:fontRef idx="minor">
            <a:schemeClr val="tx1"/>
          </a:fontRef>
        </p:style>
      </p:cxnSp>
      <p:sp>
        <p:nvSpPr>
          <p:cNvPr id="9" name="Espace réservé du texte 8"/>
          <p:cNvSpPr>
            <a:spLocks noGrp="1"/>
          </p:cNvSpPr>
          <p:nvPr>
            <p:ph type="body" sz="quarter" idx="13"/>
          </p:nvPr>
        </p:nvSpPr>
        <p:spPr bwMode="gray">
          <a:xfrm>
            <a:off x="468314" y="1036638"/>
            <a:ext cx="4824412" cy="2242966"/>
          </a:xfrm>
        </p:spPr>
        <p:txBody>
          <a:bodyPr anchor="b"/>
          <a:lstStyle>
            <a:lvl1pPr marL="0" indent="0" algn="l">
              <a:lnSpc>
                <a:spcPct val="90000"/>
              </a:lnSpc>
              <a:buNone/>
              <a:defRPr sz="2800" b="1" cap="none" baseline="0">
                <a:solidFill>
                  <a:schemeClr val="bg1"/>
                </a:solidFill>
              </a:defRPr>
            </a:lvl1pPr>
            <a:lvl2pPr marL="0" algn="ctr">
              <a:lnSpc>
                <a:spcPct val="100000"/>
              </a:lnSpc>
              <a:spcBef>
                <a:spcPts val="6900"/>
              </a:spcBef>
              <a:defRPr sz="2000" b="1">
                <a:solidFill>
                  <a:schemeClr val="bg1"/>
                </a:solidFill>
              </a:defRPr>
            </a:lvl2pPr>
          </a:lstStyle>
          <a:p>
            <a:pPr lvl="0"/>
            <a:r>
              <a:rPr lang="en-US" noProof="0"/>
              <a:t>Click to edit Master text styles</a:t>
            </a:r>
          </a:p>
        </p:txBody>
      </p:sp>
      <p:sp>
        <p:nvSpPr>
          <p:cNvPr id="15" name="Espace réservé du texte 14"/>
          <p:cNvSpPr>
            <a:spLocks noGrp="1"/>
          </p:cNvSpPr>
          <p:nvPr>
            <p:ph type="body" sz="quarter" idx="19"/>
          </p:nvPr>
        </p:nvSpPr>
        <p:spPr bwMode="gray">
          <a:xfrm>
            <a:off x="3635376" y="6021388"/>
            <a:ext cx="5113338" cy="324000"/>
          </a:xfrm>
        </p:spPr>
        <p:txBody>
          <a:bodyPr anchor="b"/>
          <a:lstStyle>
            <a:lvl1pPr algn="r">
              <a:lnSpc>
                <a:spcPct val="100000"/>
              </a:lnSpc>
              <a:defRPr sz="1000" b="1">
                <a:solidFill>
                  <a:schemeClr val="accent3"/>
                </a:solidFill>
              </a:defRPr>
            </a:lvl1pPr>
          </a:lstStyle>
          <a:p>
            <a:pPr lvl="0"/>
            <a:r>
              <a:rPr lang="en-US" noProof="0"/>
              <a:t>Click to edit Master text styles</a:t>
            </a:r>
          </a:p>
        </p:txBody>
      </p:sp>
      <p:sp>
        <p:nvSpPr>
          <p:cNvPr id="13" name="Espace réservé pour une image  17"/>
          <p:cNvSpPr>
            <a:spLocks noGrp="1"/>
          </p:cNvSpPr>
          <p:nvPr>
            <p:ph type="pic" sz="quarter" idx="18"/>
          </p:nvPr>
        </p:nvSpPr>
        <p:spPr bwMode="gray">
          <a:xfrm>
            <a:off x="4192588" y="0"/>
            <a:ext cx="4951412" cy="5162400"/>
          </a:xfrm>
          <a:custGeom>
            <a:avLst/>
            <a:gdLst>
              <a:gd name="connsiteX0" fmla="*/ 0 w 3851275"/>
              <a:gd name="connsiteY0" fmla="*/ 0 h 5157788"/>
              <a:gd name="connsiteX1" fmla="*/ 3851275 w 3851275"/>
              <a:gd name="connsiteY1" fmla="*/ 0 h 5157788"/>
              <a:gd name="connsiteX2" fmla="*/ 3851275 w 3851275"/>
              <a:gd name="connsiteY2" fmla="*/ 5157788 h 5157788"/>
              <a:gd name="connsiteX3" fmla="*/ 0 w 3851275"/>
              <a:gd name="connsiteY3" fmla="*/ 5157788 h 5157788"/>
              <a:gd name="connsiteX4" fmla="*/ 0 w 3851275"/>
              <a:gd name="connsiteY4"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0 w 3851275"/>
              <a:gd name="connsiteY3" fmla="*/ 5157788 h 5157788"/>
              <a:gd name="connsiteX4" fmla="*/ 1692275 w 3851275"/>
              <a:gd name="connsiteY4" fmla="*/ 0 h 5157788"/>
              <a:gd name="connsiteX0" fmla="*/ 0 w 2159000"/>
              <a:gd name="connsiteY0" fmla="*/ 0 h 5157788"/>
              <a:gd name="connsiteX1" fmla="*/ 2159000 w 2159000"/>
              <a:gd name="connsiteY1" fmla="*/ 0 h 5157788"/>
              <a:gd name="connsiteX2" fmla="*/ 2159000 w 2159000"/>
              <a:gd name="connsiteY2" fmla="*/ 5157788 h 5157788"/>
              <a:gd name="connsiteX3" fmla="*/ 0 w 2159000"/>
              <a:gd name="connsiteY3" fmla="*/ 5157788 h 5157788"/>
              <a:gd name="connsiteX4" fmla="*/ 0 w 2159000"/>
              <a:gd name="connsiteY4" fmla="*/ 0 h 5157788"/>
              <a:gd name="connsiteX0" fmla="*/ 2625271 w 4784271"/>
              <a:gd name="connsiteY0" fmla="*/ 0 h 5157788"/>
              <a:gd name="connsiteX1" fmla="*/ 4784271 w 4784271"/>
              <a:gd name="connsiteY1" fmla="*/ 0 h 5157788"/>
              <a:gd name="connsiteX2" fmla="*/ 4784271 w 4784271"/>
              <a:gd name="connsiteY2" fmla="*/ 5157788 h 5157788"/>
              <a:gd name="connsiteX3" fmla="*/ 2625271 w 4784271"/>
              <a:gd name="connsiteY3" fmla="*/ 5157788 h 5157788"/>
              <a:gd name="connsiteX4" fmla="*/ 2625271 w 4784271"/>
              <a:gd name="connsiteY4" fmla="*/ 0 h 5157788"/>
              <a:gd name="connsiteX0" fmla="*/ 2625271 w 4784271"/>
              <a:gd name="connsiteY0" fmla="*/ 0 h 5157788"/>
              <a:gd name="connsiteX1" fmla="*/ 4784271 w 4784271"/>
              <a:gd name="connsiteY1" fmla="*/ 0 h 5157788"/>
              <a:gd name="connsiteX2" fmla="*/ 4784271 w 4784271"/>
              <a:gd name="connsiteY2" fmla="*/ 5157788 h 5157788"/>
              <a:gd name="connsiteX3" fmla="*/ 2625271 w 4784271"/>
              <a:gd name="connsiteY3" fmla="*/ 5157788 h 5157788"/>
              <a:gd name="connsiteX4" fmla="*/ 2625271 w 4784271"/>
              <a:gd name="connsiteY4" fmla="*/ 0 h 5157788"/>
              <a:gd name="connsiteX0" fmla="*/ 3568576 w 5727576"/>
              <a:gd name="connsiteY0" fmla="*/ 0 h 5157788"/>
              <a:gd name="connsiteX1" fmla="*/ 5727576 w 5727576"/>
              <a:gd name="connsiteY1" fmla="*/ 0 h 5157788"/>
              <a:gd name="connsiteX2" fmla="*/ 5727576 w 5727576"/>
              <a:gd name="connsiteY2" fmla="*/ 5157788 h 5157788"/>
              <a:gd name="connsiteX3" fmla="*/ 3568576 w 5727576"/>
              <a:gd name="connsiteY3" fmla="*/ 5157788 h 5157788"/>
              <a:gd name="connsiteX4" fmla="*/ 3568576 w 5727576"/>
              <a:gd name="connsiteY4" fmla="*/ 0 h 5157788"/>
              <a:gd name="connsiteX0" fmla="*/ 3306355 w 5465355"/>
              <a:gd name="connsiteY0" fmla="*/ 0 h 5157788"/>
              <a:gd name="connsiteX1" fmla="*/ 5465355 w 5465355"/>
              <a:gd name="connsiteY1" fmla="*/ 0 h 5157788"/>
              <a:gd name="connsiteX2" fmla="*/ 5465355 w 5465355"/>
              <a:gd name="connsiteY2" fmla="*/ 5157788 h 5157788"/>
              <a:gd name="connsiteX3" fmla="*/ 3306355 w 5465355"/>
              <a:gd name="connsiteY3" fmla="*/ 5157788 h 5157788"/>
              <a:gd name="connsiteX4" fmla="*/ 3306355 w 5465355"/>
              <a:gd name="connsiteY4" fmla="*/ 0 h 5157788"/>
              <a:gd name="connsiteX0" fmla="*/ 1416957 w 3575957"/>
              <a:gd name="connsiteY0" fmla="*/ 0 h 5157788"/>
              <a:gd name="connsiteX1" fmla="*/ 3575957 w 3575957"/>
              <a:gd name="connsiteY1" fmla="*/ 0 h 5157788"/>
              <a:gd name="connsiteX2" fmla="*/ 3575957 w 3575957"/>
              <a:gd name="connsiteY2" fmla="*/ 5157788 h 5157788"/>
              <a:gd name="connsiteX3" fmla="*/ 1416957 w 3575957"/>
              <a:gd name="connsiteY3" fmla="*/ 5157788 h 5157788"/>
              <a:gd name="connsiteX4" fmla="*/ 0 w 3575957"/>
              <a:gd name="connsiteY4" fmla="*/ 3339193 h 5157788"/>
              <a:gd name="connsiteX5" fmla="*/ 1416957 w 3575957"/>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6017419"/>
              <a:gd name="connsiteX1" fmla="*/ 3851275 w 3851275"/>
              <a:gd name="connsiteY1" fmla="*/ 0 h 6017419"/>
              <a:gd name="connsiteX2" fmla="*/ 3851275 w 3851275"/>
              <a:gd name="connsiteY2" fmla="*/ 5157788 h 6017419"/>
              <a:gd name="connsiteX3" fmla="*/ 1692275 w 3851275"/>
              <a:gd name="connsiteY3" fmla="*/ 5157788 h 6017419"/>
              <a:gd name="connsiteX4" fmla="*/ 0 w 3851275"/>
              <a:gd name="connsiteY4" fmla="*/ 3284984 h 6017419"/>
              <a:gd name="connsiteX5" fmla="*/ 1692275 w 3851275"/>
              <a:gd name="connsiteY5" fmla="*/ 0 h 6017419"/>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429000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429000 h 5157788"/>
              <a:gd name="connsiteX5" fmla="*/ 1710871 w 3869871"/>
              <a:gd name="connsiteY5" fmla="*/ 0 h 5157788"/>
              <a:gd name="connsiteX0" fmla="*/ 1704975 w 3863975"/>
              <a:gd name="connsiteY0" fmla="*/ 0 h 5157788"/>
              <a:gd name="connsiteX1" fmla="*/ 3863975 w 3863975"/>
              <a:gd name="connsiteY1" fmla="*/ 0 h 5157788"/>
              <a:gd name="connsiteX2" fmla="*/ 3863975 w 3863975"/>
              <a:gd name="connsiteY2" fmla="*/ 5157788 h 5157788"/>
              <a:gd name="connsiteX3" fmla="*/ 1704975 w 3863975"/>
              <a:gd name="connsiteY3" fmla="*/ 5157788 h 5157788"/>
              <a:gd name="connsiteX4" fmla="*/ 12700 w 3863975"/>
              <a:gd name="connsiteY4" fmla="*/ 3429000 h 5157788"/>
              <a:gd name="connsiteX5" fmla="*/ 1704975 w 3863975"/>
              <a:gd name="connsiteY5" fmla="*/ 0 h 5157788"/>
              <a:gd name="connsiteX0" fmla="*/ 1707243 w 3866243"/>
              <a:gd name="connsiteY0" fmla="*/ 0 h 5157788"/>
              <a:gd name="connsiteX1" fmla="*/ 3866243 w 3866243"/>
              <a:gd name="connsiteY1" fmla="*/ 0 h 5157788"/>
              <a:gd name="connsiteX2" fmla="*/ 3866243 w 3866243"/>
              <a:gd name="connsiteY2" fmla="*/ 5157788 h 5157788"/>
              <a:gd name="connsiteX3" fmla="*/ 1707243 w 3866243"/>
              <a:gd name="connsiteY3" fmla="*/ 5157788 h 5157788"/>
              <a:gd name="connsiteX4" fmla="*/ 14968 w 3866243"/>
              <a:gd name="connsiteY4" fmla="*/ 3429000 h 5157788"/>
              <a:gd name="connsiteX5" fmla="*/ 1707243 w 3866243"/>
              <a:gd name="connsiteY5" fmla="*/ 0 h 5157788"/>
              <a:gd name="connsiteX0" fmla="*/ 1130447 w 3866243"/>
              <a:gd name="connsiteY0" fmla="*/ 0 h 5157788"/>
              <a:gd name="connsiteX1" fmla="*/ 3866243 w 3866243"/>
              <a:gd name="connsiteY1" fmla="*/ 0 h 5157788"/>
              <a:gd name="connsiteX2" fmla="*/ 3866243 w 3866243"/>
              <a:gd name="connsiteY2" fmla="*/ 5157788 h 5157788"/>
              <a:gd name="connsiteX3" fmla="*/ 1707243 w 3866243"/>
              <a:gd name="connsiteY3" fmla="*/ 5157788 h 5157788"/>
              <a:gd name="connsiteX4" fmla="*/ 14968 w 3866243"/>
              <a:gd name="connsiteY4" fmla="*/ 3429000 h 5157788"/>
              <a:gd name="connsiteX5" fmla="*/ 1130447 w 3866243"/>
              <a:gd name="connsiteY5" fmla="*/ 0 h 5157788"/>
              <a:gd name="connsiteX0" fmla="*/ 2746143 w 5481939"/>
              <a:gd name="connsiteY0" fmla="*/ 0 h 5157788"/>
              <a:gd name="connsiteX1" fmla="*/ 5481939 w 5481939"/>
              <a:gd name="connsiteY1" fmla="*/ 0 h 5157788"/>
              <a:gd name="connsiteX2" fmla="*/ 5481939 w 5481939"/>
              <a:gd name="connsiteY2" fmla="*/ 5157788 h 5157788"/>
              <a:gd name="connsiteX3" fmla="*/ 585903 w 5481939"/>
              <a:gd name="connsiteY3" fmla="*/ 5153180 h 5157788"/>
              <a:gd name="connsiteX4" fmla="*/ 1630664 w 5481939"/>
              <a:gd name="connsiteY4" fmla="*/ 3429000 h 5157788"/>
              <a:gd name="connsiteX5" fmla="*/ 2746143 w 5481939"/>
              <a:gd name="connsiteY5" fmla="*/ 0 h 5157788"/>
              <a:gd name="connsiteX0" fmla="*/ 2746143 w 5481939"/>
              <a:gd name="connsiteY0" fmla="*/ 0 h 5157788"/>
              <a:gd name="connsiteX1" fmla="*/ 5481939 w 5481939"/>
              <a:gd name="connsiteY1" fmla="*/ 0 h 5157788"/>
              <a:gd name="connsiteX2" fmla="*/ 5481939 w 5481939"/>
              <a:gd name="connsiteY2" fmla="*/ 5157788 h 5157788"/>
              <a:gd name="connsiteX3" fmla="*/ 585903 w 5481939"/>
              <a:gd name="connsiteY3" fmla="*/ 5153180 h 5157788"/>
              <a:gd name="connsiteX4" fmla="*/ 1630664 w 5481939"/>
              <a:gd name="connsiteY4" fmla="*/ 3429000 h 5157788"/>
              <a:gd name="connsiteX5" fmla="*/ 2746143 w 548193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3574235 w 6310031"/>
              <a:gd name="connsiteY0" fmla="*/ 0 h 5157788"/>
              <a:gd name="connsiteX1" fmla="*/ 6310031 w 6310031"/>
              <a:gd name="connsiteY1" fmla="*/ 0 h 5157788"/>
              <a:gd name="connsiteX2" fmla="*/ 6310031 w 6310031"/>
              <a:gd name="connsiteY2" fmla="*/ 5157788 h 5157788"/>
              <a:gd name="connsiteX3" fmla="*/ 585903 w 6310031"/>
              <a:gd name="connsiteY3" fmla="*/ 5153180 h 5157788"/>
              <a:gd name="connsiteX4" fmla="*/ 1738031 w 6310031"/>
              <a:gd name="connsiteY4" fmla="*/ 3389965 h 5157788"/>
              <a:gd name="connsiteX5" fmla="*/ 3574235 w 6310031"/>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296143 w 5724128"/>
              <a:gd name="connsiteY4" fmla="*/ 3461908 h 5157788"/>
              <a:gd name="connsiteX5" fmla="*/ 2988332 w 5724128"/>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1188132 w 5760132"/>
              <a:gd name="connsiteY4" fmla="*/ 3425937 h 5157788"/>
              <a:gd name="connsiteX5" fmla="*/ 3024336 w 5760132"/>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2736304 w 5760132"/>
              <a:gd name="connsiteY4" fmla="*/ 3461908 h 5157788"/>
              <a:gd name="connsiteX5" fmla="*/ 3024336 w 5760132"/>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2736304 w 5760132"/>
              <a:gd name="connsiteY4" fmla="*/ 3461908 h 5157788"/>
              <a:gd name="connsiteX5" fmla="*/ 3024336 w 5760132"/>
              <a:gd name="connsiteY5" fmla="*/ 0 h 5157788"/>
              <a:gd name="connsiteX0" fmla="*/ 2160240 w 4896036"/>
              <a:gd name="connsiteY0" fmla="*/ 0 h 5157788"/>
              <a:gd name="connsiteX1" fmla="*/ 4896036 w 4896036"/>
              <a:gd name="connsiteY1" fmla="*/ 0 h 5157788"/>
              <a:gd name="connsiteX2" fmla="*/ 4896036 w 4896036"/>
              <a:gd name="connsiteY2" fmla="*/ 5157788 h 5157788"/>
              <a:gd name="connsiteX3" fmla="*/ 0 w 4896036"/>
              <a:gd name="connsiteY3" fmla="*/ 5153180 h 5157788"/>
              <a:gd name="connsiteX4" fmla="*/ 1872208 w 4896036"/>
              <a:gd name="connsiteY4" fmla="*/ 3461908 h 5157788"/>
              <a:gd name="connsiteX5" fmla="*/ 2160240 w 4896036"/>
              <a:gd name="connsiteY5" fmla="*/ 0 h 5157788"/>
              <a:gd name="connsiteX0" fmla="*/ 2232248 w 4968044"/>
              <a:gd name="connsiteY0" fmla="*/ 0 h 5157788"/>
              <a:gd name="connsiteX1" fmla="*/ 4968044 w 4968044"/>
              <a:gd name="connsiteY1" fmla="*/ 0 h 5157788"/>
              <a:gd name="connsiteX2" fmla="*/ 4968044 w 4968044"/>
              <a:gd name="connsiteY2" fmla="*/ 5157788 h 5157788"/>
              <a:gd name="connsiteX3" fmla="*/ 0 w 4968044"/>
              <a:gd name="connsiteY3" fmla="*/ 5153180 h 5157788"/>
              <a:gd name="connsiteX4" fmla="*/ 1944216 w 4968044"/>
              <a:gd name="connsiteY4" fmla="*/ 3461908 h 5157788"/>
              <a:gd name="connsiteX5" fmla="*/ 2232248 w 4968044"/>
              <a:gd name="connsiteY5" fmla="*/ 0 h 5157788"/>
              <a:gd name="connsiteX0" fmla="*/ 2207679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207679 w 4943475"/>
              <a:gd name="connsiteY5" fmla="*/ 0 h 5157788"/>
              <a:gd name="connsiteX0" fmla="*/ 2963763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963763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092200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71575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343583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675731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675731 w 4943475"/>
              <a:gd name="connsiteY5" fmla="*/ 0 h 5157788"/>
              <a:gd name="connsiteX0" fmla="*/ 2675731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675731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9672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19672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51412" h="5157788">
                <a:moveTo>
                  <a:pt x="2706687" y="0"/>
                </a:moveTo>
                <a:lnTo>
                  <a:pt x="4951412" y="0"/>
                </a:lnTo>
                <a:lnTo>
                  <a:pt x="4951412" y="5157788"/>
                </a:lnTo>
                <a:lnTo>
                  <a:pt x="0" y="5153180"/>
                </a:lnTo>
                <a:cubicBezTo>
                  <a:pt x="84411" y="4542509"/>
                  <a:pt x="183041" y="4024723"/>
                  <a:pt x="1243508" y="2562613"/>
                </a:cubicBezTo>
                <a:cubicBezTo>
                  <a:pt x="1867447" y="1704780"/>
                  <a:pt x="2665955" y="709265"/>
                  <a:pt x="2706687" y="0"/>
                </a:cubicBezTo>
                <a:close/>
              </a:path>
            </a:pathLst>
          </a:custGeom>
          <a:solidFill>
            <a:schemeClr val="bg2"/>
          </a:solidFill>
          <a:ln w="3175">
            <a:noFill/>
          </a:ln>
        </p:spPr>
        <p:txBody>
          <a:bodyPr tIns="720000" rtlCol="0" anchor="ctr">
            <a:noAutofit/>
          </a:bodyPr>
          <a:lstStyle>
            <a:lvl1pPr algn="ctr">
              <a:defRPr sz="1500">
                <a:solidFill>
                  <a:schemeClr val="bg1"/>
                </a:solidFill>
              </a:defRPr>
            </a:lvl1pPr>
          </a:lstStyle>
          <a:p>
            <a:pPr lvl="0"/>
            <a:r>
              <a:rPr lang="en-US" noProof="0"/>
              <a:t>Click icon to add picture</a:t>
            </a:r>
          </a:p>
        </p:txBody>
      </p:sp>
      <p:sp>
        <p:nvSpPr>
          <p:cNvPr id="11" name="Espace réservé de la date 9"/>
          <p:cNvSpPr>
            <a:spLocks noGrp="1"/>
          </p:cNvSpPr>
          <p:nvPr>
            <p:ph type="dt" sz="half" idx="20"/>
          </p:nvPr>
        </p:nvSpPr>
        <p:spPr/>
        <p:txBody>
          <a:bodyPr/>
          <a:lstStyle>
            <a:lvl1pPr>
              <a:defRPr/>
            </a:lvl1pPr>
          </a:lstStyle>
          <a:p>
            <a:pPr>
              <a:defRPr/>
            </a:pPr>
            <a:r>
              <a:rPr lang="en-US">
                <a:solidFill>
                  <a:prstClr val="white">
                    <a:alpha val="0"/>
                  </a:prstClr>
                </a:solidFill>
              </a:rPr>
              <a:t>Date</a:t>
            </a:r>
          </a:p>
        </p:txBody>
      </p:sp>
      <p:sp>
        <p:nvSpPr>
          <p:cNvPr id="12" name="Espace réservé du numéro de diapositive 10"/>
          <p:cNvSpPr>
            <a:spLocks noGrp="1"/>
          </p:cNvSpPr>
          <p:nvPr>
            <p:ph type="sldNum" sz="quarter" idx="21"/>
          </p:nvPr>
        </p:nvSpPr>
        <p:spPr/>
        <p:txBody>
          <a:bodyPr/>
          <a:lstStyle>
            <a:lvl1pPr>
              <a:defRPr sz="100">
                <a:solidFill>
                  <a:schemeClr val="bg1">
                    <a:alpha val="0"/>
                  </a:schemeClr>
                </a:solidFill>
              </a:defRPr>
            </a:lvl1pPr>
          </a:lstStyle>
          <a:p>
            <a:pPr>
              <a:defRPr/>
            </a:pPr>
            <a:r>
              <a:rPr lang="en-US">
                <a:solidFill>
                  <a:prstClr val="white">
                    <a:alpha val="0"/>
                  </a:prstClr>
                </a:solidFill>
              </a:rPr>
              <a:t>Page: </a:t>
            </a:r>
            <a:fld id="{4AF4F797-1FBC-44F9-B7CF-6A5F893B852E}" type="slidenum">
              <a:rPr lang="en-US">
                <a:solidFill>
                  <a:prstClr val="white">
                    <a:alpha val="0"/>
                  </a:prstClr>
                </a:solidFill>
              </a:rPr>
              <a:pPr>
                <a:defRPr/>
              </a:pPr>
              <a:t>‹#›</a:t>
            </a:fld>
            <a:endParaRPr lang="en-US">
              <a:solidFill>
                <a:prstClr val="white">
                  <a:alpha val="0"/>
                </a:prstClr>
              </a:solidFill>
            </a:endParaRPr>
          </a:p>
        </p:txBody>
      </p:sp>
      <p:sp>
        <p:nvSpPr>
          <p:cNvPr id="14" name="Espace réservé du pied de page 11"/>
          <p:cNvSpPr>
            <a:spLocks noGrp="1"/>
          </p:cNvSpPr>
          <p:nvPr>
            <p:ph type="ftr" sz="quarter" idx="22"/>
          </p:nvPr>
        </p:nvSpPr>
        <p:spPr>
          <a:xfrm>
            <a:off x="468313" y="523875"/>
            <a:ext cx="4824412" cy="360363"/>
          </a:xfrm>
        </p:spPr>
        <p:txBody>
          <a:bodyPr/>
          <a:lstStyle>
            <a:lvl1pPr algn="l">
              <a:defRPr sz="1800" b="0">
                <a:solidFill>
                  <a:schemeClr val="bg1"/>
                </a:solidFill>
              </a:defRPr>
            </a:lvl1pPr>
          </a:lstStyle>
          <a:p>
            <a:pPr>
              <a:defRPr/>
            </a:pPr>
            <a:r>
              <a:rPr lang="en-US">
                <a:solidFill>
                  <a:prstClr val="white"/>
                </a:solidFill>
              </a:rPr>
              <a:t>#</a:t>
            </a:r>
            <a:r>
              <a:rPr lang="en-US" err="1">
                <a:solidFill>
                  <a:prstClr val="white"/>
                </a:solidFill>
              </a:rPr>
              <a:t>vaccineswork</a:t>
            </a:r>
            <a:endParaRPr lang="en-US">
              <a:solidFill>
                <a:prstClr val="white"/>
              </a:solidFill>
            </a:endParaRPr>
          </a:p>
        </p:txBody>
      </p:sp>
    </p:spTree>
    <p:extLst>
      <p:ext uri="{BB962C8B-B14F-4D97-AF65-F5344CB8AC3E}">
        <p14:creationId xmlns:p14="http://schemas.microsoft.com/office/powerpoint/2010/main" val="2952506624"/>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hank_you_2">
    <p:spTree>
      <p:nvGrpSpPr>
        <p:cNvPr id="1" name=""/>
        <p:cNvGrpSpPr/>
        <p:nvPr/>
      </p:nvGrpSpPr>
      <p:grpSpPr>
        <a:xfrm>
          <a:off x="0" y="0"/>
          <a:ext cx="0" cy="0"/>
          <a:chOff x="0" y="0"/>
          <a:chExt cx="0" cy="0"/>
        </a:xfrm>
      </p:grpSpPr>
      <p:sp>
        <p:nvSpPr>
          <p:cNvPr id="5" name="Rectangle 4"/>
          <p:cNvSpPr/>
          <p:nvPr userDrawn="1"/>
        </p:nvSpPr>
        <p:spPr bwMode="gray">
          <a:xfrm>
            <a:off x="3635375" y="5265738"/>
            <a:ext cx="5508625" cy="15922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prstClr val="white"/>
              </a:solidFill>
            </a:endParaRPr>
          </a:p>
        </p:txBody>
      </p:sp>
      <p:pic>
        <p:nvPicPr>
          <p:cNvPr id="6" name="Image 20" descr="FD_1_L254.png"/>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gray">
          <a:xfrm>
            <a:off x="0" y="0"/>
            <a:ext cx="9144000" cy="51577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7" name="Image 19" descr="Bas_couv.png"/>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gray">
          <a:xfrm>
            <a:off x="0" y="5172075"/>
            <a:ext cx="3635375" cy="16859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8" name="Rectangle 7"/>
          <p:cNvSpPr/>
          <p:nvPr userDrawn="1"/>
        </p:nvSpPr>
        <p:spPr bwMode="gray">
          <a:xfrm>
            <a:off x="3635375" y="6354763"/>
            <a:ext cx="5113338" cy="2873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p>
            <a:pPr algn="r">
              <a:defRPr/>
            </a:pPr>
            <a:r>
              <a:rPr lang="en-US" sz="1000" err="1">
                <a:solidFill>
                  <a:srgbClr val="95D600"/>
                </a:solidFill>
              </a:rPr>
              <a:t>www.gavi.org</a:t>
            </a:r>
            <a:endParaRPr lang="en-US" sz="1000">
              <a:solidFill>
                <a:srgbClr val="95D600"/>
              </a:solidFill>
            </a:endParaRPr>
          </a:p>
        </p:txBody>
      </p:sp>
      <p:cxnSp>
        <p:nvCxnSpPr>
          <p:cNvPr id="10" name="Connecteur droit 13"/>
          <p:cNvCxnSpPr/>
          <p:nvPr userDrawn="1"/>
        </p:nvCxnSpPr>
        <p:spPr bwMode="gray">
          <a:xfrm flipH="1">
            <a:off x="468313" y="3402013"/>
            <a:ext cx="2447925" cy="0"/>
          </a:xfrm>
          <a:prstGeom prst="line">
            <a:avLst/>
          </a:prstGeom>
          <a:ln w="24130">
            <a:solidFill>
              <a:schemeClr val="accent1"/>
            </a:solidFill>
          </a:ln>
        </p:spPr>
        <p:style>
          <a:lnRef idx="1">
            <a:schemeClr val="accent1"/>
          </a:lnRef>
          <a:fillRef idx="0">
            <a:schemeClr val="accent1"/>
          </a:fillRef>
          <a:effectRef idx="0">
            <a:schemeClr val="accent1"/>
          </a:effectRef>
          <a:fontRef idx="minor">
            <a:schemeClr val="tx1"/>
          </a:fontRef>
        </p:style>
      </p:cxnSp>
      <p:sp>
        <p:nvSpPr>
          <p:cNvPr id="9" name="Espace réservé du texte 8"/>
          <p:cNvSpPr>
            <a:spLocks noGrp="1"/>
          </p:cNvSpPr>
          <p:nvPr>
            <p:ph type="body" sz="quarter" idx="13"/>
          </p:nvPr>
        </p:nvSpPr>
        <p:spPr bwMode="gray">
          <a:xfrm>
            <a:off x="468314" y="1036800"/>
            <a:ext cx="4824000" cy="2242800"/>
          </a:xfrm>
        </p:spPr>
        <p:txBody>
          <a:bodyPr anchor="b"/>
          <a:lstStyle>
            <a:lvl1pPr marL="0" indent="0" algn="l">
              <a:lnSpc>
                <a:spcPct val="90000"/>
              </a:lnSpc>
              <a:buNone/>
              <a:defRPr sz="2800" b="1" cap="none" baseline="0">
                <a:solidFill>
                  <a:schemeClr val="bg1"/>
                </a:solidFill>
              </a:defRPr>
            </a:lvl1pPr>
            <a:lvl2pPr marL="0" algn="ctr">
              <a:lnSpc>
                <a:spcPct val="100000"/>
              </a:lnSpc>
              <a:spcBef>
                <a:spcPts val="6900"/>
              </a:spcBef>
              <a:defRPr sz="2000" b="1">
                <a:solidFill>
                  <a:schemeClr val="bg1"/>
                </a:solidFill>
              </a:defRPr>
            </a:lvl2pPr>
          </a:lstStyle>
          <a:p>
            <a:pPr lvl="0"/>
            <a:r>
              <a:rPr lang="en-US" noProof="0"/>
              <a:t>Click to edit Master text styles</a:t>
            </a:r>
          </a:p>
        </p:txBody>
      </p:sp>
      <p:sp>
        <p:nvSpPr>
          <p:cNvPr id="15" name="Espace réservé du texte 14"/>
          <p:cNvSpPr>
            <a:spLocks noGrp="1"/>
          </p:cNvSpPr>
          <p:nvPr>
            <p:ph type="body" sz="quarter" idx="19"/>
          </p:nvPr>
        </p:nvSpPr>
        <p:spPr bwMode="gray">
          <a:xfrm>
            <a:off x="3635376" y="6021388"/>
            <a:ext cx="5113338" cy="324000"/>
          </a:xfrm>
        </p:spPr>
        <p:txBody>
          <a:bodyPr anchor="b"/>
          <a:lstStyle>
            <a:lvl1pPr algn="r">
              <a:lnSpc>
                <a:spcPct val="100000"/>
              </a:lnSpc>
              <a:defRPr sz="1000" b="1">
                <a:solidFill>
                  <a:schemeClr val="accent3"/>
                </a:solidFill>
              </a:defRPr>
            </a:lvl1pPr>
          </a:lstStyle>
          <a:p>
            <a:pPr lvl="0"/>
            <a:r>
              <a:rPr lang="en-US" noProof="0"/>
              <a:t>Click to edit Master text styles</a:t>
            </a:r>
          </a:p>
        </p:txBody>
      </p:sp>
      <p:sp>
        <p:nvSpPr>
          <p:cNvPr id="13" name="Espace réservé pour une image  17"/>
          <p:cNvSpPr>
            <a:spLocks noGrp="1"/>
          </p:cNvSpPr>
          <p:nvPr>
            <p:ph type="pic" sz="quarter" idx="18"/>
          </p:nvPr>
        </p:nvSpPr>
        <p:spPr bwMode="gray">
          <a:xfrm>
            <a:off x="4192588" y="0"/>
            <a:ext cx="4951412" cy="5162400"/>
          </a:xfrm>
          <a:custGeom>
            <a:avLst/>
            <a:gdLst>
              <a:gd name="connsiteX0" fmla="*/ 0 w 3851275"/>
              <a:gd name="connsiteY0" fmla="*/ 0 h 5157788"/>
              <a:gd name="connsiteX1" fmla="*/ 3851275 w 3851275"/>
              <a:gd name="connsiteY1" fmla="*/ 0 h 5157788"/>
              <a:gd name="connsiteX2" fmla="*/ 3851275 w 3851275"/>
              <a:gd name="connsiteY2" fmla="*/ 5157788 h 5157788"/>
              <a:gd name="connsiteX3" fmla="*/ 0 w 3851275"/>
              <a:gd name="connsiteY3" fmla="*/ 5157788 h 5157788"/>
              <a:gd name="connsiteX4" fmla="*/ 0 w 3851275"/>
              <a:gd name="connsiteY4"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0 w 3851275"/>
              <a:gd name="connsiteY3" fmla="*/ 5157788 h 5157788"/>
              <a:gd name="connsiteX4" fmla="*/ 1692275 w 3851275"/>
              <a:gd name="connsiteY4" fmla="*/ 0 h 5157788"/>
              <a:gd name="connsiteX0" fmla="*/ 0 w 2159000"/>
              <a:gd name="connsiteY0" fmla="*/ 0 h 5157788"/>
              <a:gd name="connsiteX1" fmla="*/ 2159000 w 2159000"/>
              <a:gd name="connsiteY1" fmla="*/ 0 h 5157788"/>
              <a:gd name="connsiteX2" fmla="*/ 2159000 w 2159000"/>
              <a:gd name="connsiteY2" fmla="*/ 5157788 h 5157788"/>
              <a:gd name="connsiteX3" fmla="*/ 0 w 2159000"/>
              <a:gd name="connsiteY3" fmla="*/ 5157788 h 5157788"/>
              <a:gd name="connsiteX4" fmla="*/ 0 w 2159000"/>
              <a:gd name="connsiteY4" fmla="*/ 0 h 5157788"/>
              <a:gd name="connsiteX0" fmla="*/ 2625271 w 4784271"/>
              <a:gd name="connsiteY0" fmla="*/ 0 h 5157788"/>
              <a:gd name="connsiteX1" fmla="*/ 4784271 w 4784271"/>
              <a:gd name="connsiteY1" fmla="*/ 0 h 5157788"/>
              <a:gd name="connsiteX2" fmla="*/ 4784271 w 4784271"/>
              <a:gd name="connsiteY2" fmla="*/ 5157788 h 5157788"/>
              <a:gd name="connsiteX3" fmla="*/ 2625271 w 4784271"/>
              <a:gd name="connsiteY3" fmla="*/ 5157788 h 5157788"/>
              <a:gd name="connsiteX4" fmla="*/ 2625271 w 4784271"/>
              <a:gd name="connsiteY4" fmla="*/ 0 h 5157788"/>
              <a:gd name="connsiteX0" fmla="*/ 2625271 w 4784271"/>
              <a:gd name="connsiteY0" fmla="*/ 0 h 5157788"/>
              <a:gd name="connsiteX1" fmla="*/ 4784271 w 4784271"/>
              <a:gd name="connsiteY1" fmla="*/ 0 h 5157788"/>
              <a:gd name="connsiteX2" fmla="*/ 4784271 w 4784271"/>
              <a:gd name="connsiteY2" fmla="*/ 5157788 h 5157788"/>
              <a:gd name="connsiteX3" fmla="*/ 2625271 w 4784271"/>
              <a:gd name="connsiteY3" fmla="*/ 5157788 h 5157788"/>
              <a:gd name="connsiteX4" fmla="*/ 2625271 w 4784271"/>
              <a:gd name="connsiteY4" fmla="*/ 0 h 5157788"/>
              <a:gd name="connsiteX0" fmla="*/ 3568576 w 5727576"/>
              <a:gd name="connsiteY0" fmla="*/ 0 h 5157788"/>
              <a:gd name="connsiteX1" fmla="*/ 5727576 w 5727576"/>
              <a:gd name="connsiteY1" fmla="*/ 0 h 5157788"/>
              <a:gd name="connsiteX2" fmla="*/ 5727576 w 5727576"/>
              <a:gd name="connsiteY2" fmla="*/ 5157788 h 5157788"/>
              <a:gd name="connsiteX3" fmla="*/ 3568576 w 5727576"/>
              <a:gd name="connsiteY3" fmla="*/ 5157788 h 5157788"/>
              <a:gd name="connsiteX4" fmla="*/ 3568576 w 5727576"/>
              <a:gd name="connsiteY4" fmla="*/ 0 h 5157788"/>
              <a:gd name="connsiteX0" fmla="*/ 3306355 w 5465355"/>
              <a:gd name="connsiteY0" fmla="*/ 0 h 5157788"/>
              <a:gd name="connsiteX1" fmla="*/ 5465355 w 5465355"/>
              <a:gd name="connsiteY1" fmla="*/ 0 h 5157788"/>
              <a:gd name="connsiteX2" fmla="*/ 5465355 w 5465355"/>
              <a:gd name="connsiteY2" fmla="*/ 5157788 h 5157788"/>
              <a:gd name="connsiteX3" fmla="*/ 3306355 w 5465355"/>
              <a:gd name="connsiteY3" fmla="*/ 5157788 h 5157788"/>
              <a:gd name="connsiteX4" fmla="*/ 3306355 w 5465355"/>
              <a:gd name="connsiteY4" fmla="*/ 0 h 5157788"/>
              <a:gd name="connsiteX0" fmla="*/ 1416957 w 3575957"/>
              <a:gd name="connsiteY0" fmla="*/ 0 h 5157788"/>
              <a:gd name="connsiteX1" fmla="*/ 3575957 w 3575957"/>
              <a:gd name="connsiteY1" fmla="*/ 0 h 5157788"/>
              <a:gd name="connsiteX2" fmla="*/ 3575957 w 3575957"/>
              <a:gd name="connsiteY2" fmla="*/ 5157788 h 5157788"/>
              <a:gd name="connsiteX3" fmla="*/ 1416957 w 3575957"/>
              <a:gd name="connsiteY3" fmla="*/ 5157788 h 5157788"/>
              <a:gd name="connsiteX4" fmla="*/ 0 w 3575957"/>
              <a:gd name="connsiteY4" fmla="*/ 3339193 h 5157788"/>
              <a:gd name="connsiteX5" fmla="*/ 1416957 w 3575957"/>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6017419"/>
              <a:gd name="connsiteX1" fmla="*/ 3851275 w 3851275"/>
              <a:gd name="connsiteY1" fmla="*/ 0 h 6017419"/>
              <a:gd name="connsiteX2" fmla="*/ 3851275 w 3851275"/>
              <a:gd name="connsiteY2" fmla="*/ 5157788 h 6017419"/>
              <a:gd name="connsiteX3" fmla="*/ 1692275 w 3851275"/>
              <a:gd name="connsiteY3" fmla="*/ 5157788 h 6017419"/>
              <a:gd name="connsiteX4" fmla="*/ 0 w 3851275"/>
              <a:gd name="connsiteY4" fmla="*/ 3284984 h 6017419"/>
              <a:gd name="connsiteX5" fmla="*/ 1692275 w 3851275"/>
              <a:gd name="connsiteY5" fmla="*/ 0 h 6017419"/>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429000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429000 h 5157788"/>
              <a:gd name="connsiteX5" fmla="*/ 1710871 w 3869871"/>
              <a:gd name="connsiteY5" fmla="*/ 0 h 5157788"/>
              <a:gd name="connsiteX0" fmla="*/ 1704975 w 3863975"/>
              <a:gd name="connsiteY0" fmla="*/ 0 h 5157788"/>
              <a:gd name="connsiteX1" fmla="*/ 3863975 w 3863975"/>
              <a:gd name="connsiteY1" fmla="*/ 0 h 5157788"/>
              <a:gd name="connsiteX2" fmla="*/ 3863975 w 3863975"/>
              <a:gd name="connsiteY2" fmla="*/ 5157788 h 5157788"/>
              <a:gd name="connsiteX3" fmla="*/ 1704975 w 3863975"/>
              <a:gd name="connsiteY3" fmla="*/ 5157788 h 5157788"/>
              <a:gd name="connsiteX4" fmla="*/ 12700 w 3863975"/>
              <a:gd name="connsiteY4" fmla="*/ 3429000 h 5157788"/>
              <a:gd name="connsiteX5" fmla="*/ 1704975 w 3863975"/>
              <a:gd name="connsiteY5" fmla="*/ 0 h 5157788"/>
              <a:gd name="connsiteX0" fmla="*/ 1707243 w 3866243"/>
              <a:gd name="connsiteY0" fmla="*/ 0 h 5157788"/>
              <a:gd name="connsiteX1" fmla="*/ 3866243 w 3866243"/>
              <a:gd name="connsiteY1" fmla="*/ 0 h 5157788"/>
              <a:gd name="connsiteX2" fmla="*/ 3866243 w 3866243"/>
              <a:gd name="connsiteY2" fmla="*/ 5157788 h 5157788"/>
              <a:gd name="connsiteX3" fmla="*/ 1707243 w 3866243"/>
              <a:gd name="connsiteY3" fmla="*/ 5157788 h 5157788"/>
              <a:gd name="connsiteX4" fmla="*/ 14968 w 3866243"/>
              <a:gd name="connsiteY4" fmla="*/ 3429000 h 5157788"/>
              <a:gd name="connsiteX5" fmla="*/ 1707243 w 3866243"/>
              <a:gd name="connsiteY5" fmla="*/ 0 h 5157788"/>
              <a:gd name="connsiteX0" fmla="*/ 1130447 w 3866243"/>
              <a:gd name="connsiteY0" fmla="*/ 0 h 5157788"/>
              <a:gd name="connsiteX1" fmla="*/ 3866243 w 3866243"/>
              <a:gd name="connsiteY1" fmla="*/ 0 h 5157788"/>
              <a:gd name="connsiteX2" fmla="*/ 3866243 w 3866243"/>
              <a:gd name="connsiteY2" fmla="*/ 5157788 h 5157788"/>
              <a:gd name="connsiteX3" fmla="*/ 1707243 w 3866243"/>
              <a:gd name="connsiteY3" fmla="*/ 5157788 h 5157788"/>
              <a:gd name="connsiteX4" fmla="*/ 14968 w 3866243"/>
              <a:gd name="connsiteY4" fmla="*/ 3429000 h 5157788"/>
              <a:gd name="connsiteX5" fmla="*/ 1130447 w 3866243"/>
              <a:gd name="connsiteY5" fmla="*/ 0 h 5157788"/>
              <a:gd name="connsiteX0" fmla="*/ 2746143 w 5481939"/>
              <a:gd name="connsiteY0" fmla="*/ 0 h 5157788"/>
              <a:gd name="connsiteX1" fmla="*/ 5481939 w 5481939"/>
              <a:gd name="connsiteY1" fmla="*/ 0 h 5157788"/>
              <a:gd name="connsiteX2" fmla="*/ 5481939 w 5481939"/>
              <a:gd name="connsiteY2" fmla="*/ 5157788 h 5157788"/>
              <a:gd name="connsiteX3" fmla="*/ 585903 w 5481939"/>
              <a:gd name="connsiteY3" fmla="*/ 5153180 h 5157788"/>
              <a:gd name="connsiteX4" fmla="*/ 1630664 w 5481939"/>
              <a:gd name="connsiteY4" fmla="*/ 3429000 h 5157788"/>
              <a:gd name="connsiteX5" fmla="*/ 2746143 w 5481939"/>
              <a:gd name="connsiteY5" fmla="*/ 0 h 5157788"/>
              <a:gd name="connsiteX0" fmla="*/ 2746143 w 5481939"/>
              <a:gd name="connsiteY0" fmla="*/ 0 h 5157788"/>
              <a:gd name="connsiteX1" fmla="*/ 5481939 w 5481939"/>
              <a:gd name="connsiteY1" fmla="*/ 0 h 5157788"/>
              <a:gd name="connsiteX2" fmla="*/ 5481939 w 5481939"/>
              <a:gd name="connsiteY2" fmla="*/ 5157788 h 5157788"/>
              <a:gd name="connsiteX3" fmla="*/ 585903 w 5481939"/>
              <a:gd name="connsiteY3" fmla="*/ 5153180 h 5157788"/>
              <a:gd name="connsiteX4" fmla="*/ 1630664 w 5481939"/>
              <a:gd name="connsiteY4" fmla="*/ 3429000 h 5157788"/>
              <a:gd name="connsiteX5" fmla="*/ 2746143 w 548193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3574235 w 6310031"/>
              <a:gd name="connsiteY0" fmla="*/ 0 h 5157788"/>
              <a:gd name="connsiteX1" fmla="*/ 6310031 w 6310031"/>
              <a:gd name="connsiteY1" fmla="*/ 0 h 5157788"/>
              <a:gd name="connsiteX2" fmla="*/ 6310031 w 6310031"/>
              <a:gd name="connsiteY2" fmla="*/ 5157788 h 5157788"/>
              <a:gd name="connsiteX3" fmla="*/ 585903 w 6310031"/>
              <a:gd name="connsiteY3" fmla="*/ 5153180 h 5157788"/>
              <a:gd name="connsiteX4" fmla="*/ 1738031 w 6310031"/>
              <a:gd name="connsiteY4" fmla="*/ 3389965 h 5157788"/>
              <a:gd name="connsiteX5" fmla="*/ 3574235 w 6310031"/>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296143 w 5724128"/>
              <a:gd name="connsiteY4" fmla="*/ 3461908 h 5157788"/>
              <a:gd name="connsiteX5" fmla="*/ 2988332 w 5724128"/>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1188132 w 5760132"/>
              <a:gd name="connsiteY4" fmla="*/ 3425937 h 5157788"/>
              <a:gd name="connsiteX5" fmla="*/ 3024336 w 5760132"/>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2736304 w 5760132"/>
              <a:gd name="connsiteY4" fmla="*/ 3461908 h 5157788"/>
              <a:gd name="connsiteX5" fmla="*/ 3024336 w 5760132"/>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2736304 w 5760132"/>
              <a:gd name="connsiteY4" fmla="*/ 3461908 h 5157788"/>
              <a:gd name="connsiteX5" fmla="*/ 3024336 w 5760132"/>
              <a:gd name="connsiteY5" fmla="*/ 0 h 5157788"/>
              <a:gd name="connsiteX0" fmla="*/ 2160240 w 4896036"/>
              <a:gd name="connsiteY0" fmla="*/ 0 h 5157788"/>
              <a:gd name="connsiteX1" fmla="*/ 4896036 w 4896036"/>
              <a:gd name="connsiteY1" fmla="*/ 0 h 5157788"/>
              <a:gd name="connsiteX2" fmla="*/ 4896036 w 4896036"/>
              <a:gd name="connsiteY2" fmla="*/ 5157788 h 5157788"/>
              <a:gd name="connsiteX3" fmla="*/ 0 w 4896036"/>
              <a:gd name="connsiteY3" fmla="*/ 5153180 h 5157788"/>
              <a:gd name="connsiteX4" fmla="*/ 1872208 w 4896036"/>
              <a:gd name="connsiteY4" fmla="*/ 3461908 h 5157788"/>
              <a:gd name="connsiteX5" fmla="*/ 2160240 w 4896036"/>
              <a:gd name="connsiteY5" fmla="*/ 0 h 5157788"/>
              <a:gd name="connsiteX0" fmla="*/ 2232248 w 4968044"/>
              <a:gd name="connsiteY0" fmla="*/ 0 h 5157788"/>
              <a:gd name="connsiteX1" fmla="*/ 4968044 w 4968044"/>
              <a:gd name="connsiteY1" fmla="*/ 0 h 5157788"/>
              <a:gd name="connsiteX2" fmla="*/ 4968044 w 4968044"/>
              <a:gd name="connsiteY2" fmla="*/ 5157788 h 5157788"/>
              <a:gd name="connsiteX3" fmla="*/ 0 w 4968044"/>
              <a:gd name="connsiteY3" fmla="*/ 5153180 h 5157788"/>
              <a:gd name="connsiteX4" fmla="*/ 1944216 w 4968044"/>
              <a:gd name="connsiteY4" fmla="*/ 3461908 h 5157788"/>
              <a:gd name="connsiteX5" fmla="*/ 2232248 w 4968044"/>
              <a:gd name="connsiteY5" fmla="*/ 0 h 5157788"/>
              <a:gd name="connsiteX0" fmla="*/ 2207679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207679 w 4943475"/>
              <a:gd name="connsiteY5" fmla="*/ 0 h 5157788"/>
              <a:gd name="connsiteX0" fmla="*/ 2963763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963763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092200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71575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343583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675731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675731 w 4943475"/>
              <a:gd name="connsiteY5" fmla="*/ 0 h 5157788"/>
              <a:gd name="connsiteX0" fmla="*/ 2675731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675731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9672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19672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51412" h="5157788">
                <a:moveTo>
                  <a:pt x="2706687" y="0"/>
                </a:moveTo>
                <a:lnTo>
                  <a:pt x="4951412" y="0"/>
                </a:lnTo>
                <a:lnTo>
                  <a:pt x="4951412" y="5157788"/>
                </a:lnTo>
                <a:lnTo>
                  <a:pt x="0" y="5153180"/>
                </a:lnTo>
                <a:cubicBezTo>
                  <a:pt x="84411" y="4542509"/>
                  <a:pt x="183041" y="4024723"/>
                  <a:pt x="1243508" y="2562613"/>
                </a:cubicBezTo>
                <a:cubicBezTo>
                  <a:pt x="1867447" y="1704780"/>
                  <a:pt x="2665955" y="709265"/>
                  <a:pt x="2706687" y="0"/>
                </a:cubicBezTo>
                <a:close/>
              </a:path>
            </a:pathLst>
          </a:custGeom>
          <a:solidFill>
            <a:schemeClr val="bg2"/>
          </a:solidFill>
          <a:ln w="3175">
            <a:noFill/>
          </a:ln>
        </p:spPr>
        <p:txBody>
          <a:bodyPr tIns="720000" rtlCol="0" anchor="ctr">
            <a:noAutofit/>
          </a:bodyPr>
          <a:lstStyle>
            <a:lvl1pPr algn="ctr">
              <a:defRPr sz="1500">
                <a:solidFill>
                  <a:schemeClr val="bg1"/>
                </a:solidFill>
              </a:defRPr>
            </a:lvl1pPr>
          </a:lstStyle>
          <a:p>
            <a:pPr lvl="0"/>
            <a:r>
              <a:rPr lang="en-US" noProof="0"/>
              <a:t>Click icon to add picture</a:t>
            </a:r>
          </a:p>
        </p:txBody>
      </p:sp>
      <p:sp>
        <p:nvSpPr>
          <p:cNvPr id="11" name="Espace réservé de la date 9"/>
          <p:cNvSpPr>
            <a:spLocks noGrp="1"/>
          </p:cNvSpPr>
          <p:nvPr>
            <p:ph type="dt" sz="half" idx="20"/>
          </p:nvPr>
        </p:nvSpPr>
        <p:spPr/>
        <p:txBody>
          <a:bodyPr/>
          <a:lstStyle>
            <a:lvl1pPr>
              <a:defRPr/>
            </a:lvl1pPr>
          </a:lstStyle>
          <a:p>
            <a:pPr>
              <a:defRPr/>
            </a:pPr>
            <a:r>
              <a:rPr lang="en-US">
                <a:solidFill>
                  <a:prstClr val="white">
                    <a:alpha val="0"/>
                  </a:prstClr>
                </a:solidFill>
              </a:rPr>
              <a:t>Date</a:t>
            </a:r>
          </a:p>
        </p:txBody>
      </p:sp>
      <p:sp>
        <p:nvSpPr>
          <p:cNvPr id="12" name="Espace réservé du numéro de diapositive 10"/>
          <p:cNvSpPr>
            <a:spLocks noGrp="1"/>
          </p:cNvSpPr>
          <p:nvPr>
            <p:ph type="sldNum" sz="quarter" idx="21"/>
          </p:nvPr>
        </p:nvSpPr>
        <p:spPr/>
        <p:txBody>
          <a:bodyPr/>
          <a:lstStyle>
            <a:lvl1pPr>
              <a:defRPr sz="100">
                <a:solidFill>
                  <a:schemeClr val="bg1">
                    <a:alpha val="0"/>
                  </a:schemeClr>
                </a:solidFill>
              </a:defRPr>
            </a:lvl1pPr>
          </a:lstStyle>
          <a:p>
            <a:pPr>
              <a:defRPr/>
            </a:pPr>
            <a:r>
              <a:rPr lang="en-US">
                <a:solidFill>
                  <a:prstClr val="white">
                    <a:alpha val="0"/>
                  </a:prstClr>
                </a:solidFill>
              </a:rPr>
              <a:t>Page: </a:t>
            </a:r>
            <a:fld id="{168EB3F5-198F-4211-80D0-E690EB6CEA77}" type="slidenum">
              <a:rPr lang="en-US">
                <a:solidFill>
                  <a:prstClr val="white">
                    <a:alpha val="0"/>
                  </a:prstClr>
                </a:solidFill>
              </a:rPr>
              <a:pPr>
                <a:defRPr/>
              </a:pPr>
              <a:t>‹#›</a:t>
            </a:fld>
            <a:endParaRPr lang="en-US">
              <a:solidFill>
                <a:prstClr val="white">
                  <a:alpha val="0"/>
                </a:prstClr>
              </a:solidFill>
            </a:endParaRPr>
          </a:p>
        </p:txBody>
      </p:sp>
      <p:sp>
        <p:nvSpPr>
          <p:cNvPr id="14" name="Espace réservé du pied de page 11"/>
          <p:cNvSpPr>
            <a:spLocks noGrp="1"/>
          </p:cNvSpPr>
          <p:nvPr>
            <p:ph type="ftr" sz="quarter" idx="22"/>
          </p:nvPr>
        </p:nvSpPr>
        <p:spPr>
          <a:xfrm>
            <a:off x="468313" y="523875"/>
            <a:ext cx="4824412" cy="360363"/>
          </a:xfrm>
        </p:spPr>
        <p:txBody>
          <a:bodyPr/>
          <a:lstStyle>
            <a:lvl1pPr algn="l">
              <a:defRPr sz="1800" b="0">
                <a:solidFill>
                  <a:schemeClr val="bg1"/>
                </a:solidFill>
              </a:defRPr>
            </a:lvl1pPr>
          </a:lstStyle>
          <a:p>
            <a:pPr>
              <a:defRPr/>
            </a:pPr>
            <a:r>
              <a:rPr lang="en-US">
                <a:solidFill>
                  <a:prstClr val="white"/>
                </a:solidFill>
              </a:rPr>
              <a:t>#</a:t>
            </a:r>
            <a:r>
              <a:rPr lang="en-US" err="1">
                <a:solidFill>
                  <a:prstClr val="white"/>
                </a:solidFill>
              </a:rPr>
              <a:t>vaccineswork</a:t>
            </a:r>
            <a:endParaRPr lang="en-US">
              <a:solidFill>
                <a:prstClr val="white"/>
              </a:solidFill>
            </a:endParaRPr>
          </a:p>
        </p:txBody>
      </p:sp>
    </p:spTree>
    <p:extLst>
      <p:ext uri="{BB962C8B-B14F-4D97-AF65-F5344CB8AC3E}">
        <p14:creationId xmlns:p14="http://schemas.microsoft.com/office/powerpoint/2010/main" val="3081410586"/>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Text and Visual">
    <p:spTree>
      <p:nvGrpSpPr>
        <p:cNvPr id="1" name=""/>
        <p:cNvGrpSpPr/>
        <p:nvPr/>
      </p:nvGrpSpPr>
      <p:grpSpPr>
        <a:xfrm>
          <a:off x="0" y="0"/>
          <a:ext cx="0" cy="0"/>
          <a:chOff x="0" y="0"/>
          <a:chExt cx="0" cy="0"/>
        </a:xfrm>
      </p:grpSpPr>
      <p:sp>
        <p:nvSpPr>
          <p:cNvPr id="2" name="Title 1"/>
          <p:cNvSpPr>
            <a:spLocks noGrp="1"/>
          </p:cNvSpPr>
          <p:nvPr>
            <p:ph type="title"/>
          </p:nvPr>
        </p:nvSpPr>
        <p:spPr>
          <a:xfrm>
            <a:off x="973138" y="225211"/>
            <a:ext cx="7207249" cy="697999"/>
          </a:xfrm>
        </p:spPr>
        <p:txBody>
          <a:bodyPr/>
          <a:lstStyle/>
          <a:p>
            <a:r>
              <a:rPr lang="en-US"/>
              <a:t>Click to edit Master title style</a:t>
            </a:r>
          </a:p>
        </p:txBody>
      </p:sp>
      <p:sp>
        <p:nvSpPr>
          <p:cNvPr id="4" name="Content Placeholder 3"/>
          <p:cNvSpPr>
            <a:spLocks noGrp="1"/>
          </p:cNvSpPr>
          <p:nvPr>
            <p:ph sz="half" idx="2"/>
          </p:nvPr>
        </p:nvSpPr>
        <p:spPr>
          <a:xfrm>
            <a:off x="3425825" y="2302159"/>
            <a:ext cx="4754564" cy="2541673"/>
          </a:xfrm>
        </p:spPr>
        <p:txBody>
          <a:bodyPr/>
          <a:lstStyle>
            <a:lvl1pPr>
              <a:defRPr sz="1600"/>
            </a:lvl1pPr>
            <a:lvl2pPr marL="457200" indent="0">
              <a:buNone/>
              <a:defRPr sz="1600"/>
            </a:lvl2pPr>
            <a:lvl3pPr marL="914400" indent="0">
              <a:buNone/>
              <a:defRPr sz="1600"/>
            </a:lvl3pPr>
            <a:lvl4pPr marL="1371600" indent="0">
              <a:buNone/>
              <a:defRPr sz="1600"/>
            </a:lvl4pPr>
            <a:lvl5pPr marL="1828800" indent="0">
              <a:buNone/>
              <a:defRPr sz="16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p:cNvSpPr>
            <a:spLocks noGrp="1"/>
          </p:cNvSpPr>
          <p:nvPr>
            <p:ph type="pic" sz="quarter" idx="13"/>
          </p:nvPr>
        </p:nvSpPr>
        <p:spPr>
          <a:xfrm>
            <a:off x="973138" y="1247776"/>
            <a:ext cx="2300287" cy="3450384"/>
          </a:xfrm>
        </p:spPr>
        <p:txBody>
          <a:bodyPr rtlCol="0">
            <a:noAutofit/>
          </a:bodyPr>
          <a:lstStyle/>
          <a:p>
            <a:pPr lvl="0"/>
            <a:endParaRPr lang="en-US" noProof="0"/>
          </a:p>
        </p:txBody>
      </p:sp>
      <p:sp>
        <p:nvSpPr>
          <p:cNvPr id="10" name="Content Placeholder 3"/>
          <p:cNvSpPr>
            <a:spLocks noGrp="1"/>
          </p:cNvSpPr>
          <p:nvPr>
            <p:ph sz="half" idx="14"/>
          </p:nvPr>
        </p:nvSpPr>
        <p:spPr>
          <a:xfrm>
            <a:off x="3425825" y="1241426"/>
            <a:ext cx="4754564" cy="879316"/>
          </a:xfrm>
        </p:spPr>
        <p:txBody>
          <a:bodyPr/>
          <a:lstStyle>
            <a:lvl1pPr marL="0" indent="0">
              <a:buNone/>
              <a:defRPr sz="1600">
                <a:solidFill>
                  <a:srgbClr val="005CB9"/>
                </a:solidFill>
              </a:defRPr>
            </a:lvl1pPr>
            <a:lvl2pPr marL="457200" indent="0">
              <a:buNone/>
              <a:defRPr sz="1400">
                <a:solidFill>
                  <a:srgbClr val="005CB9"/>
                </a:solidFill>
              </a:defRPr>
            </a:lvl2pPr>
            <a:lvl3pPr marL="914400" indent="0">
              <a:buNone/>
              <a:defRPr sz="1400">
                <a:solidFill>
                  <a:srgbClr val="005CB9"/>
                </a:solidFill>
              </a:defRPr>
            </a:lvl3pPr>
            <a:lvl4pPr marL="1371600" indent="0">
              <a:buNone/>
              <a:defRPr sz="1400">
                <a:solidFill>
                  <a:srgbClr val="005CB9"/>
                </a:solidFill>
              </a:defRPr>
            </a:lvl4pPr>
            <a:lvl5pPr marL="1828800" indent="0">
              <a:buNone/>
              <a:defRPr sz="1400">
                <a:solidFill>
                  <a:srgbClr val="005CB9"/>
                </a:solidFill>
              </a:defRPr>
            </a:lvl5pPr>
            <a:lvl6pPr>
              <a:defRPr sz="1800"/>
            </a:lvl6pPr>
            <a:lvl7pPr>
              <a:defRPr sz="1800"/>
            </a:lvl7pPr>
            <a:lvl8pPr>
              <a:defRPr sz="1800"/>
            </a:lvl8pPr>
            <a:lvl9pPr>
              <a:defRPr sz="1800"/>
            </a:lvl9pPr>
          </a:lstStyle>
          <a:p>
            <a:pPr lvl="0"/>
            <a:r>
              <a:rPr lang="en-US"/>
              <a:t>Click to edit Master text styles</a:t>
            </a:r>
          </a:p>
        </p:txBody>
      </p:sp>
      <p:sp>
        <p:nvSpPr>
          <p:cNvPr id="6" name="Footer Placeholder 5"/>
          <p:cNvSpPr>
            <a:spLocks noGrp="1"/>
          </p:cNvSpPr>
          <p:nvPr>
            <p:ph type="ftr" sz="quarter" idx="15"/>
          </p:nvPr>
        </p:nvSpPr>
        <p:spPr/>
        <p:txBody>
          <a:bodyPr/>
          <a:lstStyle>
            <a:lvl1pPr>
              <a:defRPr/>
            </a:lvl1pPr>
          </a:lstStyle>
          <a:p>
            <a:pPr>
              <a:defRPr/>
            </a:pPr>
            <a:r>
              <a:rPr lang="en-US">
                <a:solidFill>
                  <a:srgbClr val="005CB9"/>
                </a:solidFill>
              </a:rPr>
              <a:t>Basic facts about </a:t>
            </a:r>
            <a:r>
              <a:rPr lang="en-US" err="1">
                <a:solidFill>
                  <a:srgbClr val="005CB9"/>
                </a:solidFill>
              </a:rPr>
              <a:t>Gavi</a:t>
            </a:r>
            <a:r>
              <a:rPr lang="en-US">
                <a:solidFill>
                  <a:srgbClr val="005CB9"/>
                </a:solidFill>
              </a:rPr>
              <a:t> the Vaccine Alliance</a:t>
            </a:r>
          </a:p>
        </p:txBody>
      </p:sp>
      <p:sp>
        <p:nvSpPr>
          <p:cNvPr id="7" name="Slide Number Placeholder 6"/>
          <p:cNvSpPr>
            <a:spLocks noGrp="1"/>
          </p:cNvSpPr>
          <p:nvPr>
            <p:ph type="sldNum" sz="quarter" idx="16"/>
          </p:nvPr>
        </p:nvSpPr>
        <p:spPr/>
        <p:txBody>
          <a:bodyPr/>
          <a:lstStyle>
            <a:lvl1pPr algn="ctr">
              <a:defRPr/>
            </a:lvl1pPr>
          </a:lstStyle>
          <a:p>
            <a:pPr>
              <a:defRPr/>
            </a:pPr>
            <a:fld id="{FFE8DD00-E6C1-42A5-A44D-4115350A5429}" type="slidenum">
              <a:rPr lang="en-US">
                <a:solidFill>
                  <a:srgbClr val="343434"/>
                </a:solidFill>
              </a:rPr>
              <a:pPr>
                <a:defRPr/>
              </a:pPr>
              <a:t>‹#›</a:t>
            </a:fld>
            <a:endParaRPr lang="en-US">
              <a:solidFill>
                <a:srgbClr val="343434"/>
              </a:solidFill>
            </a:endParaRPr>
          </a:p>
        </p:txBody>
      </p:sp>
    </p:spTree>
    <p:extLst>
      <p:ext uri="{BB962C8B-B14F-4D97-AF65-F5344CB8AC3E}">
        <p14:creationId xmlns:p14="http://schemas.microsoft.com/office/powerpoint/2010/main" val="2266265132"/>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300261289"/>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noProof="0"/>
              <a:t>Click to edit Master title style</a:t>
            </a:r>
          </a:p>
        </p:txBody>
      </p:sp>
      <p:sp>
        <p:nvSpPr>
          <p:cNvPr id="3" name="Footer Placeholder 4"/>
          <p:cNvSpPr>
            <a:spLocks noGrp="1"/>
          </p:cNvSpPr>
          <p:nvPr>
            <p:ph type="ftr" sz="quarter" idx="10"/>
          </p:nvPr>
        </p:nvSpPr>
        <p:spPr>
          <a:xfrm>
            <a:off x="990600" y="6492875"/>
            <a:ext cx="2895600" cy="365125"/>
          </a:xfrm>
          <a:prstGeom prst="rect">
            <a:avLst/>
          </a:prstGeom>
        </p:spPr>
        <p:txBody>
          <a:bodyPr/>
          <a:lstStyle>
            <a:lvl1pPr>
              <a:defRPr/>
            </a:lvl1pPr>
          </a:lstStyle>
          <a:p>
            <a:pPr>
              <a:defRPr/>
            </a:pPr>
            <a:endParaRPr lang="en-US">
              <a:solidFill>
                <a:srgbClr val="005CB9"/>
              </a:solidFill>
            </a:endParaRPr>
          </a:p>
        </p:txBody>
      </p:sp>
      <p:sp>
        <p:nvSpPr>
          <p:cNvPr id="4" name="Slide Number Placeholder 5"/>
          <p:cNvSpPr>
            <a:spLocks noGrp="1"/>
          </p:cNvSpPr>
          <p:nvPr>
            <p:ph type="sldNum" sz="quarter" idx="4"/>
          </p:nvPr>
        </p:nvSpPr>
        <p:spPr>
          <a:xfrm>
            <a:off x="4495800" y="6675438"/>
            <a:ext cx="457200" cy="182562"/>
          </a:xfrm>
          <a:prstGeom prst="rect">
            <a:avLst/>
          </a:prstGeom>
        </p:spPr>
        <p:txBody>
          <a:bodyPr vert="horz" wrap="square" lIns="91440" tIns="45720" rIns="91440" bIns="45720" numCol="1" anchor="t" anchorCtr="0" compatLnSpc="1">
            <a:prstTxWarp prst="textNoShape">
              <a:avLst/>
            </a:prstTxWarp>
          </a:bodyPr>
          <a:lstStyle>
            <a:lvl1pPr algn="ctr">
              <a:defRPr sz="600" smtClean="0"/>
            </a:lvl1pPr>
          </a:lstStyle>
          <a:p>
            <a:fld id="{71E7CAA9-5801-4134-B261-BDA72BB51524}" type="slidenum">
              <a:rPr lang="en-GB">
                <a:solidFill>
                  <a:srgbClr val="343434"/>
                </a:solidFill>
              </a:rPr>
              <a:pPr/>
              <a:t>‹#›</a:t>
            </a:fld>
            <a:endParaRPr lang="en-GB">
              <a:solidFill>
                <a:srgbClr val="343434"/>
              </a:solidFill>
            </a:endParaRPr>
          </a:p>
        </p:txBody>
      </p:sp>
    </p:spTree>
    <p:extLst>
      <p:ext uri="{BB962C8B-B14F-4D97-AF65-F5344CB8AC3E}">
        <p14:creationId xmlns:p14="http://schemas.microsoft.com/office/powerpoint/2010/main" val="3938417373"/>
      </p:ext>
    </p:extLst>
  </p:cSld>
  <p:clrMapOvr>
    <a:masterClrMapping/>
  </p:clrMapOvr>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Text&amp;4_Blocks_Layout">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p:txBody>
          <a:bodyPr/>
          <a:lstStyle/>
          <a:p>
            <a:r>
              <a:rPr lang="en-GB" noProof="0"/>
              <a:t>TITLE</a:t>
            </a:r>
          </a:p>
        </p:txBody>
      </p:sp>
      <p:sp>
        <p:nvSpPr>
          <p:cNvPr id="10" name="Espace réservé du texte 9"/>
          <p:cNvSpPr>
            <a:spLocks noGrp="1"/>
          </p:cNvSpPr>
          <p:nvPr>
            <p:ph type="body" sz="quarter" idx="13" hasCustomPrompt="1"/>
          </p:nvPr>
        </p:nvSpPr>
        <p:spPr bwMode="gray">
          <a:xfrm>
            <a:off x="935038" y="1304924"/>
            <a:ext cx="7345362" cy="936626"/>
          </a:xfrm>
        </p:spPr>
        <p:txBody>
          <a:body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8" name="Espace réservé de la date 7"/>
          <p:cNvSpPr>
            <a:spLocks noGrp="1"/>
          </p:cNvSpPr>
          <p:nvPr>
            <p:ph type="dt" sz="half" idx="14"/>
          </p:nvPr>
        </p:nvSpPr>
        <p:spPr bwMode="gray"/>
        <p:txBody>
          <a:bodyPr/>
          <a:lstStyle/>
          <a:p>
            <a:r>
              <a:rPr lang="en-US">
                <a:solidFill>
                  <a:prstClr val="white">
                    <a:alpha val="0"/>
                  </a:prstClr>
                </a:solidFill>
              </a:rPr>
              <a:t>Date</a:t>
            </a:r>
            <a:endParaRPr lang="en-GB">
              <a:solidFill>
                <a:prstClr val="white">
                  <a:alpha val="0"/>
                </a:prstClr>
              </a:solidFill>
            </a:endParaRPr>
          </a:p>
        </p:txBody>
      </p:sp>
      <p:sp>
        <p:nvSpPr>
          <p:cNvPr id="9" name="Espace réservé du numéro de diapositive 8"/>
          <p:cNvSpPr>
            <a:spLocks noGrp="1"/>
          </p:cNvSpPr>
          <p:nvPr>
            <p:ph type="sldNum" sz="quarter" idx="15"/>
          </p:nvPr>
        </p:nvSpPr>
        <p:spPr bwMode="gray"/>
        <p:txBody>
          <a:bodyPr/>
          <a:lstStyle/>
          <a:p>
            <a:fld id="{733122C9-A0B9-462F-8757-0847AD287B63}" type="slidenum">
              <a:rPr lang="en-GB" smtClean="0">
                <a:solidFill>
                  <a:srgbClr val="343434"/>
                </a:solidFill>
              </a:rPr>
              <a:pPr/>
              <a:t>‹#›</a:t>
            </a:fld>
            <a:endParaRPr lang="en-GB">
              <a:solidFill>
                <a:srgbClr val="343434"/>
              </a:solidFill>
            </a:endParaRPr>
          </a:p>
        </p:txBody>
      </p:sp>
      <p:sp>
        <p:nvSpPr>
          <p:cNvPr id="11" name="Espace réservé du pied de page 10"/>
          <p:cNvSpPr>
            <a:spLocks noGrp="1"/>
          </p:cNvSpPr>
          <p:nvPr>
            <p:ph type="ftr" sz="quarter" idx="16"/>
          </p:nvPr>
        </p:nvSpPr>
        <p:spPr bwMode="gray"/>
        <p:txBody>
          <a:bodyPr/>
          <a:lstStyle/>
          <a:p>
            <a:r>
              <a:rPr lang="en-GB">
                <a:solidFill>
                  <a:srgbClr val="005CB9"/>
                </a:solidFill>
              </a:rPr>
              <a:t>#vaccineswork</a:t>
            </a:r>
          </a:p>
        </p:txBody>
      </p:sp>
      <p:sp>
        <p:nvSpPr>
          <p:cNvPr id="21" name="Espace réservé du texte 9"/>
          <p:cNvSpPr>
            <a:spLocks noGrp="1"/>
          </p:cNvSpPr>
          <p:nvPr>
            <p:ph type="body" sz="quarter" idx="19" hasCustomPrompt="1"/>
          </p:nvPr>
        </p:nvSpPr>
        <p:spPr bwMode="gray">
          <a:xfrm>
            <a:off x="935038" y="2241550"/>
            <a:ext cx="3564000" cy="324000"/>
          </a:xfrm>
          <a:solidFill>
            <a:schemeClr val="accent1"/>
          </a:solidFill>
          <a:ln w="9525">
            <a:solidFill>
              <a:schemeClr val="accent1"/>
            </a:solidFill>
          </a:ln>
        </p:spPr>
        <p:txBody>
          <a:bodyPr anchor="ctr" anchorCtr="0"/>
          <a:lstStyle>
            <a:lvl1pPr algn="ctr">
              <a:lnSpc>
                <a:spcPct val="100000"/>
              </a:lnSpc>
              <a:defRPr>
                <a:solidFill>
                  <a:schemeClr val="bg1"/>
                </a:solidFill>
              </a:defRPr>
            </a:lvl1pPr>
          </a:lstStyle>
          <a:p>
            <a:pPr lvl="0"/>
            <a:r>
              <a:rPr lang="en-GB" noProof="0"/>
              <a:t>Text level 1</a:t>
            </a:r>
          </a:p>
        </p:txBody>
      </p:sp>
      <p:sp>
        <p:nvSpPr>
          <p:cNvPr id="22" name="Espace réservé du texte 9"/>
          <p:cNvSpPr>
            <a:spLocks noGrp="1"/>
          </p:cNvSpPr>
          <p:nvPr>
            <p:ph type="body" sz="quarter" idx="20" hasCustomPrompt="1"/>
          </p:nvPr>
        </p:nvSpPr>
        <p:spPr bwMode="gray">
          <a:xfrm>
            <a:off x="935038" y="2565550"/>
            <a:ext cx="3564000" cy="1350000"/>
          </a:xfrm>
          <a:ln w="9525">
            <a:solidFill>
              <a:schemeClr val="accent1"/>
            </a:solidFill>
          </a:ln>
        </p:spPr>
        <p:txBody>
          <a:bodyPr tIns="72000"/>
          <a:lstStyle>
            <a:lvl1pPr marL="324000" indent="-180000">
              <a:lnSpc>
                <a:spcPct val="100000"/>
              </a:lnSpc>
              <a:spcBef>
                <a:spcPts val="300"/>
              </a:spcBef>
              <a:buClr>
                <a:schemeClr val="accent3"/>
              </a:buClr>
              <a:buFont typeface="Arial" pitchFamily="34" charset="0"/>
              <a:buChar char="•"/>
              <a:defRPr sz="1800">
                <a:solidFill>
                  <a:schemeClr val="tx1"/>
                </a:solidFill>
              </a:defRPr>
            </a:lvl1pPr>
            <a:lvl2pPr marL="504000">
              <a:buClr>
                <a:schemeClr val="tx1"/>
              </a:buClr>
              <a:defRPr sz="1600" b="0"/>
            </a:lvl2pPr>
            <a:lvl3pPr indent="0">
              <a:buNone/>
              <a:defRPr/>
            </a:lvl3pPr>
            <a:lvl4pPr marL="684000" indent="-180000">
              <a:buClr>
                <a:schemeClr val="tx1"/>
              </a:buClr>
              <a:buFont typeface="Arial" pitchFamily="34" charset="0"/>
              <a:buChar char="•"/>
              <a:defRPr sz="1400"/>
            </a:lvl4pPr>
          </a:lstStyle>
          <a:p>
            <a:pPr lvl="0"/>
            <a:r>
              <a:rPr lang="en-GB" noProof="0"/>
              <a:t>Text level 2</a:t>
            </a:r>
          </a:p>
          <a:p>
            <a:pPr lvl="1"/>
            <a:r>
              <a:rPr lang="en-GB" noProof="0"/>
              <a:t>Text level 3</a:t>
            </a:r>
          </a:p>
          <a:p>
            <a:pPr lvl="2"/>
            <a:r>
              <a:rPr lang="en-GB" noProof="0"/>
              <a:t>Text level 4</a:t>
            </a:r>
          </a:p>
          <a:p>
            <a:pPr lvl="3"/>
            <a:r>
              <a:rPr lang="en-GB" noProof="0"/>
              <a:t>Text level 5</a:t>
            </a:r>
          </a:p>
        </p:txBody>
      </p:sp>
      <p:sp>
        <p:nvSpPr>
          <p:cNvPr id="23" name="Espace réservé du texte 9"/>
          <p:cNvSpPr>
            <a:spLocks noGrp="1"/>
          </p:cNvSpPr>
          <p:nvPr>
            <p:ph type="body" sz="quarter" idx="21" hasCustomPrompt="1"/>
          </p:nvPr>
        </p:nvSpPr>
        <p:spPr bwMode="gray">
          <a:xfrm>
            <a:off x="4716400" y="2241550"/>
            <a:ext cx="3564000" cy="324000"/>
          </a:xfrm>
          <a:solidFill>
            <a:schemeClr val="accent2"/>
          </a:solidFill>
          <a:ln w="9525">
            <a:solidFill>
              <a:schemeClr val="accent2"/>
            </a:solidFill>
          </a:ln>
        </p:spPr>
        <p:txBody>
          <a:bodyPr anchor="ctr" anchorCtr="0"/>
          <a:lstStyle>
            <a:lvl1pPr algn="ctr">
              <a:lnSpc>
                <a:spcPct val="100000"/>
              </a:lnSpc>
              <a:defRPr>
                <a:solidFill>
                  <a:schemeClr val="bg1"/>
                </a:solidFill>
              </a:defRPr>
            </a:lvl1pPr>
          </a:lstStyle>
          <a:p>
            <a:pPr lvl="0"/>
            <a:r>
              <a:rPr lang="en-GB" noProof="0"/>
              <a:t>Text level 1</a:t>
            </a:r>
          </a:p>
        </p:txBody>
      </p:sp>
      <p:sp>
        <p:nvSpPr>
          <p:cNvPr id="24" name="Espace réservé du texte 9"/>
          <p:cNvSpPr>
            <a:spLocks noGrp="1"/>
          </p:cNvSpPr>
          <p:nvPr>
            <p:ph type="body" sz="quarter" idx="22" hasCustomPrompt="1"/>
          </p:nvPr>
        </p:nvSpPr>
        <p:spPr bwMode="gray">
          <a:xfrm>
            <a:off x="4716400" y="2565550"/>
            <a:ext cx="3564000" cy="1350000"/>
          </a:xfrm>
          <a:ln w="9525">
            <a:solidFill>
              <a:schemeClr val="accent2"/>
            </a:solidFill>
          </a:ln>
        </p:spPr>
        <p:txBody>
          <a:bodyPr tIns="72000"/>
          <a:lstStyle>
            <a:lvl1pPr marL="324000" indent="-180000">
              <a:lnSpc>
                <a:spcPct val="100000"/>
              </a:lnSpc>
              <a:spcBef>
                <a:spcPts val="300"/>
              </a:spcBef>
              <a:buClr>
                <a:schemeClr val="accent3"/>
              </a:buClr>
              <a:buFont typeface="Arial" pitchFamily="34" charset="0"/>
              <a:buChar char="•"/>
              <a:defRPr sz="1800">
                <a:solidFill>
                  <a:schemeClr val="tx1"/>
                </a:solidFill>
              </a:defRPr>
            </a:lvl1pPr>
            <a:lvl2pPr marL="504000">
              <a:buClr>
                <a:schemeClr val="tx1"/>
              </a:buClr>
              <a:defRPr sz="1600" b="0"/>
            </a:lvl2pPr>
            <a:lvl3pPr indent="0">
              <a:buNone/>
              <a:defRPr/>
            </a:lvl3pPr>
            <a:lvl4pPr marL="684000" indent="-180000">
              <a:buClr>
                <a:schemeClr val="tx1"/>
              </a:buClr>
              <a:buFont typeface="Arial" pitchFamily="34" charset="0"/>
              <a:buChar char="•"/>
              <a:defRPr sz="1400"/>
            </a:lvl4pPr>
          </a:lstStyle>
          <a:p>
            <a:pPr lvl="0"/>
            <a:r>
              <a:rPr lang="en-GB" noProof="0"/>
              <a:t>Text level 2</a:t>
            </a:r>
          </a:p>
          <a:p>
            <a:pPr lvl="1"/>
            <a:r>
              <a:rPr lang="en-GB" noProof="0"/>
              <a:t>Text level 3</a:t>
            </a:r>
          </a:p>
          <a:p>
            <a:pPr lvl="2"/>
            <a:r>
              <a:rPr lang="en-GB" noProof="0"/>
              <a:t>Text level 4</a:t>
            </a:r>
          </a:p>
          <a:p>
            <a:pPr lvl="3"/>
            <a:r>
              <a:rPr lang="en-GB" noProof="0"/>
              <a:t>Text level 5</a:t>
            </a:r>
          </a:p>
        </p:txBody>
      </p:sp>
      <p:sp>
        <p:nvSpPr>
          <p:cNvPr id="25" name="Espace réservé du texte 9"/>
          <p:cNvSpPr>
            <a:spLocks noGrp="1"/>
          </p:cNvSpPr>
          <p:nvPr>
            <p:ph type="body" sz="quarter" idx="23" hasCustomPrompt="1"/>
          </p:nvPr>
        </p:nvSpPr>
        <p:spPr bwMode="gray">
          <a:xfrm>
            <a:off x="935038" y="4131488"/>
            <a:ext cx="3564000" cy="324000"/>
          </a:xfrm>
          <a:solidFill>
            <a:schemeClr val="accent3"/>
          </a:solidFill>
          <a:ln w="9525">
            <a:solidFill>
              <a:schemeClr val="accent3"/>
            </a:solidFill>
          </a:ln>
        </p:spPr>
        <p:txBody>
          <a:bodyPr anchor="ctr" anchorCtr="0"/>
          <a:lstStyle>
            <a:lvl1pPr algn="ctr">
              <a:lnSpc>
                <a:spcPct val="100000"/>
              </a:lnSpc>
              <a:defRPr>
                <a:solidFill>
                  <a:schemeClr val="bg1"/>
                </a:solidFill>
              </a:defRPr>
            </a:lvl1pPr>
          </a:lstStyle>
          <a:p>
            <a:pPr lvl="0"/>
            <a:r>
              <a:rPr lang="en-GB" noProof="0"/>
              <a:t>Text level 1</a:t>
            </a:r>
          </a:p>
        </p:txBody>
      </p:sp>
      <p:sp>
        <p:nvSpPr>
          <p:cNvPr id="26" name="Espace réservé du texte 9"/>
          <p:cNvSpPr>
            <a:spLocks noGrp="1"/>
          </p:cNvSpPr>
          <p:nvPr>
            <p:ph type="body" sz="quarter" idx="24" hasCustomPrompt="1"/>
          </p:nvPr>
        </p:nvSpPr>
        <p:spPr bwMode="gray">
          <a:xfrm>
            <a:off x="935038" y="4455488"/>
            <a:ext cx="3564000" cy="1350000"/>
          </a:xfrm>
          <a:ln w="9525">
            <a:solidFill>
              <a:schemeClr val="accent3"/>
            </a:solidFill>
          </a:ln>
        </p:spPr>
        <p:txBody>
          <a:bodyPr tIns="72000"/>
          <a:lstStyle>
            <a:lvl1pPr marL="324000" indent="-180000">
              <a:lnSpc>
                <a:spcPct val="100000"/>
              </a:lnSpc>
              <a:spcBef>
                <a:spcPts val="300"/>
              </a:spcBef>
              <a:buClr>
                <a:schemeClr val="accent3"/>
              </a:buClr>
              <a:buFont typeface="Arial" pitchFamily="34" charset="0"/>
              <a:buChar char="•"/>
              <a:defRPr sz="1800">
                <a:solidFill>
                  <a:schemeClr val="tx1"/>
                </a:solidFill>
              </a:defRPr>
            </a:lvl1pPr>
            <a:lvl2pPr marL="504000">
              <a:buClr>
                <a:schemeClr val="tx1"/>
              </a:buClr>
              <a:defRPr sz="1600" b="0"/>
            </a:lvl2pPr>
            <a:lvl3pPr indent="0">
              <a:buNone/>
              <a:defRPr/>
            </a:lvl3pPr>
            <a:lvl4pPr marL="684000" indent="-180000">
              <a:buClr>
                <a:schemeClr val="tx1"/>
              </a:buClr>
              <a:buFont typeface="Arial" pitchFamily="34" charset="0"/>
              <a:buChar char="•"/>
              <a:defRPr sz="1400"/>
            </a:lvl4pPr>
          </a:lstStyle>
          <a:p>
            <a:pPr lvl="0"/>
            <a:r>
              <a:rPr lang="en-GB" noProof="0"/>
              <a:t>Text level 2</a:t>
            </a:r>
          </a:p>
          <a:p>
            <a:pPr lvl="1"/>
            <a:r>
              <a:rPr lang="en-GB" noProof="0"/>
              <a:t>Text level 3</a:t>
            </a:r>
          </a:p>
          <a:p>
            <a:pPr lvl="2"/>
            <a:r>
              <a:rPr lang="en-GB" noProof="0"/>
              <a:t>Text level 4</a:t>
            </a:r>
          </a:p>
          <a:p>
            <a:pPr lvl="3"/>
            <a:r>
              <a:rPr lang="en-GB" noProof="0"/>
              <a:t>Text level 5</a:t>
            </a:r>
          </a:p>
        </p:txBody>
      </p:sp>
      <p:sp>
        <p:nvSpPr>
          <p:cNvPr id="27" name="Espace réservé du texte 9"/>
          <p:cNvSpPr>
            <a:spLocks noGrp="1"/>
          </p:cNvSpPr>
          <p:nvPr>
            <p:ph type="body" sz="quarter" idx="25" hasCustomPrompt="1"/>
          </p:nvPr>
        </p:nvSpPr>
        <p:spPr bwMode="gray">
          <a:xfrm>
            <a:off x="4716400" y="4131488"/>
            <a:ext cx="3564000" cy="324000"/>
          </a:xfrm>
          <a:solidFill>
            <a:schemeClr val="bg2"/>
          </a:solidFill>
          <a:ln w="9525">
            <a:solidFill>
              <a:schemeClr val="bg2"/>
            </a:solidFill>
          </a:ln>
        </p:spPr>
        <p:txBody>
          <a:bodyPr anchor="ctr" anchorCtr="0"/>
          <a:lstStyle>
            <a:lvl1pPr algn="ctr">
              <a:lnSpc>
                <a:spcPct val="100000"/>
              </a:lnSpc>
              <a:defRPr>
                <a:solidFill>
                  <a:schemeClr val="bg1"/>
                </a:solidFill>
              </a:defRPr>
            </a:lvl1pPr>
          </a:lstStyle>
          <a:p>
            <a:pPr lvl="0"/>
            <a:r>
              <a:rPr lang="en-GB" noProof="0"/>
              <a:t>Text level 1</a:t>
            </a:r>
          </a:p>
        </p:txBody>
      </p:sp>
      <p:sp>
        <p:nvSpPr>
          <p:cNvPr id="28" name="Espace réservé du texte 9"/>
          <p:cNvSpPr>
            <a:spLocks noGrp="1"/>
          </p:cNvSpPr>
          <p:nvPr>
            <p:ph type="body" sz="quarter" idx="26" hasCustomPrompt="1"/>
          </p:nvPr>
        </p:nvSpPr>
        <p:spPr bwMode="gray">
          <a:xfrm>
            <a:off x="4716400" y="4455488"/>
            <a:ext cx="3564000" cy="1350000"/>
          </a:xfrm>
          <a:ln w="9525">
            <a:solidFill>
              <a:schemeClr val="bg2"/>
            </a:solidFill>
          </a:ln>
        </p:spPr>
        <p:txBody>
          <a:bodyPr tIns="72000"/>
          <a:lstStyle>
            <a:lvl1pPr marL="324000" indent="-180000">
              <a:lnSpc>
                <a:spcPct val="100000"/>
              </a:lnSpc>
              <a:spcBef>
                <a:spcPts val="300"/>
              </a:spcBef>
              <a:buClr>
                <a:schemeClr val="accent3"/>
              </a:buClr>
              <a:buFont typeface="Arial" pitchFamily="34" charset="0"/>
              <a:buChar char="•"/>
              <a:defRPr sz="1800">
                <a:solidFill>
                  <a:schemeClr val="tx1"/>
                </a:solidFill>
              </a:defRPr>
            </a:lvl1pPr>
            <a:lvl2pPr marL="504000">
              <a:buClr>
                <a:schemeClr val="tx1"/>
              </a:buClr>
              <a:defRPr sz="1600" b="0"/>
            </a:lvl2pPr>
            <a:lvl3pPr indent="0">
              <a:buNone/>
              <a:defRPr/>
            </a:lvl3pPr>
            <a:lvl4pPr marL="684000" indent="-180000">
              <a:buClr>
                <a:schemeClr val="tx1"/>
              </a:buClr>
              <a:buFont typeface="Arial" pitchFamily="34" charset="0"/>
              <a:buChar char="•"/>
              <a:defRPr sz="1400"/>
            </a:lvl4pPr>
          </a:lstStyle>
          <a:p>
            <a:pPr lvl="0"/>
            <a:r>
              <a:rPr lang="en-GB" noProof="0"/>
              <a:t>Text level 2</a:t>
            </a:r>
          </a:p>
          <a:p>
            <a:pPr lvl="1"/>
            <a:r>
              <a:rPr lang="en-GB" noProof="0"/>
              <a:t>Text level 3</a:t>
            </a:r>
          </a:p>
          <a:p>
            <a:pPr lvl="2"/>
            <a:r>
              <a:rPr lang="en-GB" noProof="0"/>
              <a:t>Text level 4</a:t>
            </a:r>
          </a:p>
          <a:p>
            <a:pPr lvl="3"/>
            <a:r>
              <a:rPr lang="en-GB" noProof="0"/>
              <a:t>Text level 5</a:t>
            </a:r>
          </a:p>
        </p:txBody>
      </p:sp>
    </p:spTree>
    <p:extLst>
      <p:ext uri="{BB962C8B-B14F-4D97-AF65-F5344CB8AC3E}">
        <p14:creationId xmlns:p14="http://schemas.microsoft.com/office/powerpoint/2010/main" val="15947821"/>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Cover_Green">
    <p:spTree>
      <p:nvGrpSpPr>
        <p:cNvPr id="1" name=""/>
        <p:cNvGrpSpPr/>
        <p:nvPr/>
      </p:nvGrpSpPr>
      <p:grpSpPr>
        <a:xfrm>
          <a:off x="0" y="0"/>
          <a:ext cx="0" cy="0"/>
          <a:chOff x="0" y="0"/>
          <a:chExt cx="0" cy="0"/>
        </a:xfrm>
      </p:grpSpPr>
      <p:pic>
        <p:nvPicPr>
          <p:cNvPr id="19" name="Image 18" descr="FD_02.png"/>
          <p:cNvPicPr>
            <a:picLocks noChangeAspect="1"/>
          </p:cNvPicPr>
          <p:nvPr userDrawn="1"/>
        </p:nvPicPr>
        <p:blipFill>
          <a:blip r:embed="rId2" cstate="print"/>
          <a:stretch>
            <a:fillRect/>
          </a:stretch>
        </p:blipFill>
        <p:spPr bwMode="gray">
          <a:xfrm>
            <a:off x="0" y="0"/>
            <a:ext cx="9144000" cy="5157788"/>
          </a:xfrm>
          <a:prstGeom prst="rect">
            <a:avLst/>
          </a:prstGeom>
        </p:spPr>
      </p:pic>
      <p:sp>
        <p:nvSpPr>
          <p:cNvPr id="22" name="Rectangle 21"/>
          <p:cNvSpPr/>
          <p:nvPr userDrawn="1"/>
        </p:nvSpPr>
        <p:spPr bwMode="gray">
          <a:xfrm>
            <a:off x="3635375" y="5265204"/>
            <a:ext cx="5508625" cy="15927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pic>
        <p:nvPicPr>
          <p:cNvPr id="20" name="Image 19" descr="Bas_couv.png"/>
          <p:cNvPicPr>
            <a:picLocks noChangeAspect="1"/>
          </p:cNvPicPr>
          <p:nvPr userDrawn="1"/>
        </p:nvPicPr>
        <p:blipFill>
          <a:blip r:embed="rId3" cstate="print"/>
          <a:srcRect r="60243" b="722"/>
          <a:stretch>
            <a:fillRect/>
          </a:stretch>
        </p:blipFill>
        <p:spPr bwMode="gray">
          <a:xfrm>
            <a:off x="0" y="5172520"/>
            <a:ext cx="3635375" cy="1685480"/>
          </a:xfrm>
          <a:prstGeom prst="rect">
            <a:avLst/>
          </a:prstGeom>
        </p:spPr>
      </p:pic>
      <p:sp>
        <p:nvSpPr>
          <p:cNvPr id="9" name="Espace réservé du texte 8"/>
          <p:cNvSpPr>
            <a:spLocks noGrp="1"/>
          </p:cNvSpPr>
          <p:nvPr>
            <p:ph type="body" sz="quarter" idx="13" hasCustomPrompt="1"/>
          </p:nvPr>
        </p:nvSpPr>
        <p:spPr bwMode="gray">
          <a:xfrm>
            <a:off x="468314" y="1036800"/>
            <a:ext cx="4824412" cy="2232000"/>
          </a:xfrm>
        </p:spPr>
        <p:txBody>
          <a:bodyPr anchor="b" anchorCtr="0"/>
          <a:lstStyle>
            <a:lvl1pPr marL="0" indent="0" algn="l">
              <a:lnSpc>
                <a:spcPct val="90000"/>
              </a:lnSpc>
              <a:buNone/>
              <a:defRPr sz="2800" b="1" cap="none" baseline="0">
                <a:solidFill>
                  <a:schemeClr val="bg1"/>
                </a:solidFill>
              </a:defRPr>
            </a:lvl1pPr>
            <a:lvl2pPr marL="0" algn="ctr">
              <a:lnSpc>
                <a:spcPct val="100000"/>
              </a:lnSpc>
              <a:spcBef>
                <a:spcPts val="6900"/>
              </a:spcBef>
              <a:defRPr sz="2000" b="1">
                <a:solidFill>
                  <a:schemeClr val="bg1"/>
                </a:solidFill>
              </a:defRPr>
            </a:lvl2pPr>
          </a:lstStyle>
          <a:p>
            <a:pPr lvl="0"/>
            <a:r>
              <a:rPr lang="en-US" noProof="0"/>
              <a:t>TITLE</a:t>
            </a:r>
          </a:p>
        </p:txBody>
      </p:sp>
      <p:sp>
        <p:nvSpPr>
          <p:cNvPr id="8" name="Espace réservé du texte 8"/>
          <p:cNvSpPr>
            <a:spLocks noGrp="1"/>
          </p:cNvSpPr>
          <p:nvPr>
            <p:ph type="body" sz="quarter" idx="14" hasCustomPrompt="1"/>
          </p:nvPr>
        </p:nvSpPr>
        <p:spPr bwMode="gray">
          <a:xfrm>
            <a:off x="468314" y="3585600"/>
            <a:ext cx="4824411" cy="1479600"/>
          </a:xfrm>
        </p:spPr>
        <p:txBody>
          <a:bodyPr anchor="t" anchorCtr="0"/>
          <a:lstStyle>
            <a:lvl1pPr marL="0" indent="0" algn="l">
              <a:lnSpc>
                <a:spcPct val="90000"/>
              </a:lnSpc>
              <a:buNone/>
              <a:defRPr sz="2000" b="0" baseline="0">
                <a:solidFill>
                  <a:schemeClr val="bg1"/>
                </a:solidFill>
              </a:defRPr>
            </a:lvl1pPr>
            <a:lvl2pPr marL="0" algn="ctr">
              <a:lnSpc>
                <a:spcPct val="100000"/>
              </a:lnSpc>
              <a:spcBef>
                <a:spcPts val="6900"/>
              </a:spcBef>
              <a:defRPr sz="2000" b="1">
                <a:solidFill>
                  <a:schemeClr val="bg1"/>
                </a:solidFill>
              </a:defRPr>
            </a:lvl2pPr>
          </a:lstStyle>
          <a:p>
            <a:pPr lvl="0"/>
            <a:r>
              <a:rPr lang="en-US" noProof="0"/>
              <a:t>SUBTITLE</a:t>
            </a:r>
          </a:p>
        </p:txBody>
      </p:sp>
      <p:sp>
        <p:nvSpPr>
          <p:cNvPr id="10" name="Espace réservé de la date 9"/>
          <p:cNvSpPr>
            <a:spLocks noGrp="1"/>
          </p:cNvSpPr>
          <p:nvPr>
            <p:ph type="dt" sz="half" idx="15"/>
          </p:nvPr>
        </p:nvSpPr>
        <p:spPr bwMode="gray"/>
        <p:txBody>
          <a:bodyPr/>
          <a:lstStyle/>
          <a:p>
            <a:r>
              <a:rPr lang="en-US">
                <a:solidFill>
                  <a:prstClr val="white">
                    <a:alpha val="0"/>
                  </a:prstClr>
                </a:solidFill>
              </a:rPr>
              <a:t>Date</a:t>
            </a:r>
          </a:p>
        </p:txBody>
      </p:sp>
      <p:sp>
        <p:nvSpPr>
          <p:cNvPr id="11" name="Espace réservé du numéro de diapositive 10"/>
          <p:cNvSpPr>
            <a:spLocks noGrp="1"/>
          </p:cNvSpPr>
          <p:nvPr>
            <p:ph type="sldNum" sz="quarter" idx="16"/>
          </p:nvPr>
        </p:nvSpPr>
        <p:spPr bwMode="gray"/>
        <p:txBody>
          <a:bodyPr/>
          <a:lstStyle>
            <a:lvl1pPr>
              <a:defRPr sz="100">
                <a:solidFill>
                  <a:schemeClr val="bg1">
                    <a:alpha val="0"/>
                  </a:schemeClr>
                </a:solidFill>
              </a:defRPr>
            </a:lvl1pPr>
          </a:lstStyle>
          <a:p>
            <a:r>
              <a:rPr lang="en-US">
                <a:solidFill>
                  <a:prstClr val="white">
                    <a:alpha val="0"/>
                  </a:prstClr>
                </a:solidFill>
              </a:rPr>
              <a:t>Page: </a:t>
            </a:r>
            <a:fld id="{733122C9-A0B9-462F-8757-0847AD287B63}" type="slidenum">
              <a:rPr lang="en-US" smtClean="0">
                <a:solidFill>
                  <a:prstClr val="white">
                    <a:alpha val="0"/>
                  </a:prstClr>
                </a:solidFill>
              </a:rPr>
              <a:pPr/>
              <a:t>‹#›</a:t>
            </a:fld>
            <a:endParaRPr lang="en-US">
              <a:solidFill>
                <a:prstClr val="white">
                  <a:alpha val="0"/>
                </a:prstClr>
              </a:solidFill>
            </a:endParaRPr>
          </a:p>
        </p:txBody>
      </p:sp>
      <p:sp>
        <p:nvSpPr>
          <p:cNvPr id="12" name="Espace réservé du pied de page 11"/>
          <p:cNvSpPr>
            <a:spLocks noGrp="1"/>
          </p:cNvSpPr>
          <p:nvPr>
            <p:ph type="ftr" sz="quarter" idx="17"/>
          </p:nvPr>
        </p:nvSpPr>
        <p:spPr bwMode="gray">
          <a:xfrm>
            <a:off x="468312" y="524188"/>
            <a:ext cx="4824413" cy="360000"/>
          </a:xfrm>
        </p:spPr>
        <p:txBody>
          <a:bodyPr/>
          <a:lstStyle>
            <a:lvl1pPr algn="l">
              <a:defRPr sz="1800" b="0">
                <a:solidFill>
                  <a:schemeClr val="bg1"/>
                </a:solidFill>
              </a:defRPr>
            </a:lvl1pPr>
          </a:lstStyle>
          <a:p>
            <a:r>
              <a:rPr lang="en-US">
                <a:solidFill>
                  <a:prstClr val="white"/>
                </a:solidFill>
              </a:rPr>
              <a:t>#add your hashtag</a:t>
            </a:r>
          </a:p>
        </p:txBody>
      </p:sp>
      <p:sp>
        <p:nvSpPr>
          <p:cNvPr id="15" name="Espace réservé du texte 14"/>
          <p:cNvSpPr>
            <a:spLocks noGrp="1"/>
          </p:cNvSpPr>
          <p:nvPr>
            <p:ph type="body" sz="quarter" idx="19" hasCustomPrompt="1"/>
          </p:nvPr>
        </p:nvSpPr>
        <p:spPr bwMode="gray">
          <a:xfrm>
            <a:off x="3635376" y="6021388"/>
            <a:ext cx="5113338" cy="324000"/>
          </a:xfrm>
        </p:spPr>
        <p:txBody>
          <a:bodyPr anchor="b" anchorCtr="0"/>
          <a:lstStyle>
            <a:lvl1pPr algn="r">
              <a:lnSpc>
                <a:spcPct val="100000"/>
              </a:lnSpc>
              <a:defRPr sz="1000" b="1">
                <a:solidFill>
                  <a:schemeClr val="accent2"/>
                </a:solidFill>
              </a:defRPr>
            </a:lvl1pPr>
          </a:lstStyle>
          <a:p>
            <a:pPr lvl="0"/>
            <a:r>
              <a:rPr lang="en-US" noProof="0"/>
              <a:t>Write your claim here</a:t>
            </a:r>
          </a:p>
        </p:txBody>
      </p:sp>
      <p:sp>
        <p:nvSpPr>
          <p:cNvPr id="16" name="Rectangle 15"/>
          <p:cNvSpPr/>
          <p:nvPr userDrawn="1"/>
        </p:nvSpPr>
        <p:spPr bwMode="gray">
          <a:xfrm>
            <a:off x="3635375" y="6354202"/>
            <a:ext cx="5113338" cy="2872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r"/>
            <a:r>
              <a:rPr lang="en-US" sz="1000">
                <a:solidFill>
                  <a:srgbClr val="95D600"/>
                </a:solidFill>
              </a:rPr>
              <a:t>www.gavi.org</a:t>
            </a:r>
          </a:p>
        </p:txBody>
      </p:sp>
      <p:sp>
        <p:nvSpPr>
          <p:cNvPr id="18" name="Rectangle 17"/>
          <p:cNvSpPr/>
          <p:nvPr userDrawn="1"/>
        </p:nvSpPr>
        <p:spPr bwMode="gray">
          <a:xfrm>
            <a:off x="468313" y="3391895"/>
            <a:ext cx="2448000" cy="252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Tree>
    <p:extLst>
      <p:ext uri="{BB962C8B-B14F-4D97-AF65-F5344CB8AC3E}">
        <p14:creationId xmlns:p14="http://schemas.microsoft.com/office/powerpoint/2010/main" val="3172748400"/>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Cover_Picture_1">
    <p:spTree>
      <p:nvGrpSpPr>
        <p:cNvPr id="1" name=""/>
        <p:cNvGrpSpPr/>
        <p:nvPr/>
      </p:nvGrpSpPr>
      <p:grpSpPr>
        <a:xfrm>
          <a:off x="0" y="0"/>
          <a:ext cx="0" cy="0"/>
          <a:chOff x="0" y="0"/>
          <a:chExt cx="0" cy="0"/>
        </a:xfrm>
      </p:grpSpPr>
      <p:pic>
        <p:nvPicPr>
          <p:cNvPr id="21" name="Image 20" descr="FD_1_L254.png"/>
          <p:cNvPicPr>
            <a:picLocks noChangeAspect="1"/>
          </p:cNvPicPr>
          <p:nvPr userDrawn="1"/>
        </p:nvPicPr>
        <p:blipFill>
          <a:blip r:embed="rId2" cstate="print"/>
          <a:stretch>
            <a:fillRect/>
          </a:stretch>
        </p:blipFill>
        <p:spPr bwMode="gray">
          <a:xfrm>
            <a:off x="0" y="0"/>
            <a:ext cx="9144000" cy="5157788"/>
          </a:xfrm>
          <a:prstGeom prst="rect">
            <a:avLst/>
          </a:prstGeom>
        </p:spPr>
      </p:pic>
      <p:sp>
        <p:nvSpPr>
          <p:cNvPr id="22" name="Rectangle 21"/>
          <p:cNvSpPr/>
          <p:nvPr userDrawn="1"/>
        </p:nvSpPr>
        <p:spPr bwMode="gray">
          <a:xfrm>
            <a:off x="3635375" y="5265204"/>
            <a:ext cx="5508625" cy="15927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pic>
        <p:nvPicPr>
          <p:cNvPr id="20" name="Image 19" descr="Bas_couv.png"/>
          <p:cNvPicPr>
            <a:picLocks noChangeAspect="1"/>
          </p:cNvPicPr>
          <p:nvPr userDrawn="1"/>
        </p:nvPicPr>
        <p:blipFill>
          <a:blip r:embed="rId3" cstate="print"/>
          <a:srcRect r="60243" b="722"/>
          <a:stretch>
            <a:fillRect/>
          </a:stretch>
        </p:blipFill>
        <p:spPr bwMode="gray">
          <a:xfrm>
            <a:off x="0" y="5172520"/>
            <a:ext cx="3635375" cy="1685480"/>
          </a:xfrm>
          <a:prstGeom prst="rect">
            <a:avLst/>
          </a:prstGeom>
        </p:spPr>
      </p:pic>
      <p:sp>
        <p:nvSpPr>
          <p:cNvPr id="9" name="Espace réservé du texte 8"/>
          <p:cNvSpPr>
            <a:spLocks noGrp="1"/>
          </p:cNvSpPr>
          <p:nvPr>
            <p:ph type="body" sz="quarter" idx="13" hasCustomPrompt="1"/>
          </p:nvPr>
        </p:nvSpPr>
        <p:spPr bwMode="gray">
          <a:xfrm>
            <a:off x="468314" y="1036638"/>
            <a:ext cx="4824412" cy="2231392"/>
          </a:xfrm>
        </p:spPr>
        <p:txBody>
          <a:bodyPr anchor="b" anchorCtr="0"/>
          <a:lstStyle>
            <a:lvl1pPr marL="0" indent="0" algn="l">
              <a:lnSpc>
                <a:spcPct val="90000"/>
              </a:lnSpc>
              <a:buNone/>
              <a:defRPr sz="2800" b="1" cap="none" baseline="0">
                <a:solidFill>
                  <a:schemeClr val="bg1"/>
                </a:solidFill>
              </a:defRPr>
            </a:lvl1pPr>
            <a:lvl2pPr marL="0" algn="ctr">
              <a:lnSpc>
                <a:spcPct val="100000"/>
              </a:lnSpc>
              <a:spcBef>
                <a:spcPts val="6900"/>
              </a:spcBef>
              <a:defRPr sz="2000" b="1">
                <a:solidFill>
                  <a:schemeClr val="bg1"/>
                </a:solidFill>
              </a:defRPr>
            </a:lvl2pPr>
          </a:lstStyle>
          <a:p>
            <a:pPr lvl="0"/>
            <a:r>
              <a:rPr lang="en-US" noProof="0"/>
              <a:t>TITLE</a:t>
            </a:r>
          </a:p>
        </p:txBody>
      </p:sp>
      <p:sp>
        <p:nvSpPr>
          <p:cNvPr id="8" name="Espace réservé du texte 8"/>
          <p:cNvSpPr>
            <a:spLocks noGrp="1"/>
          </p:cNvSpPr>
          <p:nvPr>
            <p:ph type="body" sz="quarter" idx="14" hasCustomPrompt="1"/>
          </p:nvPr>
        </p:nvSpPr>
        <p:spPr bwMode="gray">
          <a:xfrm>
            <a:off x="468314" y="3584637"/>
            <a:ext cx="3592800" cy="1477788"/>
          </a:xfrm>
        </p:spPr>
        <p:txBody>
          <a:bodyPr anchor="t" anchorCtr="0"/>
          <a:lstStyle>
            <a:lvl1pPr marL="0" indent="0" algn="l">
              <a:lnSpc>
                <a:spcPct val="90000"/>
              </a:lnSpc>
              <a:buNone/>
              <a:defRPr sz="2000" b="0" baseline="0">
                <a:solidFill>
                  <a:schemeClr val="bg1"/>
                </a:solidFill>
              </a:defRPr>
            </a:lvl1pPr>
            <a:lvl2pPr marL="0" algn="ctr">
              <a:lnSpc>
                <a:spcPct val="100000"/>
              </a:lnSpc>
              <a:spcBef>
                <a:spcPts val="6900"/>
              </a:spcBef>
              <a:defRPr sz="2000" b="1">
                <a:solidFill>
                  <a:schemeClr val="bg1"/>
                </a:solidFill>
              </a:defRPr>
            </a:lvl2pPr>
          </a:lstStyle>
          <a:p>
            <a:pPr lvl="0"/>
            <a:r>
              <a:rPr lang="en-US" noProof="0"/>
              <a:t>SUBTITLE</a:t>
            </a:r>
          </a:p>
        </p:txBody>
      </p:sp>
      <p:sp>
        <p:nvSpPr>
          <p:cNvPr id="10" name="Espace réservé de la date 9"/>
          <p:cNvSpPr>
            <a:spLocks noGrp="1"/>
          </p:cNvSpPr>
          <p:nvPr>
            <p:ph type="dt" sz="half" idx="15"/>
          </p:nvPr>
        </p:nvSpPr>
        <p:spPr bwMode="gray"/>
        <p:txBody>
          <a:bodyPr/>
          <a:lstStyle/>
          <a:p>
            <a:r>
              <a:rPr lang="en-US">
                <a:solidFill>
                  <a:prstClr val="white">
                    <a:alpha val="0"/>
                  </a:prstClr>
                </a:solidFill>
              </a:rPr>
              <a:t>Date</a:t>
            </a:r>
          </a:p>
        </p:txBody>
      </p:sp>
      <p:sp>
        <p:nvSpPr>
          <p:cNvPr id="11" name="Espace réservé du numéro de diapositive 10"/>
          <p:cNvSpPr>
            <a:spLocks noGrp="1"/>
          </p:cNvSpPr>
          <p:nvPr>
            <p:ph type="sldNum" sz="quarter" idx="16"/>
          </p:nvPr>
        </p:nvSpPr>
        <p:spPr bwMode="gray"/>
        <p:txBody>
          <a:bodyPr/>
          <a:lstStyle>
            <a:lvl1pPr>
              <a:defRPr sz="100">
                <a:solidFill>
                  <a:schemeClr val="bg1">
                    <a:alpha val="0"/>
                  </a:schemeClr>
                </a:solidFill>
              </a:defRPr>
            </a:lvl1pPr>
          </a:lstStyle>
          <a:p>
            <a:r>
              <a:rPr lang="en-US">
                <a:solidFill>
                  <a:prstClr val="white">
                    <a:alpha val="0"/>
                  </a:prstClr>
                </a:solidFill>
              </a:rPr>
              <a:t>Page: </a:t>
            </a:r>
            <a:fld id="{733122C9-A0B9-462F-8757-0847AD287B63}" type="slidenum">
              <a:rPr lang="en-US" smtClean="0">
                <a:solidFill>
                  <a:prstClr val="white">
                    <a:alpha val="0"/>
                  </a:prstClr>
                </a:solidFill>
              </a:rPr>
              <a:pPr/>
              <a:t>‹#›</a:t>
            </a:fld>
            <a:endParaRPr lang="en-US">
              <a:solidFill>
                <a:prstClr val="white">
                  <a:alpha val="0"/>
                </a:prstClr>
              </a:solidFill>
            </a:endParaRPr>
          </a:p>
        </p:txBody>
      </p:sp>
      <p:sp>
        <p:nvSpPr>
          <p:cNvPr id="12" name="Espace réservé du pied de page 11"/>
          <p:cNvSpPr>
            <a:spLocks noGrp="1"/>
          </p:cNvSpPr>
          <p:nvPr>
            <p:ph type="ftr" sz="quarter" idx="17"/>
          </p:nvPr>
        </p:nvSpPr>
        <p:spPr bwMode="gray">
          <a:xfrm>
            <a:off x="468312" y="524188"/>
            <a:ext cx="4824413" cy="360000"/>
          </a:xfrm>
        </p:spPr>
        <p:txBody>
          <a:bodyPr/>
          <a:lstStyle>
            <a:lvl1pPr algn="l">
              <a:defRPr sz="1800" b="0">
                <a:solidFill>
                  <a:schemeClr val="bg1"/>
                </a:solidFill>
              </a:defRPr>
            </a:lvl1pPr>
          </a:lstStyle>
          <a:p>
            <a:r>
              <a:rPr lang="en-US">
                <a:solidFill>
                  <a:prstClr val="white"/>
                </a:solidFill>
              </a:rPr>
              <a:t>#add your hashtag</a:t>
            </a:r>
          </a:p>
        </p:txBody>
      </p:sp>
      <p:sp>
        <p:nvSpPr>
          <p:cNvPr id="15" name="Espace réservé du texte 14"/>
          <p:cNvSpPr>
            <a:spLocks noGrp="1"/>
          </p:cNvSpPr>
          <p:nvPr>
            <p:ph type="body" sz="quarter" idx="19" hasCustomPrompt="1"/>
          </p:nvPr>
        </p:nvSpPr>
        <p:spPr bwMode="gray">
          <a:xfrm>
            <a:off x="3635376" y="6021388"/>
            <a:ext cx="5113338" cy="324000"/>
          </a:xfrm>
        </p:spPr>
        <p:txBody>
          <a:bodyPr anchor="b" anchorCtr="0"/>
          <a:lstStyle>
            <a:lvl1pPr algn="r">
              <a:lnSpc>
                <a:spcPct val="100000"/>
              </a:lnSpc>
              <a:defRPr sz="1000" b="1">
                <a:solidFill>
                  <a:schemeClr val="accent2"/>
                </a:solidFill>
              </a:defRPr>
            </a:lvl1pPr>
          </a:lstStyle>
          <a:p>
            <a:pPr lvl="0"/>
            <a:r>
              <a:rPr lang="en-US" noProof="0"/>
              <a:t>Write your claim here</a:t>
            </a:r>
          </a:p>
        </p:txBody>
      </p:sp>
      <p:sp>
        <p:nvSpPr>
          <p:cNvPr id="16" name="Rectangle 15"/>
          <p:cNvSpPr/>
          <p:nvPr userDrawn="1"/>
        </p:nvSpPr>
        <p:spPr bwMode="gray">
          <a:xfrm>
            <a:off x="3635375" y="6354202"/>
            <a:ext cx="5113338" cy="2872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r"/>
            <a:r>
              <a:rPr lang="en-US" sz="1000">
                <a:solidFill>
                  <a:srgbClr val="95D600"/>
                </a:solidFill>
              </a:rPr>
              <a:t>www.gavi.org</a:t>
            </a:r>
          </a:p>
        </p:txBody>
      </p:sp>
      <p:sp>
        <p:nvSpPr>
          <p:cNvPr id="24" name="Espace réservé pour une image  17"/>
          <p:cNvSpPr>
            <a:spLocks noGrp="1"/>
          </p:cNvSpPr>
          <p:nvPr>
            <p:ph type="pic" sz="quarter" idx="18" hasCustomPrompt="1"/>
          </p:nvPr>
        </p:nvSpPr>
        <p:spPr bwMode="gray">
          <a:xfrm>
            <a:off x="4192588" y="0"/>
            <a:ext cx="4951412" cy="5162400"/>
          </a:xfrm>
          <a:custGeom>
            <a:avLst/>
            <a:gdLst>
              <a:gd name="connsiteX0" fmla="*/ 0 w 3851275"/>
              <a:gd name="connsiteY0" fmla="*/ 0 h 5157788"/>
              <a:gd name="connsiteX1" fmla="*/ 3851275 w 3851275"/>
              <a:gd name="connsiteY1" fmla="*/ 0 h 5157788"/>
              <a:gd name="connsiteX2" fmla="*/ 3851275 w 3851275"/>
              <a:gd name="connsiteY2" fmla="*/ 5157788 h 5157788"/>
              <a:gd name="connsiteX3" fmla="*/ 0 w 3851275"/>
              <a:gd name="connsiteY3" fmla="*/ 5157788 h 5157788"/>
              <a:gd name="connsiteX4" fmla="*/ 0 w 3851275"/>
              <a:gd name="connsiteY4"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0 w 3851275"/>
              <a:gd name="connsiteY3" fmla="*/ 5157788 h 5157788"/>
              <a:gd name="connsiteX4" fmla="*/ 1692275 w 3851275"/>
              <a:gd name="connsiteY4" fmla="*/ 0 h 5157788"/>
              <a:gd name="connsiteX0" fmla="*/ 0 w 2159000"/>
              <a:gd name="connsiteY0" fmla="*/ 0 h 5157788"/>
              <a:gd name="connsiteX1" fmla="*/ 2159000 w 2159000"/>
              <a:gd name="connsiteY1" fmla="*/ 0 h 5157788"/>
              <a:gd name="connsiteX2" fmla="*/ 2159000 w 2159000"/>
              <a:gd name="connsiteY2" fmla="*/ 5157788 h 5157788"/>
              <a:gd name="connsiteX3" fmla="*/ 0 w 2159000"/>
              <a:gd name="connsiteY3" fmla="*/ 5157788 h 5157788"/>
              <a:gd name="connsiteX4" fmla="*/ 0 w 2159000"/>
              <a:gd name="connsiteY4" fmla="*/ 0 h 5157788"/>
              <a:gd name="connsiteX0" fmla="*/ 2625271 w 4784271"/>
              <a:gd name="connsiteY0" fmla="*/ 0 h 5157788"/>
              <a:gd name="connsiteX1" fmla="*/ 4784271 w 4784271"/>
              <a:gd name="connsiteY1" fmla="*/ 0 h 5157788"/>
              <a:gd name="connsiteX2" fmla="*/ 4784271 w 4784271"/>
              <a:gd name="connsiteY2" fmla="*/ 5157788 h 5157788"/>
              <a:gd name="connsiteX3" fmla="*/ 2625271 w 4784271"/>
              <a:gd name="connsiteY3" fmla="*/ 5157788 h 5157788"/>
              <a:gd name="connsiteX4" fmla="*/ 2625271 w 4784271"/>
              <a:gd name="connsiteY4" fmla="*/ 0 h 5157788"/>
              <a:gd name="connsiteX0" fmla="*/ 2625271 w 4784271"/>
              <a:gd name="connsiteY0" fmla="*/ 0 h 5157788"/>
              <a:gd name="connsiteX1" fmla="*/ 4784271 w 4784271"/>
              <a:gd name="connsiteY1" fmla="*/ 0 h 5157788"/>
              <a:gd name="connsiteX2" fmla="*/ 4784271 w 4784271"/>
              <a:gd name="connsiteY2" fmla="*/ 5157788 h 5157788"/>
              <a:gd name="connsiteX3" fmla="*/ 2625271 w 4784271"/>
              <a:gd name="connsiteY3" fmla="*/ 5157788 h 5157788"/>
              <a:gd name="connsiteX4" fmla="*/ 2625271 w 4784271"/>
              <a:gd name="connsiteY4" fmla="*/ 0 h 5157788"/>
              <a:gd name="connsiteX0" fmla="*/ 3568576 w 5727576"/>
              <a:gd name="connsiteY0" fmla="*/ 0 h 5157788"/>
              <a:gd name="connsiteX1" fmla="*/ 5727576 w 5727576"/>
              <a:gd name="connsiteY1" fmla="*/ 0 h 5157788"/>
              <a:gd name="connsiteX2" fmla="*/ 5727576 w 5727576"/>
              <a:gd name="connsiteY2" fmla="*/ 5157788 h 5157788"/>
              <a:gd name="connsiteX3" fmla="*/ 3568576 w 5727576"/>
              <a:gd name="connsiteY3" fmla="*/ 5157788 h 5157788"/>
              <a:gd name="connsiteX4" fmla="*/ 3568576 w 5727576"/>
              <a:gd name="connsiteY4" fmla="*/ 0 h 5157788"/>
              <a:gd name="connsiteX0" fmla="*/ 3306355 w 5465355"/>
              <a:gd name="connsiteY0" fmla="*/ 0 h 5157788"/>
              <a:gd name="connsiteX1" fmla="*/ 5465355 w 5465355"/>
              <a:gd name="connsiteY1" fmla="*/ 0 h 5157788"/>
              <a:gd name="connsiteX2" fmla="*/ 5465355 w 5465355"/>
              <a:gd name="connsiteY2" fmla="*/ 5157788 h 5157788"/>
              <a:gd name="connsiteX3" fmla="*/ 3306355 w 5465355"/>
              <a:gd name="connsiteY3" fmla="*/ 5157788 h 5157788"/>
              <a:gd name="connsiteX4" fmla="*/ 3306355 w 5465355"/>
              <a:gd name="connsiteY4" fmla="*/ 0 h 5157788"/>
              <a:gd name="connsiteX0" fmla="*/ 1416957 w 3575957"/>
              <a:gd name="connsiteY0" fmla="*/ 0 h 5157788"/>
              <a:gd name="connsiteX1" fmla="*/ 3575957 w 3575957"/>
              <a:gd name="connsiteY1" fmla="*/ 0 h 5157788"/>
              <a:gd name="connsiteX2" fmla="*/ 3575957 w 3575957"/>
              <a:gd name="connsiteY2" fmla="*/ 5157788 h 5157788"/>
              <a:gd name="connsiteX3" fmla="*/ 1416957 w 3575957"/>
              <a:gd name="connsiteY3" fmla="*/ 5157788 h 5157788"/>
              <a:gd name="connsiteX4" fmla="*/ 0 w 3575957"/>
              <a:gd name="connsiteY4" fmla="*/ 3339193 h 5157788"/>
              <a:gd name="connsiteX5" fmla="*/ 1416957 w 3575957"/>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6017419"/>
              <a:gd name="connsiteX1" fmla="*/ 3851275 w 3851275"/>
              <a:gd name="connsiteY1" fmla="*/ 0 h 6017419"/>
              <a:gd name="connsiteX2" fmla="*/ 3851275 w 3851275"/>
              <a:gd name="connsiteY2" fmla="*/ 5157788 h 6017419"/>
              <a:gd name="connsiteX3" fmla="*/ 1692275 w 3851275"/>
              <a:gd name="connsiteY3" fmla="*/ 5157788 h 6017419"/>
              <a:gd name="connsiteX4" fmla="*/ 0 w 3851275"/>
              <a:gd name="connsiteY4" fmla="*/ 3284984 h 6017419"/>
              <a:gd name="connsiteX5" fmla="*/ 1692275 w 3851275"/>
              <a:gd name="connsiteY5" fmla="*/ 0 h 6017419"/>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429000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429000 h 5157788"/>
              <a:gd name="connsiteX5" fmla="*/ 1710871 w 3869871"/>
              <a:gd name="connsiteY5" fmla="*/ 0 h 5157788"/>
              <a:gd name="connsiteX0" fmla="*/ 1704975 w 3863975"/>
              <a:gd name="connsiteY0" fmla="*/ 0 h 5157788"/>
              <a:gd name="connsiteX1" fmla="*/ 3863975 w 3863975"/>
              <a:gd name="connsiteY1" fmla="*/ 0 h 5157788"/>
              <a:gd name="connsiteX2" fmla="*/ 3863975 w 3863975"/>
              <a:gd name="connsiteY2" fmla="*/ 5157788 h 5157788"/>
              <a:gd name="connsiteX3" fmla="*/ 1704975 w 3863975"/>
              <a:gd name="connsiteY3" fmla="*/ 5157788 h 5157788"/>
              <a:gd name="connsiteX4" fmla="*/ 12700 w 3863975"/>
              <a:gd name="connsiteY4" fmla="*/ 3429000 h 5157788"/>
              <a:gd name="connsiteX5" fmla="*/ 1704975 w 3863975"/>
              <a:gd name="connsiteY5" fmla="*/ 0 h 5157788"/>
              <a:gd name="connsiteX0" fmla="*/ 1707243 w 3866243"/>
              <a:gd name="connsiteY0" fmla="*/ 0 h 5157788"/>
              <a:gd name="connsiteX1" fmla="*/ 3866243 w 3866243"/>
              <a:gd name="connsiteY1" fmla="*/ 0 h 5157788"/>
              <a:gd name="connsiteX2" fmla="*/ 3866243 w 3866243"/>
              <a:gd name="connsiteY2" fmla="*/ 5157788 h 5157788"/>
              <a:gd name="connsiteX3" fmla="*/ 1707243 w 3866243"/>
              <a:gd name="connsiteY3" fmla="*/ 5157788 h 5157788"/>
              <a:gd name="connsiteX4" fmla="*/ 14968 w 3866243"/>
              <a:gd name="connsiteY4" fmla="*/ 3429000 h 5157788"/>
              <a:gd name="connsiteX5" fmla="*/ 1707243 w 3866243"/>
              <a:gd name="connsiteY5" fmla="*/ 0 h 5157788"/>
              <a:gd name="connsiteX0" fmla="*/ 1130447 w 3866243"/>
              <a:gd name="connsiteY0" fmla="*/ 0 h 5157788"/>
              <a:gd name="connsiteX1" fmla="*/ 3866243 w 3866243"/>
              <a:gd name="connsiteY1" fmla="*/ 0 h 5157788"/>
              <a:gd name="connsiteX2" fmla="*/ 3866243 w 3866243"/>
              <a:gd name="connsiteY2" fmla="*/ 5157788 h 5157788"/>
              <a:gd name="connsiteX3" fmla="*/ 1707243 w 3866243"/>
              <a:gd name="connsiteY3" fmla="*/ 5157788 h 5157788"/>
              <a:gd name="connsiteX4" fmla="*/ 14968 w 3866243"/>
              <a:gd name="connsiteY4" fmla="*/ 3429000 h 5157788"/>
              <a:gd name="connsiteX5" fmla="*/ 1130447 w 3866243"/>
              <a:gd name="connsiteY5" fmla="*/ 0 h 5157788"/>
              <a:gd name="connsiteX0" fmla="*/ 2746143 w 5481939"/>
              <a:gd name="connsiteY0" fmla="*/ 0 h 5157788"/>
              <a:gd name="connsiteX1" fmla="*/ 5481939 w 5481939"/>
              <a:gd name="connsiteY1" fmla="*/ 0 h 5157788"/>
              <a:gd name="connsiteX2" fmla="*/ 5481939 w 5481939"/>
              <a:gd name="connsiteY2" fmla="*/ 5157788 h 5157788"/>
              <a:gd name="connsiteX3" fmla="*/ 585903 w 5481939"/>
              <a:gd name="connsiteY3" fmla="*/ 5153180 h 5157788"/>
              <a:gd name="connsiteX4" fmla="*/ 1630664 w 5481939"/>
              <a:gd name="connsiteY4" fmla="*/ 3429000 h 5157788"/>
              <a:gd name="connsiteX5" fmla="*/ 2746143 w 5481939"/>
              <a:gd name="connsiteY5" fmla="*/ 0 h 5157788"/>
              <a:gd name="connsiteX0" fmla="*/ 2746143 w 5481939"/>
              <a:gd name="connsiteY0" fmla="*/ 0 h 5157788"/>
              <a:gd name="connsiteX1" fmla="*/ 5481939 w 5481939"/>
              <a:gd name="connsiteY1" fmla="*/ 0 h 5157788"/>
              <a:gd name="connsiteX2" fmla="*/ 5481939 w 5481939"/>
              <a:gd name="connsiteY2" fmla="*/ 5157788 h 5157788"/>
              <a:gd name="connsiteX3" fmla="*/ 585903 w 5481939"/>
              <a:gd name="connsiteY3" fmla="*/ 5153180 h 5157788"/>
              <a:gd name="connsiteX4" fmla="*/ 1630664 w 5481939"/>
              <a:gd name="connsiteY4" fmla="*/ 3429000 h 5157788"/>
              <a:gd name="connsiteX5" fmla="*/ 2746143 w 548193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3574235 w 6310031"/>
              <a:gd name="connsiteY0" fmla="*/ 0 h 5157788"/>
              <a:gd name="connsiteX1" fmla="*/ 6310031 w 6310031"/>
              <a:gd name="connsiteY1" fmla="*/ 0 h 5157788"/>
              <a:gd name="connsiteX2" fmla="*/ 6310031 w 6310031"/>
              <a:gd name="connsiteY2" fmla="*/ 5157788 h 5157788"/>
              <a:gd name="connsiteX3" fmla="*/ 585903 w 6310031"/>
              <a:gd name="connsiteY3" fmla="*/ 5153180 h 5157788"/>
              <a:gd name="connsiteX4" fmla="*/ 1738031 w 6310031"/>
              <a:gd name="connsiteY4" fmla="*/ 3389965 h 5157788"/>
              <a:gd name="connsiteX5" fmla="*/ 3574235 w 6310031"/>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296143 w 5724128"/>
              <a:gd name="connsiteY4" fmla="*/ 3461908 h 5157788"/>
              <a:gd name="connsiteX5" fmla="*/ 2988332 w 5724128"/>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1188132 w 5760132"/>
              <a:gd name="connsiteY4" fmla="*/ 3425937 h 5157788"/>
              <a:gd name="connsiteX5" fmla="*/ 3024336 w 5760132"/>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2736304 w 5760132"/>
              <a:gd name="connsiteY4" fmla="*/ 3461908 h 5157788"/>
              <a:gd name="connsiteX5" fmla="*/ 3024336 w 5760132"/>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2736304 w 5760132"/>
              <a:gd name="connsiteY4" fmla="*/ 3461908 h 5157788"/>
              <a:gd name="connsiteX5" fmla="*/ 3024336 w 5760132"/>
              <a:gd name="connsiteY5" fmla="*/ 0 h 5157788"/>
              <a:gd name="connsiteX0" fmla="*/ 2160240 w 4896036"/>
              <a:gd name="connsiteY0" fmla="*/ 0 h 5157788"/>
              <a:gd name="connsiteX1" fmla="*/ 4896036 w 4896036"/>
              <a:gd name="connsiteY1" fmla="*/ 0 h 5157788"/>
              <a:gd name="connsiteX2" fmla="*/ 4896036 w 4896036"/>
              <a:gd name="connsiteY2" fmla="*/ 5157788 h 5157788"/>
              <a:gd name="connsiteX3" fmla="*/ 0 w 4896036"/>
              <a:gd name="connsiteY3" fmla="*/ 5153180 h 5157788"/>
              <a:gd name="connsiteX4" fmla="*/ 1872208 w 4896036"/>
              <a:gd name="connsiteY4" fmla="*/ 3461908 h 5157788"/>
              <a:gd name="connsiteX5" fmla="*/ 2160240 w 4896036"/>
              <a:gd name="connsiteY5" fmla="*/ 0 h 5157788"/>
              <a:gd name="connsiteX0" fmla="*/ 2232248 w 4968044"/>
              <a:gd name="connsiteY0" fmla="*/ 0 h 5157788"/>
              <a:gd name="connsiteX1" fmla="*/ 4968044 w 4968044"/>
              <a:gd name="connsiteY1" fmla="*/ 0 h 5157788"/>
              <a:gd name="connsiteX2" fmla="*/ 4968044 w 4968044"/>
              <a:gd name="connsiteY2" fmla="*/ 5157788 h 5157788"/>
              <a:gd name="connsiteX3" fmla="*/ 0 w 4968044"/>
              <a:gd name="connsiteY3" fmla="*/ 5153180 h 5157788"/>
              <a:gd name="connsiteX4" fmla="*/ 1944216 w 4968044"/>
              <a:gd name="connsiteY4" fmla="*/ 3461908 h 5157788"/>
              <a:gd name="connsiteX5" fmla="*/ 2232248 w 4968044"/>
              <a:gd name="connsiteY5" fmla="*/ 0 h 5157788"/>
              <a:gd name="connsiteX0" fmla="*/ 2207679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207679 w 4943475"/>
              <a:gd name="connsiteY5" fmla="*/ 0 h 5157788"/>
              <a:gd name="connsiteX0" fmla="*/ 2963763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963763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092200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71575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343583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675731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675731 w 4943475"/>
              <a:gd name="connsiteY5" fmla="*/ 0 h 5157788"/>
              <a:gd name="connsiteX0" fmla="*/ 2675731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675731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9672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19672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51412" h="5157788">
                <a:moveTo>
                  <a:pt x="2706687" y="0"/>
                </a:moveTo>
                <a:lnTo>
                  <a:pt x="4951412" y="0"/>
                </a:lnTo>
                <a:lnTo>
                  <a:pt x="4951412" y="5157788"/>
                </a:lnTo>
                <a:lnTo>
                  <a:pt x="0" y="5153180"/>
                </a:lnTo>
                <a:cubicBezTo>
                  <a:pt x="84411" y="4542509"/>
                  <a:pt x="183041" y="4024723"/>
                  <a:pt x="1243508" y="2562613"/>
                </a:cubicBezTo>
                <a:cubicBezTo>
                  <a:pt x="1867447" y="1704780"/>
                  <a:pt x="2665955" y="709265"/>
                  <a:pt x="2706687" y="0"/>
                </a:cubicBezTo>
                <a:close/>
              </a:path>
            </a:pathLst>
          </a:custGeom>
          <a:solidFill>
            <a:schemeClr val="bg2"/>
          </a:solidFill>
          <a:ln w="3175">
            <a:noFill/>
          </a:ln>
        </p:spPr>
        <p:txBody>
          <a:bodyPr tIns="720000" anchor="ctr" anchorCtr="0"/>
          <a:lstStyle>
            <a:lvl1pPr algn="ctr">
              <a:defRPr sz="1500">
                <a:solidFill>
                  <a:schemeClr val="bg1"/>
                </a:solidFill>
              </a:defRPr>
            </a:lvl1pPr>
          </a:lstStyle>
          <a:p>
            <a:r>
              <a:rPr lang="en-US" noProof="0"/>
              <a:t>Select your own photo</a:t>
            </a:r>
          </a:p>
        </p:txBody>
      </p:sp>
      <p:sp>
        <p:nvSpPr>
          <p:cNvPr id="18" name="Rectangle 17"/>
          <p:cNvSpPr/>
          <p:nvPr userDrawn="1"/>
        </p:nvSpPr>
        <p:spPr bwMode="gray">
          <a:xfrm>
            <a:off x="468313" y="3391895"/>
            <a:ext cx="2448000" cy="252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7" name="Espace réservé du texte 16"/>
          <p:cNvSpPr>
            <a:spLocks noGrp="1"/>
          </p:cNvSpPr>
          <p:nvPr>
            <p:ph type="body" sz="quarter" idx="20" hasCustomPrompt="1"/>
          </p:nvPr>
        </p:nvSpPr>
        <p:spPr bwMode="gray">
          <a:xfrm>
            <a:off x="0" y="5157788"/>
            <a:ext cx="9144000" cy="287337"/>
          </a:xfrm>
          <a:solidFill>
            <a:schemeClr val="bg1"/>
          </a:solidFill>
        </p:spPr>
        <p:txBody>
          <a:bodyPr/>
          <a:lstStyle>
            <a:lvl1pPr>
              <a:defRPr sz="100" b="0">
                <a:solidFill>
                  <a:schemeClr val="bg1">
                    <a:alpha val="0"/>
                  </a:schemeClr>
                </a:solidFill>
              </a:defRPr>
            </a:lvl1pPr>
          </a:lstStyle>
          <a:p>
            <a:pPr lvl="0"/>
            <a:r>
              <a:rPr lang="en-US" noProof="0"/>
              <a:t> </a:t>
            </a:r>
          </a:p>
        </p:txBody>
      </p:sp>
    </p:spTree>
    <p:extLst>
      <p:ext uri="{BB962C8B-B14F-4D97-AF65-F5344CB8AC3E}">
        <p14:creationId xmlns:p14="http://schemas.microsoft.com/office/powerpoint/2010/main" val="3675581963"/>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Cover_Blue">
    <p:spTree>
      <p:nvGrpSpPr>
        <p:cNvPr id="1" name=""/>
        <p:cNvGrpSpPr/>
        <p:nvPr/>
      </p:nvGrpSpPr>
      <p:grpSpPr>
        <a:xfrm>
          <a:off x="0" y="0"/>
          <a:ext cx="0" cy="0"/>
          <a:chOff x="0" y="0"/>
          <a:chExt cx="0" cy="0"/>
        </a:xfrm>
      </p:grpSpPr>
      <p:pic>
        <p:nvPicPr>
          <p:cNvPr id="14" name="Image 13" descr="FD_02_bleu.png"/>
          <p:cNvPicPr>
            <a:picLocks noChangeAspect="1"/>
          </p:cNvPicPr>
          <p:nvPr userDrawn="1"/>
        </p:nvPicPr>
        <p:blipFill>
          <a:blip r:embed="rId2" cstate="print"/>
          <a:stretch>
            <a:fillRect/>
          </a:stretch>
        </p:blipFill>
        <p:spPr bwMode="gray">
          <a:xfrm>
            <a:off x="0" y="0"/>
            <a:ext cx="9144000" cy="5157788"/>
          </a:xfrm>
          <a:prstGeom prst="rect">
            <a:avLst/>
          </a:prstGeom>
        </p:spPr>
      </p:pic>
      <p:sp>
        <p:nvSpPr>
          <p:cNvPr id="22" name="Rectangle 21"/>
          <p:cNvSpPr/>
          <p:nvPr userDrawn="1"/>
        </p:nvSpPr>
        <p:spPr bwMode="gray">
          <a:xfrm>
            <a:off x="3635375" y="5265204"/>
            <a:ext cx="5508625" cy="15927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pic>
        <p:nvPicPr>
          <p:cNvPr id="20" name="Image 19" descr="Bas_couv.png"/>
          <p:cNvPicPr>
            <a:picLocks noChangeAspect="1"/>
          </p:cNvPicPr>
          <p:nvPr userDrawn="1"/>
        </p:nvPicPr>
        <p:blipFill>
          <a:blip r:embed="rId3" cstate="print"/>
          <a:srcRect r="60243" b="722"/>
          <a:stretch>
            <a:fillRect/>
          </a:stretch>
        </p:blipFill>
        <p:spPr bwMode="gray">
          <a:xfrm>
            <a:off x="0" y="5172520"/>
            <a:ext cx="3635375" cy="1685480"/>
          </a:xfrm>
          <a:prstGeom prst="rect">
            <a:avLst/>
          </a:prstGeom>
        </p:spPr>
      </p:pic>
      <p:sp>
        <p:nvSpPr>
          <p:cNvPr id="9" name="Espace réservé du texte 8"/>
          <p:cNvSpPr>
            <a:spLocks noGrp="1"/>
          </p:cNvSpPr>
          <p:nvPr>
            <p:ph type="body" sz="quarter" idx="13" hasCustomPrompt="1"/>
          </p:nvPr>
        </p:nvSpPr>
        <p:spPr bwMode="gray">
          <a:xfrm>
            <a:off x="468314" y="1036800"/>
            <a:ext cx="4824412" cy="2232000"/>
          </a:xfrm>
        </p:spPr>
        <p:txBody>
          <a:bodyPr anchor="b" anchorCtr="0"/>
          <a:lstStyle>
            <a:lvl1pPr marL="0" indent="0" algn="l">
              <a:lnSpc>
                <a:spcPct val="90000"/>
              </a:lnSpc>
              <a:buNone/>
              <a:defRPr sz="2800" b="1" cap="none" baseline="0">
                <a:solidFill>
                  <a:schemeClr val="bg1"/>
                </a:solidFill>
              </a:defRPr>
            </a:lvl1pPr>
            <a:lvl2pPr marL="0" algn="ctr">
              <a:lnSpc>
                <a:spcPct val="100000"/>
              </a:lnSpc>
              <a:spcBef>
                <a:spcPts val="6900"/>
              </a:spcBef>
              <a:defRPr sz="2000" b="1">
                <a:solidFill>
                  <a:schemeClr val="bg1"/>
                </a:solidFill>
              </a:defRPr>
            </a:lvl2pPr>
          </a:lstStyle>
          <a:p>
            <a:pPr lvl="0"/>
            <a:r>
              <a:rPr lang="en-US" noProof="0"/>
              <a:t>TITLE</a:t>
            </a:r>
          </a:p>
        </p:txBody>
      </p:sp>
      <p:sp>
        <p:nvSpPr>
          <p:cNvPr id="8" name="Espace réservé du texte 8"/>
          <p:cNvSpPr>
            <a:spLocks noGrp="1"/>
          </p:cNvSpPr>
          <p:nvPr>
            <p:ph type="body" sz="quarter" idx="14" hasCustomPrompt="1"/>
          </p:nvPr>
        </p:nvSpPr>
        <p:spPr bwMode="gray">
          <a:xfrm>
            <a:off x="468314" y="3585600"/>
            <a:ext cx="4824411" cy="1479600"/>
          </a:xfrm>
        </p:spPr>
        <p:txBody>
          <a:bodyPr anchor="t" anchorCtr="0"/>
          <a:lstStyle>
            <a:lvl1pPr marL="0" indent="0" algn="l">
              <a:lnSpc>
                <a:spcPct val="90000"/>
              </a:lnSpc>
              <a:buNone/>
              <a:defRPr sz="2000" b="0" baseline="0">
                <a:solidFill>
                  <a:schemeClr val="bg1"/>
                </a:solidFill>
              </a:defRPr>
            </a:lvl1pPr>
            <a:lvl2pPr marL="0" algn="ctr">
              <a:lnSpc>
                <a:spcPct val="100000"/>
              </a:lnSpc>
              <a:spcBef>
                <a:spcPts val="6900"/>
              </a:spcBef>
              <a:defRPr sz="2000" b="1">
                <a:solidFill>
                  <a:schemeClr val="bg1"/>
                </a:solidFill>
              </a:defRPr>
            </a:lvl2pPr>
          </a:lstStyle>
          <a:p>
            <a:pPr lvl="0"/>
            <a:r>
              <a:rPr lang="en-US" noProof="0"/>
              <a:t>SUBTITLE</a:t>
            </a:r>
          </a:p>
        </p:txBody>
      </p:sp>
      <p:sp>
        <p:nvSpPr>
          <p:cNvPr id="10" name="Espace réservé de la date 9"/>
          <p:cNvSpPr>
            <a:spLocks noGrp="1"/>
          </p:cNvSpPr>
          <p:nvPr>
            <p:ph type="dt" sz="half" idx="15"/>
          </p:nvPr>
        </p:nvSpPr>
        <p:spPr bwMode="gray"/>
        <p:txBody>
          <a:bodyPr/>
          <a:lstStyle/>
          <a:p>
            <a:r>
              <a:rPr lang="en-US">
                <a:solidFill>
                  <a:prstClr val="white">
                    <a:alpha val="0"/>
                  </a:prstClr>
                </a:solidFill>
              </a:rPr>
              <a:t>Date</a:t>
            </a:r>
          </a:p>
        </p:txBody>
      </p:sp>
      <p:sp>
        <p:nvSpPr>
          <p:cNvPr id="11" name="Espace réservé du numéro de diapositive 10"/>
          <p:cNvSpPr>
            <a:spLocks noGrp="1"/>
          </p:cNvSpPr>
          <p:nvPr>
            <p:ph type="sldNum" sz="quarter" idx="16"/>
          </p:nvPr>
        </p:nvSpPr>
        <p:spPr bwMode="gray"/>
        <p:txBody>
          <a:bodyPr/>
          <a:lstStyle>
            <a:lvl1pPr>
              <a:defRPr sz="100">
                <a:solidFill>
                  <a:schemeClr val="bg1">
                    <a:alpha val="0"/>
                  </a:schemeClr>
                </a:solidFill>
              </a:defRPr>
            </a:lvl1pPr>
          </a:lstStyle>
          <a:p>
            <a:r>
              <a:rPr lang="en-US">
                <a:solidFill>
                  <a:prstClr val="white">
                    <a:alpha val="0"/>
                  </a:prstClr>
                </a:solidFill>
              </a:rPr>
              <a:t>Page: </a:t>
            </a:r>
            <a:fld id="{733122C9-A0B9-462F-8757-0847AD287B63}" type="slidenum">
              <a:rPr lang="en-US" smtClean="0">
                <a:solidFill>
                  <a:prstClr val="white">
                    <a:alpha val="0"/>
                  </a:prstClr>
                </a:solidFill>
              </a:rPr>
              <a:pPr/>
              <a:t>‹#›</a:t>
            </a:fld>
            <a:endParaRPr lang="en-US">
              <a:solidFill>
                <a:prstClr val="white">
                  <a:alpha val="0"/>
                </a:prstClr>
              </a:solidFill>
            </a:endParaRPr>
          </a:p>
        </p:txBody>
      </p:sp>
      <p:sp>
        <p:nvSpPr>
          <p:cNvPr id="12" name="Espace réservé du pied de page 11"/>
          <p:cNvSpPr>
            <a:spLocks noGrp="1"/>
          </p:cNvSpPr>
          <p:nvPr>
            <p:ph type="ftr" sz="quarter" idx="17"/>
          </p:nvPr>
        </p:nvSpPr>
        <p:spPr bwMode="gray">
          <a:xfrm>
            <a:off x="468312" y="524188"/>
            <a:ext cx="4824413" cy="360000"/>
          </a:xfrm>
        </p:spPr>
        <p:txBody>
          <a:bodyPr/>
          <a:lstStyle>
            <a:lvl1pPr algn="l">
              <a:defRPr sz="1800" b="0">
                <a:solidFill>
                  <a:schemeClr val="bg1"/>
                </a:solidFill>
              </a:defRPr>
            </a:lvl1pPr>
          </a:lstStyle>
          <a:p>
            <a:r>
              <a:rPr lang="en-US">
                <a:solidFill>
                  <a:prstClr val="white"/>
                </a:solidFill>
              </a:rPr>
              <a:t>#add your hashtag</a:t>
            </a:r>
          </a:p>
        </p:txBody>
      </p:sp>
      <p:sp>
        <p:nvSpPr>
          <p:cNvPr id="15" name="Espace réservé du texte 14"/>
          <p:cNvSpPr>
            <a:spLocks noGrp="1"/>
          </p:cNvSpPr>
          <p:nvPr>
            <p:ph type="body" sz="quarter" idx="19" hasCustomPrompt="1"/>
          </p:nvPr>
        </p:nvSpPr>
        <p:spPr bwMode="gray">
          <a:xfrm>
            <a:off x="3635376" y="6021388"/>
            <a:ext cx="5113338" cy="324000"/>
          </a:xfrm>
        </p:spPr>
        <p:txBody>
          <a:bodyPr anchor="b" anchorCtr="0"/>
          <a:lstStyle>
            <a:lvl1pPr algn="r">
              <a:lnSpc>
                <a:spcPct val="100000"/>
              </a:lnSpc>
              <a:defRPr sz="1000" b="1">
                <a:solidFill>
                  <a:schemeClr val="accent2"/>
                </a:solidFill>
              </a:defRPr>
            </a:lvl1pPr>
          </a:lstStyle>
          <a:p>
            <a:pPr lvl="0"/>
            <a:r>
              <a:rPr lang="en-US" noProof="0"/>
              <a:t>Write your claim here</a:t>
            </a:r>
          </a:p>
        </p:txBody>
      </p:sp>
      <p:sp>
        <p:nvSpPr>
          <p:cNvPr id="16" name="Rectangle 15"/>
          <p:cNvSpPr/>
          <p:nvPr userDrawn="1"/>
        </p:nvSpPr>
        <p:spPr bwMode="gray">
          <a:xfrm>
            <a:off x="3635375" y="6354202"/>
            <a:ext cx="5113338" cy="2872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r"/>
            <a:r>
              <a:rPr lang="en-US" sz="1000">
                <a:solidFill>
                  <a:srgbClr val="95D600"/>
                </a:solidFill>
              </a:rPr>
              <a:t>www.gavi.org</a:t>
            </a:r>
          </a:p>
        </p:txBody>
      </p:sp>
      <p:sp>
        <p:nvSpPr>
          <p:cNvPr id="18" name="Rectangle 17"/>
          <p:cNvSpPr/>
          <p:nvPr userDrawn="1"/>
        </p:nvSpPr>
        <p:spPr bwMode="gray">
          <a:xfrm>
            <a:off x="468313" y="3391895"/>
            <a:ext cx="2448000" cy="252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Tree>
    <p:extLst>
      <p:ext uri="{BB962C8B-B14F-4D97-AF65-F5344CB8AC3E}">
        <p14:creationId xmlns:p14="http://schemas.microsoft.com/office/powerpoint/2010/main" val="359897066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_Contents_Layout">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p:txBody>
          <a:bodyPr/>
          <a:lstStyle/>
          <a:p>
            <a:r>
              <a:rPr lang="en-US" noProof="0"/>
              <a:t>TITLE</a:t>
            </a:r>
          </a:p>
        </p:txBody>
      </p:sp>
      <p:sp>
        <p:nvSpPr>
          <p:cNvPr id="3" name="Espace réservé du contenu 2"/>
          <p:cNvSpPr>
            <a:spLocks noGrp="1"/>
          </p:cNvSpPr>
          <p:nvPr>
            <p:ph idx="1" hasCustomPrompt="1"/>
          </p:nvPr>
        </p:nvSpPr>
        <p:spPr bwMode="gray">
          <a:xfrm>
            <a:off x="935038" y="1304925"/>
            <a:ext cx="3564000" cy="4716463"/>
          </a:xfrm>
        </p:spPr>
        <p:txBody>
          <a:bodyPr/>
          <a:lstStyle>
            <a:lvl2pPr>
              <a:defRPr/>
            </a:lvl2pPr>
            <a:lvl3pPr>
              <a:defRPr/>
            </a:lvl3pPr>
            <a:lvl4pPr>
              <a:defRPr baseline="0"/>
            </a:lvl4pPr>
            <a:lvl5pPr>
              <a:defRPr/>
            </a:lvl5pPr>
          </a:lstStyle>
          <a:p>
            <a:pPr lvl="0"/>
            <a:r>
              <a:rPr lang="en-US" noProof="0"/>
              <a:t>Text level 1</a:t>
            </a:r>
          </a:p>
          <a:p>
            <a:pPr lvl="1"/>
            <a:r>
              <a:rPr lang="en-US" noProof="0"/>
              <a:t>Text level 2</a:t>
            </a:r>
          </a:p>
          <a:p>
            <a:pPr lvl="2"/>
            <a:r>
              <a:rPr lang="en-US" noProof="0"/>
              <a:t>Text level 3</a:t>
            </a:r>
          </a:p>
          <a:p>
            <a:pPr lvl="3"/>
            <a:r>
              <a:rPr lang="en-US" noProof="0"/>
              <a:t>Text level 4</a:t>
            </a:r>
          </a:p>
          <a:p>
            <a:pPr lvl="4"/>
            <a:r>
              <a:rPr lang="en-US" noProof="0"/>
              <a:t>Text level 5</a:t>
            </a:r>
          </a:p>
        </p:txBody>
      </p:sp>
      <p:sp>
        <p:nvSpPr>
          <p:cNvPr id="7" name="Espace réservé de la date 6"/>
          <p:cNvSpPr>
            <a:spLocks noGrp="1"/>
          </p:cNvSpPr>
          <p:nvPr>
            <p:ph type="dt" sz="half" idx="10"/>
          </p:nvPr>
        </p:nvSpPr>
        <p:spPr bwMode="gray"/>
        <p:txBody>
          <a:bodyPr/>
          <a:lstStyle/>
          <a:p>
            <a:r>
              <a:rPr lang="en-US" noProof="0"/>
              <a:t>Date</a:t>
            </a:r>
          </a:p>
        </p:txBody>
      </p:sp>
      <p:sp>
        <p:nvSpPr>
          <p:cNvPr id="8" name="Espace réservé du numéro de diapositive 7"/>
          <p:cNvSpPr>
            <a:spLocks noGrp="1"/>
          </p:cNvSpPr>
          <p:nvPr>
            <p:ph type="sldNum" sz="quarter" idx="11"/>
          </p:nvPr>
        </p:nvSpPr>
        <p:spPr bwMode="gray"/>
        <p:txBody>
          <a:bodyPr/>
          <a:lstStyle/>
          <a:p>
            <a:pPr algn="l"/>
            <a:fld id="{733122C9-A0B9-462F-8757-0847AD287B63}" type="slidenum">
              <a:rPr lang="en-US" noProof="0" smtClean="0"/>
              <a:pPr algn="l"/>
              <a:t>‹#›</a:t>
            </a:fld>
            <a:endParaRPr lang="en-US" noProof="0"/>
          </a:p>
        </p:txBody>
      </p:sp>
      <p:sp>
        <p:nvSpPr>
          <p:cNvPr id="11" name="Espace réservé du pied de page 10"/>
          <p:cNvSpPr>
            <a:spLocks noGrp="1"/>
          </p:cNvSpPr>
          <p:nvPr>
            <p:ph type="ftr" sz="quarter" idx="12"/>
          </p:nvPr>
        </p:nvSpPr>
        <p:spPr bwMode="gray"/>
        <p:txBody>
          <a:bodyPr/>
          <a:lstStyle/>
          <a:p>
            <a:r>
              <a:rPr lang="en-US" noProof="0"/>
              <a:t>#add your hashtag</a:t>
            </a:r>
          </a:p>
        </p:txBody>
      </p:sp>
      <p:sp>
        <p:nvSpPr>
          <p:cNvPr id="9" name="Espace réservé du contenu 2"/>
          <p:cNvSpPr>
            <a:spLocks noGrp="1"/>
          </p:cNvSpPr>
          <p:nvPr>
            <p:ph idx="13" hasCustomPrompt="1"/>
          </p:nvPr>
        </p:nvSpPr>
        <p:spPr bwMode="gray">
          <a:xfrm>
            <a:off x="4716400" y="1304925"/>
            <a:ext cx="3564000" cy="4716463"/>
          </a:xfrm>
        </p:spPr>
        <p:txBody>
          <a:bodyPr/>
          <a:lstStyle>
            <a:lvl2pPr>
              <a:defRPr/>
            </a:lvl2pPr>
            <a:lvl3pPr>
              <a:defRPr/>
            </a:lvl3pPr>
            <a:lvl4pPr>
              <a:defRPr baseline="0"/>
            </a:lvl4pPr>
            <a:lvl5pPr>
              <a:defRPr/>
            </a:lvl5pPr>
          </a:lstStyle>
          <a:p>
            <a:pPr lvl="0"/>
            <a:r>
              <a:rPr lang="en-US" noProof="0"/>
              <a:t>Text level 1</a:t>
            </a:r>
          </a:p>
          <a:p>
            <a:pPr lvl="1"/>
            <a:r>
              <a:rPr lang="en-US" noProof="0"/>
              <a:t>Text level 2</a:t>
            </a:r>
          </a:p>
          <a:p>
            <a:pPr lvl="2"/>
            <a:r>
              <a:rPr lang="en-US" noProof="0"/>
              <a:t>Text level 3</a:t>
            </a:r>
          </a:p>
          <a:p>
            <a:pPr lvl="3"/>
            <a:r>
              <a:rPr lang="en-US" noProof="0"/>
              <a:t>Text level 4</a:t>
            </a:r>
          </a:p>
          <a:p>
            <a:pPr lvl="4"/>
            <a:r>
              <a:rPr lang="en-US" noProof="0"/>
              <a:t>Text level 5</a:t>
            </a:r>
          </a:p>
        </p:txBody>
      </p:sp>
    </p:spTree>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Cover_Picture_2">
    <p:spTree>
      <p:nvGrpSpPr>
        <p:cNvPr id="1" name=""/>
        <p:cNvGrpSpPr/>
        <p:nvPr/>
      </p:nvGrpSpPr>
      <p:grpSpPr>
        <a:xfrm>
          <a:off x="0" y="0"/>
          <a:ext cx="0" cy="0"/>
          <a:chOff x="0" y="0"/>
          <a:chExt cx="0" cy="0"/>
        </a:xfrm>
      </p:grpSpPr>
      <p:pic>
        <p:nvPicPr>
          <p:cNvPr id="21" name="Image 20" descr="FD_1_L254.png"/>
          <p:cNvPicPr>
            <a:picLocks noChangeAspect="1"/>
          </p:cNvPicPr>
          <p:nvPr userDrawn="1"/>
        </p:nvPicPr>
        <p:blipFill>
          <a:blip r:embed="rId2" cstate="print"/>
          <a:stretch>
            <a:fillRect/>
          </a:stretch>
        </p:blipFill>
        <p:spPr bwMode="gray">
          <a:xfrm>
            <a:off x="1" y="0"/>
            <a:ext cx="9144000" cy="5157788"/>
          </a:xfrm>
          <a:prstGeom prst="rect">
            <a:avLst/>
          </a:prstGeom>
        </p:spPr>
      </p:pic>
      <p:sp>
        <p:nvSpPr>
          <p:cNvPr id="22" name="Rectangle 21"/>
          <p:cNvSpPr/>
          <p:nvPr userDrawn="1"/>
        </p:nvSpPr>
        <p:spPr bwMode="gray">
          <a:xfrm>
            <a:off x="3635375" y="5265204"/>
            <a:ext cx="5508625" cy="15927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pic>
        <p:nvPicPr>
          <p:cNvPr id="20" name="Image 19" descr="Bas_couv.png"/>
          <p:cNvPicPr>
            <a:picLocks noChangeAspect="1"/>
          </p:cNvPicPr>
          <p:nvPr userDrawn="1"/>
        </p:nvPicPr>
        <p:blipFill>
          <a:blip r:embed="rId3" cstate="print"/>
          <a:srcRect r="60243" b="722"/>
          <a:stretch>
            <a:fillRect/>
          </a:stretch>
        </p:blipFill>
        <p:spPr bwMode="gray">
          <a:xfrm>
            <a:off x="0" y="5172520"/>
            <a:ext cx="3635375" cy="1685480"/>
          </a:xfrm>
          <a:prstGeom prst="rect">
            <a:avLst/>
          </a:prstGeom>
        </p:spPr>
      </p:pic>
      <p:sp>
        <p:nvSpPr>
          <p:cNvPr id="9" name="Espace réservé du texte 8"/>
          <p:cNvSpPr>
            <a:spLocks noGrp="1"/>
          </p:cNvSpPr>
          <p:nvPr>
            <p:ph type="body" sz="quarter" idx="13" hasCustomPrompt="1"/>
          </p:nvPr>
        </p:nvSpPr>
        <p:spPr bwMode="gray">
          <a:xfrm>
            <a:off x="468000" y="1036800"/>
            <a:ext cx="4824412" cy="2232000"/>
          </a:xfrm>
        </p:spPr>
        <p:txBody>
          <a:bodyPr anchor="b" anchorCtr="0"/>
          <a:lstStyle>
            <a:lvl1pPr marL="0" indent="0" algn="l">
              <a:lnSpc>
                <a:spcPct val="90000"/>
              </a:lnSpc>
              <a:buNone/>
              <a:defRPr sz="2800" b="1" cap="none" baseline="0">
                <a:solidFill>
                  <a:schemeClr val="bg1"/>
                </a:solidFill>
              </a:defRPr>
            </a:lvl1pPr>
            <a:lvl2pPr marL="0" algn="ctr">
              <a:lnSpc>
                <a:spcPct val="100000"/>
              </a:lnSpc>
              <a:spcBef>
                <a:spcPts val="6900"/>
              </a:spcBef>
              <a:defRPr sz="2000" b="1">
                <a:solidFill>
                  <a:schemeClr val="bg1"/>
                </a:solidFill>
              </a:defRPr>
            </a:lvl2pPr>
          </a:lstStyle>
          <a:p>
            <a:pPr lvl="0"/>
            <a:r>
              <a:rPr lang="en-US" noProof="0"/>
              <a:t>TITLE</a:t>
            </a:r>
          </a:p>
        </p:txBody>
      </p:sp>
      <p:sp>
        <p:nvSpPr>
          <p:cNvPr id="8" name="Espace réservé du texte 8"/>
          <p:cNvSpPr>
            <a:spLocks noGrp="1"/>
          </p:cNvSpPr>
          <p:nvPr>
            <p:ph type="body" sz="quarter" idx="14" hasCustomPrompt="1"/>
          </p:nvPr>
        </p:nvSpPr>
        <p:spPr bwMode="gray">
          <a:xfrm>
            <a:off x="468314" y="3585600"/>
            <a:ext cx="3592800" cy="1479600"/>
          </a:xfrm>
        </p:spPr>
        <p:txBody>
          <a:bodyPr anchor="t" anchorCtr="0"/>
          <a:lstStyle>
            <a:lvl1pPr marL="0" indent="0" algn="l">
              <a:lnSpc>
                <a:spcPct val="90000"/>
              </a:lnSpc>
              <a:buNone/>
              <a:defRPr sz="2000" b="0" baseline="0">
                <a:solidFill>
                  <a:schemeClr val="bg1"/>
                </a:solidFill>
              </a:defRPr>
            </a:lvl1pPr>
            <a:lvl2pPr marL="0" algn="ctr">
              <a:lnSpc>
                <a:spcPct val="100000"/>
              </a:lnSpc>
              <a:spcBef>
                <a:spcPts val="6900"/>
              </a:spcBef>
              <a:defRPr sz="2000" b="1">
                <a:solidFill>
                  <a:schemeClr val="bg1"/>
                </a:solidFill>
              </a:defRPr>
            </a:lvl2pPr>
          </a:lstStyle>
          <a:p>
            <a:pPr lvl="0"/>
            <a:r>
              <a:rPr lang="en-US" noProof="0"/>
              <a:t>SUBTITLE</a:t>
            </a:r>
          </a:p>
        </p:txBody>
      </p:sp>
      <p:sp>
        <p:nvSpPr>
          <p:cNvPr id="10" name="Espace réservé de la date 9"/>
          <p:cNvSpPr>
            <a:spLocks noGrp="1"/>
          </p:cNvSpPr>
          <p:nvPr>
            <p:ph type="dt" sz="half" idx="15"/>
          </p:nvPr>
        </p:nvSpPr>
        <p:spPr bwMode="gray"/>
        <p:txBody>
          <a:bodyPr/>
          <a:lstStyle/>
          <a:p>
            <a:r>
              <a:rPr lang="en-US">
                <a:solidFill>
                  <a:prstClr val="white">
                    <a:alpha val="0"/>
                  </a:prstClr>
                </a:solidFill>
              </a:rPr>
              <a:t>Date</a:t>
            </a:r>
          </a:p>
        </p:txBody>
      </p:sp>
      <p:sp>
        <p:nvSpPr>
          <p:cNvPr id="11" name="Espace réservé du numéro de diapositive 10"/>
          <p:cNvSpPr>
            <a:spLocks noGrp="1"/>
          </p:cNvSpPr>
          <p:nvPr>
            <p:ph type="sldNum" sz="quarter" idx="16"/>
          </p:nvPr>
        </p:nvSpPr>
        <p:spPr bwMode="gray"/>
        <p:txBody>
          <a:bodyPr/>
          <a:lstStyle>
            <a:lvl1pPr>
              <a:defRPr sz="100">
                <a:solidFill>
                  <a:schemeClr val="bg1">
                    <a:alpha val="0"/>
                  </a:schemeClr>
                </a:solidFill>
              </a:defRPr>
            </a:lvl1pPr>
          </a:lstStyle>
          <a:p>
            <a:r>
              <a:rPr lang="en-US">
                <a:solidFill>
                  <a:prstClr val="white">
                    <a:alpha val="0"/>
                  </a:prstClr>
                </a:solidFill>
              </a:rPr>
              <a:t>Page: </a:t>
            </a:r>
            <a:fld id="{733122C9-A0B9-462F-8757-0847AD287B63}" type="slidenum">
              <a:rPr lang="en-US" smtClean="0">
                <a:solidFill>
                  <a:prstClr val="white">
                    <a:alpha val="0"/>
                  </a:prstClr>
                </a:solidFill>
              </a:rPr>
              <a:pPr/>
              <a:t>‹#›</a:t>
            </a:fld>
            <a:endParaRPr lang="en-US">
              <a:solidFill>
                <a:prstClr val="white">
                  <a:alpha val="0"/>
                </a:prstClr>
              </a:solidFill>
            </a:endParaRPr>
          </a:p>
        </p:txBody>
      </p:sp>
      <p:sp>
        <p:nvSpPr>
          <p:cNvPr id="12" name="Espace réservé du pied de page 11"/>
          <p:cNvSpPr>
            <a:spLocks noGrp="1"/>
          </p:cNvSpPr>
          <p:nvPr>
            <p:ph type="ftr" sz="quarter" idx="17"/>
          </p:nvPr>
        </p:nvSpPr>
        <p:spPr bwMode="gray">
          <a:xfrm>
            <a:off x="468312" y="524188"/>
            <a:ext cx="4824413" cy="360000"/>
          </a:xfrm>
        </p:spPr>
        <p:txBody>
          <a:bodyPr/>
          <a:lstStyle>
            <a:lvl1pPr algn="l">
              <a:defRPr sz="1800" b="0">
                <a:solidFill>
                  <a:schemeClr val="bg1"/>
                </a:solidFill>
              </a:defRPr>
            </a:lvl1pPr>
          </a:lstStyle>
          <a:p>
            <a:r>
              <a:rPr lang="en-US">
                <a:solidFill>
                  <a:prstClr val="white"/>
                </a:solidFill>
              </a:rPr>
              <a:t>#add your hashtag</a:t>
            </a:r>
          </a:p>
        </p:txBody>
      </p:sp>
      <p:sp>
        <p:nvSpPr>
          <p:cNvPr id="15" name="Espace réservé du texte 14"/>
          <p:cNvSpPr>
            <a:spLocks noGrp="1"/>
          </p:cNvSpPr>
          <p:nvPr>
            <p:ph type="body" sz="quarter" idx="19" hasCustomPrompt="1"/>
          </p:nvPr>
        </p:nvSpPr>
        <p:spPr bwMode="gray">
          <a:xfrm>
            <a:off x="3635376" y="6021388"/>
            <a:ext cx="5113338" cy="324000"/>
          </a:xfrm>
        </p:spPr>
        <p:txBody>
          <a:bodyPr anchor="b" anchorCtr="0"/>
          <a:lstStyle>
            <a:lvl1pPr algn="r">
              <a:lnSpc>
                <a:spcPct val="100000"/>
              </a:lnSpc>
              <a:defRPr sz="1000" b="1">
                <a:solidFill>
                  <a:schemeClr val="accent2"/>
                </a:solidFill>
              </a:defRPr>
            </a:lvl1pPr>
          </a:lstStyle>
          <a:p>
            <a:pPr lvl="0"/>
            <a:r>
              <a:rPr lang="en-US" noProof="0"/>
              <a:t>Write your claim here</a:t>
            </a:r>
          </a:p>
        </p:txBody>
      </p:sp>
      <p:sp>
        <p:nvSpPr>
          <p:cNvPr id="16" name="Rectangle 15"/>
          <p:cNvSpPr/>
          <p:nvPr userDrawn="1"/>
        </p:nvSpPr>
        <p:spPr bwMode="gray">
          <a:xfrm>
            <a:off x="3635375" y="6354202"/>
            <a:ext cx="5113338" cy="2872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r"/>
            <a:r>
              <a:rPr lang="en-US" sz="1000">
                <a:solidFill>
                  <a:srgbClr val="95D600"/>
                </a:solidFill>
              </a:rPr>
              <a:t>www.gavi.org</a:t>
            </a:r>
          </a:p>
        </p:txBody>
      </p:sp>
      <p:sp>
        <p:nvSpPr>
          <p:cNvPr id="17" name="Espace réservé du texte 16"/>
          <p:cNvSpPr>
            <a:spLocks noGrp="1"/>
          </p:cNvSpPr>
          <p:nvPr>
            <p:ph type="body" sz="quarter" idx="20" hasCustomPrompt="1"/>
          </p:nvPr>
        </p:nvSpPr>
        <p:spPr bwMode="gray">
          <a:xfrm>
            <a:off x="0" y="5157788"/>
            <a:ext cx="9144000" cy="287337"/>
          </a:xfrm>
          <a:solidFill>
            <a:schemeClr val="bg1"/>
          </a:solidFill>
        </p:spPr>
        <p:txBody>
          <a:bodyPr/>
          <a:lstStyle>
            <a:lvl1pPr>
              <a:defRPr sz="100" b="0">
                <a:solidFill>
                  <a:schemeClr val="bg1">
                    <a:alpha val="0"/>
                  </a:schemeClr>
                </a:solidFill>
              </a:defRPr>
            </a:lvl1pPr>
          </a:lstStyle>
          <a:p>
            <a:pPr lvl="0"/>
            <a:r>
              <a:rPr lang="en-US" noProof="0"/>
              <a:t> </a:t>
            </a:r>
          </a:p>
        </p:txBody>
      </p:sp>
      <p:sp>
        <p:nvSpPr>
          <p:cNvPr id="18" name="Espace réservé pour une image  17"/>
          <p:cNvSpPr>
            <a:spLocks noGrp="1"/>
          </p:cNvSpPr>
          <p:nvPr>
            <p:ph type="pic" sz="quarter" idx="18" hasCustomPrompt="1"/>
          </p:nvPr>
        </p:nvSpPr>
        <p:spPr bwMode="gray">
          <a:xfrm>
            <a:off x="4192588" y="0"/>
            <a:ext cx="4951412" cy="5162400"/>
          </a:xfrm>
          <a:custGeom>
            <a:avLst/>
            <a:gdLst>
              <a:gd name="connsiteX0" fmla="*/ 0 w 3851275"/>
              <a:gd name="connsiteY0" fmla="*/ 0 h 5157788"/>
              <a:gd name="connsiteX1" fmla="*/ 3851275 w 3851275"/>
              <a:gd name="connsiteY1" fmla="*/ 0 h 5157788"/>
              <a:gd name="connsiteX2" fmla="*/ 3851275 w 3851275"/>
              <a:gd name="connsiteY2" fmla="*/ 5157788 h 5157788"/>
              <a:gd name="connsiteX3" fmla="*/ 0 w 3851275"/>
              <a:gd name="connsiteY3" fmla="*/ 5157788 h 5157788"/>
              <a:gd name="connsiteX4" fmla="*/ 0 w 3851275"/>
              <a:gd name="connsiteY4"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0 w 3851275"/>
              <a:gd name="connsiteY3" fmla="*/ 5157788 h 5157788"/>
              <a:gd name="connsiteX4" fmla="*/ 1692275 w 3851275"/>
              <a:gd name="connsiteY4" fmla="*/ 0 h 5157788"/>
              <a:gd name="connsiteX0" fmla="*/ 0 w 2159000"/>
              <a:gd name="connsiteY0" fmla="*/ 0 h 5157788"/>
              <a:gd name="connsiteX1" fmla="*/ 2159000 w 2159000"/>
              <a:gd name="connsiteY1" fmla="*/ 0 h 5157788"/>
              <a:gd name="connsiteX2" fmla="*/ 2159000 w 2159000"/>
              <a:gd name="connsiteY2" fmla="*/ 5157788 h 5157788"/>
              <a:gd name="connsiteX3" fmla="*/ 0 w 2159000"/>
              <a:gd name="connsiteY3" fmla="*/ 5157788 h 5157788"/>
              <a:gd name="connsiteX4" fmla="*/ 0 w 2159000"/>
              <a:gd name="connsiteY4" fmla="*/ 0 h 5157788"/>
              <a:gd name="connsiteX0" fmla="*/ 2625271 w 4784271"/>
              <a:gd name="connsiteY0" fmla="*/ 0 h 5157788"/>
              <a:gd name="connsiteX1" fmla="*/ 4784271 w 4784271"/>
              <a:gd name="connsiteY1" fmla="*/ 0 h 5157788"/>
              <a:gd name="connsiteX2" fmla="*/ 4784271 w 4784271"/>
              <a:gd name="connsiteY2" fmla="*/ 5157788 h 5157788"/>
              <a:gd name="connsiteX3" fmla="*/ 2625271 w 4784271"/>
              <a:gd name="connsiteY3" fmla="*/ 5157788 h 5157788"/>
              <a:gd name="connsiteX4" fmla="*/ 2625271 w 4784271"/>
              <a:gd name="connsiteY4" fmla="*/ 0 h 5157788"/>
              <a:gd name="connsiteX0" fmla="*/ 2625271 w 4784271"/>
              <a:gd name="connsiteY0" fmla="*/ 0 h 5157788"/>
              <a:gd name="connsiteX1" fmla="*/ 4784271 w 4784271"/>
              <a:gd name="connsiteY1" fmla="*/ 0 h 5157788"/>
              <a:gd name="connsiteX2" fmla="*/ 4784271 w 4784271"/>
              <a:gd name="connsiteY2" fmla="*/ 5157788 h 5157788"/>
              <a:gd name="connsiteX3" fmla="*/ 2625271 w 4784271"/>
              <a:gd name="connsiteY3" fmla="*/ 5157788 h 5157788"/>
              <a:gd name="connsiteX4" fmla="*/ 2625271 w 4784271"/>
              <a:gd name="connsiteY4" fmla="*/ 0 h 5157788"/>
              <a:gd name="connsiteX0" fmla="*/ 3568576 w 5727576"/>
              <a:gd name="connsiteY0" fmla="*/ 0 h 5157788"/>
              <a:gd name="connsiteX1" fmla="*/ 5727576 w 5727576"/>
              <a:gd name="connsiteY1" fmla="*/ 0 h 5157788"/>
              <a:gd name="connsiteX2" fmla="*/ 5727576 w 5727576"/>
              <a:gd name="connsiteY2" fmla="*/ 5157788 h 5157788"/>
              <a:gd name="connsiteX3" fmla="*/ 3568576 w 5727576"/>
              <a:gd name="connsiteY3" fmla="*/ 5157788 h 5157788"/>
              <a:gd name="connsiteX4" fmla="*/ 3568576 w 5727576"/>
              <a:gd name="connsiteY4" fmla="*/ 0 h 5157788"/>
              <a:gd name="connsiteX0" fmla="*/ 3306355 w 5465355"/>
              <a:gd name="connsiteY0" fmla="*/ 0 h 5157788"/>
              <a:gd name="connsiteX1" fmla="*/ 5465355 w 5465355"/>
              <a:gd name="connsiteY1" fmla="*/ 0 h 5157788"/>
              <a:gd name="connsiteX2" fmla="*/ 5465355 w 5465355"/>
              <a:gd name="connsiteY2" fmla="*/ 5157788 h 5157788"/>
              <a:gd name="connsiteX3" fmla="*/ 3306355 w 5465355"/>
              <a:gd name="connsiteY3" fmla="*/ 5157788 h 5157788"/>
              <a:gd name="connsiteX4" fmla="*/ 3306355 w 5465355"/>
              <a:gd name="connsiteY4" fmla="*/ 0 h 5157788"/>
              <a:gd name="connsiteX0" fmla="*/ 1416957 w 3575957"/>
              <a:gd name="connsiteY0" fmla="*/ 0 h 5157788"/>
              <a:gd name="connsiteX1" fmla="*/ 3575957 w 3575957"/>
              <a:gd name="connsiteY1" fmla="*/ 0 h 5157788"/>
              <a:gd name="connsiteX2" fmla="*/ 3575957 w 3575957"/>
              <a:gd name="connsiteY2" fmla="*/ 5157788 h 5157788"/>
              <a:gd name="connsiteX3" fmla="*/ 1416957 w 3575957"/>
              <a:gd name="connsiteY3" fmla="*/ 5157788 h 5157788"/>
              <a:gd name="connsiteX4" fmla="*/ 0 w 3575957"/>
              <a:gd name="connsiteY4" fmla="*/ 3339193 h 5157788"/>
              <a:gd name="connsiteX5" fmla="*/ 1416957 w 3575957"/>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6017419"/>
              <a:gd name="connsiteX1" fmla="*/ 3851275 w 3851275"/>
              <a:gd name="connsiteY1" fmla="*/ 0 h 6017419"/>
              <a:gd name="connsiteX2" fmla="*/ 3851275 w 3851275"/>
              <a:gd name="connsiteY2" fmla="*/ 5157788 h 6017419"/>
              <a:gd name="connsiteX3" fmla="*/ 1692275 w 3851275"/>
              <a:gd name="connsiteY3" fmla="*/ 5157788 h 6017419"/>
              <a:gd name="connsiteX4" fmla="*/ 0 w 3851275"/>
              <a:gd name="connsiteY4" fmla="*/ 3284984 h 6017419"/>
              <a:gd name="connsiteX5" fmla="*/ 1692275 w 3851275"/>
              <a:gd name="connsiteY5" fmla="*/ 0 h 6017419"/>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429000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429000 h 5157788"/>
              <a:gd name="connsiteX5" fmla="*/ 1710871 w 3869871"/>
              <a:gd name="connsiteY5" fmla="*/ 0 h 5157788"/>
              <a:gd name="connsiteX0" fmla="*/ 1704975 w 3863975"/>
              <a:gd name="connsiteY0" fmla="*/ 0 h 5157788"/>
              <a:gd name="connsiteX1" fmla="*/ 3863975 w 3863975"/>
              <a:gd name="connsiteY1" fmla="*/ 0 h 5157788"/>
              <a:gd name="connsiteX2" fmla="*/ 3863975 w 3863975"/>
              <a:gd name="connsiteY2" fmla="*/ 5157788 h 5157788"/>
              <a:gd name="connsiteX3" fmla="*/ 1704975 w 3863975"/>
              <a:gd name="connsiteY3" fmla="*/ 5157788 h 5157788"/>
              <a:gd name="connsiteX4" fmla="*/ 12700 w 3863975"/>
              <a:gd name="connsiteY4" fmla="*/ 3429000 h 5157788"/>
              <a:gd name="connsiteX5" fmla="*/ 1704975 w 3863975"/>
              <a:gd name="connsiteY5" fmla="*/ 0 h 5157788"/>
              <a:gd name="connsiteX0" fmla="*/ 1707243 w 3866243"/>
              <a:gd name="connsiteY0" fmla="*/ 0 h 5157788"/>
              <a:gd name="connsiteX1" fmla="*/ 3866243 w 3866243"/>
              <a:gd name="connsiteY1" fmla="*/ 0 h 5157788"/>
              <a:gd name="connsiteX2" fmla="*/ 3866243 w 3866243"/>
              <a:gd name="connsiteY2" fmla="*/ 5157788 h 5157788"/>
              <a:gd name="connsiteX3" fmla="*/ 1707243 w 3866243"/>
              <a:gd name="connsiteY3" fmla="*/ 5157788 h 5157788"/>
              <a:gd name="connsiteX4" fmla="*/ 14968 w 3866243"/>
              <a:gd name="connsiteY4" fmla="*/ 3429000 h 5157788"/>
              <a:gd name="connsiteX5" fmla="*/ 1707243 w 3866243"/>
              <a:gd name="connsiteY5" fmla="*/ 0 h 5157788"/>
              <a:gd name="connsiteX0" fmla="*/ 1130447 w 3866243"/>
              <a:gd name="connsiteY0" fmla="*/ 0 h 5157788"/>
              <a:gd name="connsiteX1" fmla="*/ 3866243 w 3866243"/>
              <a:gd name="connsiteY1" fmla="*/ 0 h 5157788"/>
              <a:gd name="connsiteX2" fmla="*/ 3866243 w 3866243"/>
              <a:gd name="connsiteY2" fmla="*/ 5157788 h 5157788"/>
              <a:gd name="connsiteX3" fmla="*/ 1707243 w 3866243"/>
              <a:gd name="connsiteY3" fmla="*/ 5157788 h 5157788"/>
              <a:gd name="connsiteX4" fmla="*/ 14968 w 3866243"/>
              <a:gd name="connsiteY4" fmla="*/ 3429000 h 5157788"/>
              <a:gd name="connsiteX5" fmla="*/ 1130447 w 3866243"/>
              <a:gd name="connsiteY5" fmla="*/ 0 h 5157788"/>
              <a:gd name="connsiteX0" fmla="*/ 2746143 w 5481939"/>
              <a:gd name="connsiteY0" fmla="*/ 0 h 5157788"/>
              <a:gd name="connsiteX1" fmla="*/ 5481939 w 5481939"/>
              <a:gd name="connsiteY1" fmla="*/ 0 h 5157788"/>
              <a:gd name="connsiteX2" fmla="*/ 5481939 w 5481939"/>
              <a:gd name="connsiteY2" fmla="*/ 5157788 h 5157788"/>
              <a:gd name="connsiteX3" fmla="*/ 585903 w 5481939"/>
              <a:gd name="connsiteY3" fmla="*/ 5153180 h 5157788"/>
              <a:gd name="connsiteX4" fmla="*/ 1630664 w 5481939"/>
              <a:gd name="connsiteY4" fmla="*/ 3429000 h 5157788"/>
              <a:gd name="connsiteX5" fmla="*/ 2746143 w 5481939"/>
              <a:gd name="connsiteY5" fmla="*/ 0 h 5157788"/>
              <a:gd name="connsiteX0" fmla="*/ 2746143 w 5481939"/>
              <a:gd name="connsiteY0" fmla="*/ 0 h 5157788"/>
              <a:gd name="connsiteX1" fmla="*/ 5481939 w 5481939"/>
              <a:gd name="connsiteY1" fmla="*/ 0 h 5157788"/>
              <a:gd name="connsiteX2" fmla="*/ 5481939 w 5481939"/>
              <a:gd name="connsiteY2" fmla="*/ 5157788 h 5157788"/>
              <a:gd name="connsiteX3" fmla="*/ 585903 w 5481939"/>
              <a:gd name="connsiteY3" fmla="*/ 5153180 h 5157788"/>
              <a:gd name="connsiteX4" fmla="*/ 1630664 w 5481939"/>
              <a:gd name="connsiteY4" fmla="*/ 3429000 h 5157788"/>
              <a:gd name="connsiteX5" fmla="*/ 2746143 w 548193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3574235 w 6310031"/>
              <a:gd name="connsiteY0" fmla="*/ 0 h 5157788"/>
              <a:gd name="connsiteX1" fmla="*/ 6310031 w 6310031"/>
              <a:gd name="connsiteY1" fmla="*/ 0 h 5157788"/>
              <a:gd name="connsiteX2" fmla="*/ 6310031 w 6310031"/>
              <a:gd name="connsiteY2" fmla="*/ 5157788 h 5157788"/>
              <a:gd name="connsiteX3" fmla="*/ 585903 w 6310031"/>
              <a:gd name="connsiteY3" fmla="*/ 5153180 h 5157788"/>
              <a:gd name="connsiteX4" fmla="*/ 1738031 w 6310031"/>
              <a:gd name="connsiteY4" fmla="*/ 3389965 h 5157788"/>
              <a:gd name="connsiteX5" fmla="*/ 3574235 w 6310031"/>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296143 w 5724128"/>
              <a:gd name="connsiteY4" fmla="*/ 3461908 h 5157788"/>
              <a:gd name="connsiteX5" fmla="*/ 2988332 w 5724128"/>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1188132 w 5760132"/>
              <a:gd name="connsiteY4" fmla="*/ 3425937 h 5157788"/>
              <a:gd name="connsiteX5" fmla="*/ 3024336 w 5760132"/>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2736304 w 5760132"/>
              <a:gd name="connsiteY4" fmla="*/ 3461908 h 5157788"/>
              <a:gd name="connsiteX5" fmla="*/ 3024336 w 5760132"/>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2736304 w 5760132"/>
              <a:gd name="connsiteY4" fmla="*/ 3461908 h 5157788"/>
              <a:gd name="connsiteX5" fmla="*/ 3024336 w 5760132"/>
              <a:gd name="connsiteY5" fmla="*/ 0 h 5157788"/>
              <a:gd name="connsiteX0" fmla="*/ 2160240 w 4896036"/>
              <a:gd name="connsiteY0" fmla="*/ 0 h 5157788"/>
              <a:gd name="connsiteX1" fmla="*/ 4896036 w 4896036"/>
              <a:gd name="connsiteY1" fmla="*/ 0 h 5157788"/>
              <a:gd name="connsiteX2" fmla="*/ 4896036 w 4896036"/>
              <a:gd name="connsiteY2" fmla="*/ 5157788 h 5157788"/>
              <a:gd name="connsiteX3" fmla="*/ 0 w 4896036"/>
              <a:gd name="connsiteY3" fmla="*/ 5153180 h 5157788"/>
              <a:gd name="connsiteX4" fmla="*/ 1872208 w 4896036"/>
              <a:gd name="connsiteY4" fmla="*/ 3461908 h 5157788"/>
              <a:gd name="connsiteX5" fmla="*/ 2160240 w 4896036"/>
              <a:gd name="connsiteY5" fmla="*/ 0 h 5157788"/>
              <a:gd name="connsiteX0" fmla="*/ 2232248 w 4968044"/>
              <a:gd name="connsiteY0" fmla="*/ 0 h 5157788"/>
              <a:gd name="connsiteX1" fmla="*/ 4968044 w 4968044"/>
              <a:gd name="connsiteY1" fmla="*/ 0 h 5157788"/>
              <a:gd name="connsiteX2" fmla="*/ 4968044 w 4968044"/>
              <a:gd name="connsiteY2" fmla="*/ 5157788 h 5157788"/>
              <a:gd name="connsiteX3" fmla="*/ 0 w 4968044"/>
              <a:gd name="connsiteY3" fmla="*/ 5153180 h 5157788"/>
              <a:gd name="connsiteX4" fmla="*/ 1944216 w 4968044"/>
              <a:gd name="connsiteY4" fmla="*/ 3461908 h 5157788"/>
              <a:gd name="connsiteX5" fmla="*/ 2232248 w 4968044"/>
              <a:gd name="connsiteY5" fmla="*/ 0 h 5157788"/>
              <a:gd name="connsiteX0" fmla="*/ 2207679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207679 w 4943475"/>
              <a:gd name="connsiteY5" fmla="*/ 0 h 5157788"/>
              <a:gd name="connsiteX0" fmla="*/ 2963763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963763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092200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71575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343583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675731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675731 w 4943475"/>
              <a:gd name="connsiteY5" fmla="*/ 0 h 5157788"/>
              <a:gd name="connsiteX0" fmla="*/ 2675731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675731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9672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19672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51412" h="5157788">
                <a:moveTo>
                  <a:pt x="2706687" y="0"/>
                </a:moveTo>
                <a:lnTo>
                  <a:pt x="4951412" y="0"/>
                </a:lnTo>
                <a:lnTo>
                  <a:pt x="4951412" y="5157788"/>
                </a:lnTo>
                <a:lnTo>
                  <a:pt x="0" y="5153180"/>
                </a:lnTo>
                <a:cubicBezTo>
                  <a:pt x="84411" y="4542509"/>
                  <a:pt x="183041" y="4024723"/>
                  <a:pt x="1243508" y="2562613"/>
                </a:cubicBezTo>
                <a:cubicBezTo>
                  <a:pt x="1867447" y="1704780"/>
                  <a:pt x="2665955" y="709265"/>
                  <a:pt x="2706687" y="0"/>
                </a:cubicBezTo>
                <a:close/>
              </a:path>
            </a:pathLst>
          </a:custGeom>
          <a:solidFill>
            <a:schemeClr val="bg2"/>
          </a:solidFill>
          <a:ln w="3175">
            <a:noFill/>
          </a:ln>
        </p:spPr>
        <p:txBody>
          <a:bodyPr tIns="720000" anchor="ctr" anchorCtr="0"/>
          <a:lstStyle>
            <a:lvl1pPr algn="ctr">
              <a:defRPr sz="1500">
                <a:solidFill>
                  <a:schemeClr val="bg1"/>
                </a:solidFill>
              </a:defRPr>
            </a:lvl1pPr>
          </a:lstStyle>
          <a:p>
            <a:r>
              <a:rPr lang="en-US" noProof="0"/>
              <a:t>Select your own photo</a:t>
            </a:r>
          </a:p>
        </p:txBody>
      </p:sp>
      <p:sp>
        <p:nvSpPr>
          <p:cNvPr id="19" name="Rectangle 18"/>
          <p:cNvSpPr/>
          <p:nvPr userDrawn="1"/>
        </p:nvSpPr>
        <p:spPr bwMode="gray">
          <a:xfrm>
            <a:off x="468313" y="3391895"/>
            <a:ext cx="2448000" cy="252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Tree>
    <p:extLst>
      <p:ext uri="{BB962C8B-B14F-4D97-AF65-F5344CB8AC3E}">
        <p14:creationId xmlns:p14="http://schemas.microsoft.com/office/powerpoint/2010/main" val="93812863"/>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Chapter_Layout">
    <p:spTree>
      <p:nvGrpSpPr>
        <p:cNvPr id="1" name=""/>
        <p:cNvGrpSpPr/>
        <p:nvPr/>
      </p:nvGrpSpPr>
      <p:grpSpPr>
        <a:xfrm>
          <a:off x="0" y="0"/>
          <a:ext cx="0" cy="0"/>
          <a:chOff x="0" y="0"/>
          <a:chExt cx="0" cy="0"/>
        </a:xfrm>
      </p:grpSpPr>
      <p:pic>
        <p:nvPicPr>
          <p:cNvPr id="18" name="Image 17" descr="FD_03_chap_110x190,5.png"/>
          <p:cNvPicPr>
            <a:picLocks noChangeAspect="1"/>
          </p:cNvPicPr>
          <p:nvPr userDrawn="1"/>
        </p:nvPicPr>
        <p:blipFill>
          <a:blip r:embed="rId2" cstate="print"/>
          <a:stretch>
            <a:fillRect/>
          </a:stretch>
        </p:blipFill>
        <p:spPr bwMode="gray">
          <a:xfrm>
            <a:off x="0" y="0"/>
            <a:ext cx="3959352" cy="6858000"/>
          </a:xfrm>
          <a:prstGeom prst="rect">
            <a:avLst/>
          </a:prstGeom>
        </p:spPr>
      </p:pic>
      <p:sp>
        <p:nvSpPr>
          <p:cNvPr id="2" name="Titre 1"/>
          <p:cNvSpPr>
            <a:spLocks noGrp="1"/>
          </p:cNvSpPr>
          <p:nvPr>
            <p:ph type="title" hasCustomPrompt="1"/>
          </p:nvPr>
        </p:nvSpPr>
        <p:spPr bwMode="gray">
          <a:xfrm>
            <a:off x="3635374" y="1036638"/>
            <a:ext cx="4645025" cy="1268759"/>
          </a:xfrm>
        </p:spPr>
        <p:txBody>
          <a:bodyPr/>
          <a:lstStyle/>
          <a:p>
            <a:r>
              <a:rPr lang="en-US" noProof="0"/>
              <a:t>TITLE</a:t>
            </a:r>
          </a:p>
        </p:txBody>
      </p:sp>
      <p:sp>
        <p:nvSpPr>
          <p:cNvPr id="10" name="Espace réservé du texte 9"/>
          <p:cNvSpPr>
            <a:spLocks noGrp="1"/>
          </p:cNvSpPr>
          <p:nvPr>
            <p:ph type="body" sz="quarter" idx="13" hasCustomPrompt="1"/>
          </p:nvPr>
        </p:nvSpPr>
        <p:spPr bwMode="gray">
          <a:xfrm>
            <a:off x="3635375" y="2574000"/>
            <a:ext cx="4645025" cy="3447388"/>
          </a:xfrm>
        </p:spPr>
        <p:txBody>
          <a:bodyPr/>
          <a:lstStyle/>
          <a:p>
            <a:pPr lvl="0"/>
            <a:r>
              <a:rPr lang="en-US" noProof="0"/>
              <a:t>Text level 1</a:t>
            </a:r>
          </a:p>
          <a:p>
            <a:pPr lvl="1"/>
            <a:r>
              <a:rPr lang="en-US" noProof="0"/>
              <a:t>Text level 2</a:t>
            </a:r>
          </a:p>
          <a:p>
            <a:pPr lvl="2"/>
            <a:r>
              <a:rPr lang="en-US" noProof="0"/>
              <a:t>Text level 3</a:t>
            </a:r>
          </a:p>
          <a:p>
            <a:pPr lvl="3"/>
            <a:r>
              <a:rPr lang="en-US" noProof="0"/>
              <a:t>Text level 4</a:t>
            </a:r>
          </a:p>
          <a:p>
            <a:pPr lvl="4"/>
            <a:r>
              <a:rPr lang="en-US" noProof="0"/>
              <a:t>Text level 5</a:t>
            </a:r>
          </a:p>
        </p:txBody>
      </p:sp>
      <p:sp>
        <p:nvSpPr>
          <p:cNvPr id="14" name="Espace réservé du texte 9"/>
          <p:cNvSpPr>
            <a:spLocks noGrp="1"/>
          </p:cNvSpPr>
          <p:nvPr>
            <p:ph type="body" sz="quarter" idx="14" hasCustomPrompt="1"/>
          </p:nvPr>
        </p:nvSpPr>
        <p:spPr bwMode="gray">
          <a:xfrm>
            <a:off x="0" y="139974"/>
            <a:ext cx="2628000" cy="5017814"/>
          </a:xfrm>
        </p:spPr>
        <p:txBody>
          <a:bodyPr/>
          <a:lstStyle>
            <a:lvl1pPr algn="r">
              <a:defRPr sz="16600" b="1">
                <a:solidFill>
                  <a:schemeClr val="bg1"/>
                </a:solidFill>
              </a:defRPr>
            </a:lvl1pPr>
          </a:lstStyle>
          <a:p>
            <a:pPr lvl="0"/>
            <a:r>
              <a:rPr lang="en-US" noProof="0"/>
              <a:t>0</a:t>
            </a:r>
          </a:p>
        </p:txBody>
      </p:sp>
      <p:sp>
        <p:nvSpPr>
          <p:cNvPr id="11" name="Espace réservé de la date 10"/>
          <p:cNvSpPr>
            <a:spLocks noGrp="1"/>
          </p:cNvSpPr>
          <p:nvPr>
            <p:ph type="dt" sz="half" idx="15"/>
          </p:nvPr>
        </p:nvSpPr>
        <p:spPr bwMode="gray"/>
        <p:txBody>
          <a:bodyPr/>
          <a:lstStyle/>
          <a:p>
            <a:r>
              <a:rPr lang="en-US">
                <a:solidFill>
                  <a:prstClr val="white">
                    <a:alpha val="0"/>
                  </a:prstClr>
                </a:solidFill>
              </a:rPr>
              <a:t>Date</a:t>
            </a:r>
          </a:p>
        </p:txBody>
      </p:sp>
      <p:sp>
        <p:nvSpPr>
          <p:cNvPr id="12" name="Espace réservé du numéro de diapositive 11"/>
          <p:cNvSpPr>
            <a:spLocks noGrp="1"/>
          </p:cNvSpPr>
          <p:nvPr>
            <p:ph type="sldNum" sz="quarter" idx="16"/>
          </p:nvPr>
        </p:nvSpPr>
        <p:spPr bwMode="gray"/>
        <p:txBody>
          <a:bodyPr/>
          <a:lstStyle/>
          <a:p>
            <a:fld id="{733122C9-A0B9-462F-8757-0847AD287B63}" type="slidenum">
              <a:rPr lang="en-US" smtClean="0">
                <a:solidFill>
                  <a:srgbClr val="343434"/>
                </a:solidFill>
              </a:rPr>
              <a:pPr/>
              <a:t>‹#›</a:t>
            </a:fld>
            <a:endParaRPr lang="en-US">
              <a:solidFill>
                <a:srgbClr val="343434"/>
              </a:solidFill>
            </a:endParaRPr>
          </a:p>
        </p:txBody>
      </p:sp>
      <p:sp>
        <p:nvSpPr>
          <p:cNvPr id="13" name="Espace réservé du pied de page 12"/>
          <p:cNvSpPr>
            <a:spLocks noGrp="1"/>
          </p:cNvSpPr>
          <p:nvPr>
            <p:ph type="ftr" sz="quarter" idx="17"/>
          </p:nvPr>
        </p:nvSpPr>
        <p:spPr bwMode="gray"/>
        <p:txBody>
          <a:bodyPr/>
          <a:lstStyle/>
          <a:p>
            <a:r>
              <a:rPr lang="en-US">
                <a:solidFill>
                  <a:srgbClr val="005CB9"/>
                </a:solidFill>
              </a:rPr>
              <a:t>#add your hashtag</a:t>
            </a:r>
          </a:p>
        </p:txBody>
      </p:sp>
      <p:sp>
        <p:nvSpPr>
          <p:cNvPr id="16" name="Rectangle 15"/>
          <p:cNvSpPr/>
          <p:nvPr userDrawn="1"/>
        </p:nvSpPr>
        <p:spPr bwMode="gray">
          <a:xfrm>
            <a:off x="3636000" y="2377741"/>
            <a:ext cx="1583668" cy="252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Tree>
    <p:extLst>
      <p:ext uri="{BB962C8B-B14F-4D97-AF65-F5344CB8AC3E}">
        <p14:creationId xmlns:p14="http://schemas.microsoft.com/office/powerpoint/2010/main" val="616369626"/>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Picture&amp;Content_Layout">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p:txBody>
          <a:bodyPr/>
          <a:lstStyle/>
          <a:p>
            <a:r>
              <a:rPr lang="en-US" noProof="0"/>
              <a:t>TITLE</a:t>
            </a:r>
          </a:p>
        </p:txBody>
      </p:sp>
      <p:sp>
        <p:nvSpPr>
          <p:cNvPr id="3" name="Espace réservé du contenu 2"/>
          <p:cNvSpPr>
            <a:spLocks noGrp="1"/>
          </p:cNvSpPr>
          <p:nvPr>
            <p:ph idx="1" hasCustomPrompt="1"/>
          </p:nvPr>
        </p:nvSpPr>
        <p:spPr bwMode="gray">
          <a:xfrm>
            <a:off x="3635896" y="1304925"/>
            <a:ext cx="4644504" cy="4716463"/>
          </a:xfrm>
        </p:spPr>
        <p:txBody>
          <a:bodyPr/>
          <a:lstStyle>
            <a:lvl2pPr>
              <a:defRPr/>
            </a:lvl2pPr>
            <a:lvl3pPr>
              <a:defRPr/>
            </a:lvl3pPr>
            <a:lvl4pPr>
              <a:defRPr baseline="0"/>
            </a:lvl4pPr>
            <a:lvl5pPr>
              <a:defRPr/>
            </a:lvl5pPr>
          </a:lstStyle>
          <a:p>
            <a:pPr lvl="0"/>
            <a:r>
              <a:rPr lang="en-US" noProof="0"/>
              <a:t>Text level 1</a:t>
            </a:r>
          </a:p>
          <a:p>
            <a:pPr lvl="1"/>
            <a:r>
              <a:rPr lang="en-US" noProof="0"/>
              <a:t>Text level 2</a:t>
            </a:r>
          </a:p>
          <a:p>
            <a:pPr lvl="2"/>
            <a:r>
              <a:rPr lang="en-US" noProof="0"/>
              <a:t>Text level 3</a:t>
            </a:r>
          </a:p>
          <a:p>
            <a:pPr lvl="3"/>
            <a:r>
              <a:rPr lang="en-US" noProof="0"/>
              <a:t>Text level 4</a:t>
            </a:r>
          </a:p>
          <a:p>
            <a:pPr lvl="4"/>
            <a:r>
              <a:rPr lang="en-US" noProof="0"/>
              <a:t>Text level 5</a:t>
            </a:r>
          </a:p>
        </p:txBody>
      </p:sp>
      <p:sp>
        <p:nvSpPr>
          <p:cNvPr id="9" name="Espace réservé pour une image  8"/>
          <p:cNvSpPr>
            <a:spLocks noGrp="1"/>
          </p:cNvSpPr>
          <p:nvPr>
            <p:ph type="pic" sz="quarter" idx="13" hasCustomPrompt="1"/>
          </p:nvPr>
        </p:nvSpPr>
        <p:spPr bwMode="gray">
          <a:xfrm>
            <a:off x="0" y="1341438"/>
            <a:ext cx="3419038" cy="4679950"/>
          </a:xfrm>
        </p:spPr>
        <p:txBody>
          <a:bodyPr tIns="1008000" anchor="ctr" anchorCtr="0"/>
          <a:lstStyle>
            <a:lvl1pPr algn="ctr">
              <a:defRPr/>
            </a:lvl1pPr>
          </a:lstStyle>
          <a:p>
            <a:r>
              <a:rPr lang="en-US" noProof="0"/>
              <a:t>Select your own photo</a:t>
            </a:r>
          </a:p>
        </p:txBody>
      </p:sp>
      <p:sp>
        <p:nvSpPr>
          <p:cNvPr id="8" name="Espace réservé de la date 7"/>
          <p:cNvSpPr>
            <a:spLocks noGrp="1"/>
          </p:cNvSpPr>
          <p:nvPr>
            <p:ph type="dt" sz="half" idx="14"/>
          </p:nvPr>
        </p:nvSpPr>
        <p:spPr bwMode="gray"/>
        <p:txBody>
          <a:bodyPr/>
          <a:lstStyle/>
          <a:p>
            <a:r>
              <a:rPr lang="en-US">
                <a:solidFill>
                  <a:prstClr val="white">
                    <a:alpha val="0"/>
                  </a:prstClr>
                </a:solidFill>
              </a:rPr>
              <a:t>Date</a:t>
            </a:r>
          </a:p>
        </p:txBody>
      </p:sp>
      <p:sp>
        <p:nvSpPr>
          <p:cNvPr id="11" name="Espace réservé du numéro de diapositive 10"/>
          <p:cNvSpPr>
            <a:spLocks noGrp="1"/>
          </p:cNvSpPr>
          <p:nvPr>
            <p:ph type="sldNum" sz="quarter" idx="15"/>
          </p:nvPr>
        </p:nvSpPr>
        <p:spPr bwMode="gray"/>
        <p:txBody>
          <a:bodyPr/>
          <a:lstStyle/>
          <a:p>
            <a:fld id="{733122C9-A0B9-462F-8757-0847AD287B63}" type="slidenum">
              <a:rPr lang="en-US" smtClean="0">
                <a:solidFill>
                  <a:srgbClr val="343434"/>
                </a:solidFill>
              </a:rPr>
              <a:pPr/>
              <a:t>‹#›</a:t>
            </a:fld>
            <a:endParaRPr lang="en-US">
              <a:solidFill>
                <a:srgbClr val="343434"/>
              </a:solidFill>
            </a:endParaRPr>
          </a:p>
        </p:txBody>
      </p:sp>
      <p:sp>
        <p:nvSpPr>
          <p:cNvPr id="12" name="Espace réservé du pied de page 11"/>
          <p:cNvSpPr>
            <a:spLocks noGrp="1"/>
          </p:cNvSpPr>
          <p:nvPr>
            <p:ph type="ftr" sz="quarter" idx="16"/>
          </p:nvPr>
        </p:nvSpPr>
        <p:spPr bwMode="gray"/>
        <p:txBody>
          <a:bodyPr/>
          <a:lstStyle/>
          <a:p>
            <a:r>
              <a:rPr lang="en-US">
                <a:solidFill>
                  <a:srgbClr val="005CB9"/>
                </a:solidFill>
              </a:rPr>
              <a:t>#add your hashtag</a:t>
            </a:r>
          </a:p>
        </p:txBody>
      </p:sp>
    </p:spTree>
    <p:extLst>
      <p:ext uri="{BB962C8B-B14F-4D97-AF65-F5344CB8AC3E}">
        <p14:creationId xmlns:p14="http://schemas.microsoft.com/office/powerpoint/2010/main" val="863525477"/>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2_Contents_Layout">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p:txBody>
          <a:bodyPr/>
          <a:lstStyle/>
          <a:p>
            <a:r>
              <a:rPr lang="en-US" noProof="0"/>
              <a:t>TITLE</a:t>
            </a:r>
          </a:p>
        </p:txBody>
      </p:sp>
      <p:sp>
        <p:nvSpPr>
          <p:cNvPr id="3" name="Espace réservé du contenu 2"/>
          <p:cNvSpPr>
            <a:spLocks noGrp="1"/>
          </p:cNvSpPr>
          <p:nvPr>
            <p:ph idx="1" hasCustomPrompt="1"/>
          </p:nvPr>
        </p:nvSpPr>
        <p:spPr bwMode="gray">
          <a:xfrm>
            <a:off x="935038" y="1304925"/>
            <a:ext cx="3564000" cy="4716463"/>
          </a:xfrm>
        </p:spPr>
        <p:txBody>
          <a:bodyPr/>
          <a:lstStyle>
            <a:lvl2pPr>
              <a:defRPr/>
            </a:lvl2pPr>
            <a:lvl3pPr>
              <a:defRPr/>
            </a:lvl3pPr>
            <a:lvl4pPr>
              <a:defRPr baseline="0"/>
            </a:lvl4pPr>
            <a:lvl5pPr>
              <a:defRPr/>
            </a:lvl5pPr>
          </a:lstStyle>
          <a:p>
            <a:pPr lvl="0"/>
            <a:r>
              <a:rPr lang="en-US" noProof="0"/>
              <a:t>Text level 1</a:t>
            </a:r>
          </a:p>
          <a:p>
            <a:pPr lvl="1"/>
            <a:r>
              <a:rPr lang="en-US" noProof="0"/>
              <a:t>Text level 2</a:t>
            </a:r>
          </a:p>
          <a:p>
            <a:pPr lvl="2"/>
            <a:r>
              <a:rPr lang="en-US" noProof="0"/>
              <a:t>Text level 3</a:t>
            </a:r>
          </a:p>
          <a:p>
            <a:pPr lvl="3"/>
            <a:r>
              <a:rPr lang="en-US" noProof="0"/>
              <a:t>Text level 4</a:t>
            </a:r>
          </a:p>
          <a:p>
            <a:pPr lvl="4"/>
            <a:r>
              <a:rPr lang="en-US" noProof="0"/>
              <a:t>Text level 5</a:t>
            </a:r>
          </a:p>
        </p:txBody>
      </p:sp>
      <p:sp>
        <p:nvSpPr>
          <p:cNvPr id="7" name="Espace réservé de la date 6"/>
          <p:cNvSpPr>
            <a:spLocks noGrp="1"/>
          </p:cNvSpPr>
          <p:nvPr>
            <p:ph type="dt" sz="half" idx="10"/>
          </p:nvPr>
        </p:nvSpPr>
        <p:spPr bwMode="gray"/>
        <p:txBody>
          <a:bodyPr/>
          <a:lstStyle/>
          <a:p>
            <a:r>
              <a:rPr lang="en-US">
                <a:solidFill>
                  <a:prstClr val="white">
                    <a:alpha val="0"/>
                  </a:prstClr>
                </a:solidFill>
              </a:rPr>
              <a:t>Date</a:t>
            </a:r>
          </a:p>
        </p:txBody>
      </p:sp>
      <p:sp>
        <p:nvSpPr>
          <p:cNvPr id="8" name="Espace réservé du numéro de diapositive 7"/>
          <p:cNvSpPr>
            <a:spLocks noGrp="1"/>
          </p:cNvSpPr>
          <p:nvPr>
            <p:ph type="sldNum" sz="quarter" idx="11"/>
          </p:nvPr>
        </p:nvSpPr>
        <p:spPr bwMode="gray"/>
        <p:txBody>
          <a:bodyPr/>
          <a:lstStyle/>
          <a:p>
            <a:fld id="{733122C9-A0B9-462F-8757-0847AD287B63}" type="slidenum">
              <a:rPr lang="en-US" smtClean="0">
                <a:solidFill>
                  <a:srgbClr val="343434"/>
                </a:solidFill>
              </a:rPr>
              <a:pPr/>
              <a:t>‹#›</a:t>
            </a:fld>
            <a:endParaRPr lang="en-US">
              <a:solidFill>
                <a:srgbClr val="343434"/>
              </a:solidFill>
            </a:endParaRPr>
          </a:p>
        </p:txBody>
      </p:sp>
      <p:sp>
        <p:nvSpPr>
          <p:cNvPr id="11" name="Espace réservé du pied de page 10"/>
          <p:cNvSpPr>
            <a:spLocks noGrp="1"/>
          </p:cNvSpPr>
          <p:nvPr>
            <p:ph type="ftr" sz="quarter" idx="12"/>
          </p:nvPr>
        </p:nvSpPr>
        <p:spPr bwMode="gray"/>
        <p:txBody>
          <a:bodyPr/>
          <a:lstStyle/>
          <a:p>
            <a:r>
              <a:rPr lang="en-US">
                <a:solidFill>
                  <a:srgbClr val="005CB9"/>
                </a:solidFill>
              </a:rPr>
              <a:t>#add your hashtag</a:t>
            </a:r>
          </a:p>
        </p:txBody>
      </p:sp>
      <p:sp>
        <p:nvSpPr>
          <p:cNvPr id="9" name="Espace réservé du contenu 2"/>
          <p:cNvSpPr>
            <a:spLocks noGrp="1"/>
          </p:cNvSpPr>
          <p:nvPr>
            <p:ph idx="13" hasCustomPrompt="1"/>
          </p:nvPr>
        </p:nvSpPr>
        <p:spPr bwMode="gray">
          <a:xfrm>
            <a:off x="4716400" y="1304925"/>
            <a:ext cx="3564000" cy="4716463"/>
          </a:xfrm>
        </p:spPr>
        <p:txBody>
          <a:bodyPr/>
          <a:lstStyle>
            <a:lvl2pPr>
              <a:defRPr/>
            </a:lvl2pPr>
            <a:lvl3pPr>
              <a:defRPr/>
            </a:lvl3pPr>
            <a:lvl4pPr>
              <a:defRPr baseline="0"/>
            </a:lvl4pPr>
            <a:lvl5pPr>
              <a:defRPr/>
            </a:lvl5pPr>
          </a:lstStyle>
          <a:p>
            <a:pPr lvl="0"/>
            <a:r>
              <a:rPr lang="en-US" noProof="0"/>
              <a:t>Text level 1</a:t>
            </a:r>
          </a:p>
          <a:p>
            <a:pPr lvl="1"/>
            <a:r>
              <a:rPr lang="en-US" noProof="0"/>
              <a:t>Text level 2</a:t>
            </a:r>
          </a:p>
          <a:p>
            <a:pPr lvl="2"/>
            <a:r>
              <a:rPr lang="en-US" noProof="0"/>
              <a:t>Text level 3</a:t>
            </a:r>
          </a:p>
          <a:p>
            <a:pPr lvl="3"/>
            <a:r>
              <a:rPr lang="en-US" noProof="0"/>
              <a:t>Text level 4</a:t>
            </a:r>
          </a:p>
          <a:p>
            <a:pPr lvl="4"/>
            <a:r>
              <a:rPr lang="en-US" noProof="0"/>
              <a:t>Text level 5</a:t>
            </a:r>
          </a:p>
        </p:txBody>
      </p:sp>
    </p:spTree>
    <p:extLst>
      <p:ext uri="{BB962C8B-B14F-4D97-AF65-F5344CB8AC3E}">
        <p14:creationId xmlns:p14="http://schemas.microsoft.com/office/powerpoint/2010/main" val="2050355381"/>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ext&amp;Content_Layout">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p:txBody>
          <a:bodyPr/>
          <a:lstStyle/>
          <a:p>
            <a:r>
              <a:rPr lang="en-US" noProof="0"/>
              <a:t>TITLE</a:t>
            </a:r>
          </a:p>
        </p:txBody>
      </p:sp>
      <p:sp>
        <p:nvSpPr>
          <p:cNvPr id="3" name="Espace réservé du contenu 2"/>
          <p:cNvSpPr>
            <a:spLocks noGrp="1"/>
          </p:cNvSpPr>
          <p:nvPr>
            <p:ph idx="1" hasCustomPrompt="1"/>
          </p:nvPr>
        </p:nvSpPr>
        <p:spPr bwMode="gray">
          <a:xfrm>
            <a:off x="935038" y="2781388"/>
            <a:ext cx="7345362" cy="3240000"/>
          </a:xfrm>
        </p:spPr>
        <p:txBody>
          <a:bodyPr/>
          <a:lstStyle>
            <a:lvl2pPr>
              <a:defRPr/>
            </a:lvl2pPr>
            <a:lvl3pPr>
              <a:defRPr/>
            </a:lvl3pPr>
            <a:lvl4pPr>
              <a:defRPr baseline="0"/>
            </a:lvl4pPr>
            <a:lvl5pPr>
              <a:defRPr/>
            </a:lvl5pPr>
          </a:lstStyle>
          <a:p>
            <a:pPr lvl="0"/>
            <a:r>
              <a:rPr lang="en-US" noProof="0"/>
              <a:t>Text level 1</a:t>
            </a:r>
          </a:p>
          <a:p>
            <a:pPr lvl="1"/>
            <a:r>
              <a:rPr lang="en-US" noProof="0"/>
              <a:t>Text level 2</a:t>
            </a:r>
          </a:p>
          <a:p>
            <a:pPr lvl="2"/>
            <a:r>
              <a:rPr lang="en-US" noProof="0"/>
              <a:t>Text level 3</a:t>
            </a:r>
          </a:p>
          <a:p>
            <a:pPr lvl="3"/>
            <a:r>
              <a:rPr lang="en-US" noProof="0"/>
              <a:t>Text level 4</a:t>
            </a:r>
          </a:p>
          <a:p>
            <a:pPr lvl="4"/>
            <a:r>
              <a:rPr lang="en-US" noProof="0"/>
              <a:t>Text level 5</a:t>
            </a:r>
          </a:p>
        </p:txBody>
      </p:sp>
      <p:sp>
        <p:nvSpPr>
          <p:cNvPr id="10" name="Espace réservé du texte 9"/>
          <p:cNvSpPr>
            <a:spLocks noGrp="1"/>
          </p:cNvSpPr>
          <p:nvPr>
            <p:ph type="body" sz="quarter" idx="13" hasCustomPrompt="1"/>
          </p:nvPr>
        </p:nvSpPr>
        <p:spPr bwMode="gray">
          <a:xfrm>
            <a:off x="935038" y="1304924"/>
            <a:ext cx="7345362" cy="1260000"/>
          </a:xfrm>
        </p:spPr>
        <p:txBody>
          <a:bodyPr/>
          <a:lstStyle/>
          <a:p>
            <a:pPr lvl="0"/>
            <a:r>
              <a:rPr lang="en-US" noProof="0"/>
              <a:t>Text level 1</a:t>
            </a:r>
          </a:p>
          <a:p>
            <a:pPr lvl="1"/>
            <a:r>
              <a:rPr lang="en-US" noProof="0"/>
              <a:t>Text level 2</a:t>
            </a:r>
          </a:p>
          <a:p>
            <a:pPr lvl="2"/>
            <a:r>
              <a:rPr lang="en-US" noProof="0"/>
              <a:t>Text level 3</a:t>
            </a:r>
          </a:p>
          <a:p>
            <a:pPr lvl="3"/>
            <a:r>
              <a:rPr lang="en-US" noProof="0"/>
              <a:t>Text level 4</a:t>
            </a:r>
          </a:p>
          <a:p>
            <a:pPr lvl="4"/>
            <a:r>
              <a:rPr lang="en-US" noProof="0"/>
              <a:t>Text level 5</a:t>
            </a:r>
          </a:p>
        </p:txBody>
      </p:sp>
      <p:sp>
        <p:nvSpPr>
          <p:cNvPr id="8" name="Espace réservé de la date 7"/>
          <p:cNvSpPr>
            <a:spLocks noGrp="1"/>
          </p:cNvSpPr>
          <p:nvPr>
            <p:ph type="dt" sz="half" idx="14"/>
          </p:nvPr>
        </p:nvSpPr>
        <p:spPr bwMode="gray"/>
        <p:txBody>
          <a:bodyPr/>
          <a:lstStyle/>
          <a:p>
            <a:r>
              <a:rPr lang="en-US">
                <a:solidFill>
                  <a:prstClr val="white">
                    <a:alpha val="0"/>
                  </a:prstClr>
                </a:solidFill>
              </a:rPr>
              <a:t>Date</a:t>
            </a:r>
          </a:p>
        </p:txBody>
      </p:sp>
      <p:sp>
        <p:nvSpPr>
          <p:cNvPr id="9" name="Espace réservé du numéro de diapositive 8"/>
          <p:cNvSpPr>
            <a:spLocks noGrp="1"/>
          </p:cNvSpPr>
          <p:nvPr>
            <p:ph type="sldNum" sz="quarter" idx="15"/>
          </p:nvPr>
        </p:nvSpPr>
        <p:spPr bwMode="gray"/>
        <p:txBody>
          <a:bodyPr/>
          <a:lstStyle/>
          <a:p>
            <a:fld id="{733122C9-A0B9-462F-8757-0847AD287B63}" type="slidenum">
              <a:rPr lang="en-US" smtClean="0">
                <a:solidFill>
                  <a:srgbClr val="343434"/>
                </a:solidFill>
              </a:rPr>
              <a:pPr/>
              <a:t>‹#›</a:t>
            </a:fld>
            <a:endParaRPr lang="en-US">
              <a:solidFill>
                <a:srgbClr val="343434"/>
              </a:solidFill>
            </a:endParaRPr>
          </a:p>
        </p:txBody>
      </p:sp>
      <p:sp>
        <p:nvSpPr>
          <p:cNvPr id="11" name="Espace réservé du pied de page 10"/>
          <p:cNvSpPr>
            <a:spLocks noGrp="1"/>
          </p:cNvSpPr>
          <p:nvPr>
            <p:ph type="ftr" sz="quarter" idx="16"/>
          </p:nvPr>
        </p:nvSpPr>
        <p:spPr bwMode="gray"/>
        <p:txBody>
          <a:bodyPr/>
          <a:lstStyle/>
          <a:p>
            <a:r>
              <a:rPr lang="en-US">
                <a:solidFill>
                  <a:srgbClr val="005CB9"/>
                </a:solidFill>
              </a:rPr>
              <a:t>#add your hashtag</a:t>
            </a:r>
          </a:p>
        </p:txBody>
      </p:sp>
    </p:spTree>
    <p:extLst>
      <p:ext uri="{BB962C8B-B14F-4D97-AF65-F5344CB8AC3E}">
        <p14:creationId xmlns:p14="http://schemas.microsoft.com/office/powerpoint/2010/main" val="1536076502"/>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ext&amp;Content&amp;Picture_Layout">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p:txBody>
          <a:bodyPr/>
          <a:lstStyle/>
          <a:p>
            <a:r>
              <a:rPr lang="en-US" noProof="0"/>
              <a:t>TITLE</a:t>
            </a:r>
          </a:p>
        </p:txBody>
      </p:sp>
      <p:sp>
        <p:nvSpPr>
          <p:cNvPr id="3" name="Espace réservé du contenu 2"/>
          <p:cNvSpPr>
            <a:spLocks noGrp="1"/>
          </p:cNvSpPr>
          <p:nvPr>
            <p:ph idx="1" hasCustomPrompt="1"/>
          </p:nvPr>
        </p:nvSpPr>
        <p:spPr bwMode="gray">
          <a:xfrm>
            <a:off x="935038" y="2781388"/>
            <a:ext cx="4392000" cy="3240000"/>
          </a:xfrm>
        </p:spPr>
        <p:txBody>
          <a:bodyPr/>
          <a:lstStyle>
            <a:lvl2pPr>
              <a:defRPr/>
            </a:lvl2pPr>
            <a:lvl3pPr>
              <a:defRPr/>
            </a:lvl3pPr>
            <a:lvl4pPr>
              <a:defRPr baseline="0"/>
            </a:lvl4pPr>
            <a:lvl5pPr>
              <a:defRPr/>
            </a:lvl5pPr>
          </a:lstStyle>
          <a:p>
            <a:pPr lvl="0"/>
            <a:r>
              <a:rPr lang="en-US" noProof="0"/>
              <a:t>Text level 1</a:t>
            </a:r>
          </a:p>
          <a:p>
            <a:pPr lvl="1"/>
            <a:r>
              <a:rPr lang="en-US" noProof="0"/>
              <a:t>Text level 2</a:t>
            </a:r>
          </a:p>
          <a:p>
            <a:pPr lvl="2"/>
            <a:r>
              <a:rPr lang="en-US" noProof="0"/>
              <a:t>Text level 3</a:t>
            </a:r>
          </a:p>
          <a:p>
            <a:pPr lvl="3"/>
            <a:r>
              <a:rPr lang="en-US" noProof="0"/>
              <a:t>Text level 4</a:t>
            </a:r>
          </a:p>
          <a:p>
            <a:pPr lvl="4"/>
            <a:r>
              <a:rPr lang="en-US" noProof="0"/>
              <a:t>Text level 5</a:t>
            </a:r>
          </a:p>
        </p:txBody>
      </p:sp>
      <p:sp>
        <p:nvSpPr>
          <p:cNvPr id="10" name="Espace réservé du texte 9"/>
          <p:cNvSpPr>
            <a:spLocks noGrp="1"/>
          </p:cNvSpPr>
          <p:nvPr>
            <p:ph type="body" sz="quarter" idx="13" hasCustomPrompt="1"/>
          </p:nvPr>
        </p:nvSpPr>
        <p:spPr bwMode="gray">
          <a:xfrm>
            <a:off x="935038" y="1304924"/>
            <a:ext cx="7345362" cy="1260000"/>
          </a:xfrm>
        </p:spPr>
        <p:txBody>
          <a:bodyPr/>
          <a:lstStyle/>
          <a:p>
            <a:pPr lvl="0"/>
            <a:r>
              <a:rPr lang="en-US" noProof="0"/>
              <a:t>Text level 1</a:t>
            </a:r>
          </a:p>
          <a:p>
            <a:pPr lvl="1"/>
            <a:r>
              <a:rPr lang="en-US" noProof="0"/>
              <a:t>Text level 2</a:t>
            </a:r>
          </a:p>
          <a:p>
            <a:pPr lvl="2"/>
            <a:r>
              <a:rPr lang="en-US" noProof="0"/>
              <a:t>Text level 3</a:t>
            </a:r>
          </a:p>
          <a:p>
            <a:pPr lvl="3"/>
            <a:r>
              <a:rPr lang="en-US" noProof="0"/>
              <a:t>Text level 4</a:t>
            </a:r>
          </a:p>
          <a:p>
            <a:pPr lvl="4"/>
            <a:r>
              <a:rPr lang="en-US" noProof="0"/>
              <a:t>Text level 5</a:t>
            </a:r>
          </a:p>
        </p:txBody>
      </p:sp>
      <p:sp>
        <p:nvSpPr>
          <p:cNvPr id="8" name="Espace réservé de la date 7"/>
          <p:cNvSpPr>
            <a:spLocks noGrp="1"/>
          </p:cNvSpPr>
          <p:nvPr>
            <p:ph type="dt" sz="half" idx="14"/>
          </p:nvPr>
        </p:nvSpPr>
        <p:spPr bwMode="gray"/>
        <p:txBody>
          <a:bodyPr/>
          <a:lstStyle/>
          <a:p>
            <a:r>
              <a:rPr lang="en-US">
                <a:solidFill>
                  <a:prstClr val="white">
                    <a:alpha val="0"/>
                  </a:prstClr>
                </a:solidFill>
              </a:rPr>
              <a:t>Date</a:t>
            </a:r>
          </a:p>
        </p:txBody>
      </p:sp>
      <p:sp>
        <p:nvSpPr>
          <p:cNvPr id="9" name="Espace réservé du numéro de diapositive 8"/>
          <p:cNvSpPr>
            <a:spLocks noGrp="1"/>
          </p:cNvSpPr>
          <p:nvPr>
            <p:ph type="sldNum" sz="quarter" idx="15"/>
          </p:nvPr>
        </p:nvSpPr>
        <p:spPr bwMode="gray"/>
        <p:txBody>
          <a:bodyPr/>
          <a:lstStyle/>
          <a:p>
            <a:fld id="{733122C9-A0B9-462F-8757-0847AD287B63}" type="slidenum">
              <a:rPr lang="en-US" smtClean="0">
                <a:solidFill>
                  <a:srgbClr val="343434"/>
                </a:solidFill>
              </a:rPr>
              <a:pPr/>
              <a:t>‹#›</a:t>
            </a:fld>
            <a:endParaRPr lang="en-US">
              <a:solidFill>
                <a:srgbClr val="343434"/>
              </a:solidFill>
            </a:endParaRPr>
          </a:p>
        </p:txBody>
      </p:sp>
      <p:sp>
        <p:nvSpPr>
          <p:cNvPr id="11" name="Espace réservé du pied de page 10"/>
          <p:cNvSpPr>
            <a:spLocks noGrp="1"/>
          </p:cNvSpPr>
          <p:nvPr>
            <p:ph type="ftr" sz="quarter" idx="16"/>
          </p:nvPr>
        </p:nvSpPr>
        <p:spPr bwMode="gray"/>
        <p:txBody>
          <a:bodyPr/>
          <a:lstStyle/>
          <a:p>
            <a:r>
              <a:rPr lang="en-US">
                <a:solidFill>
                  <a:srgbClr val="005CB9"/>
                </a:solidFill>
              </a:rPr>
              <a:t>#add your hashtag</a:t>
            </a:r>
          </a:p>
        </p:txBody>
      </p:sp>
      <p:sp>
        <p:nvSpPr>
          <p:cNvPr id="12" name="Espace réservé pour une image  8"/>
          <p:cNvSpPr>
            <a:spLocks noGrp="1"/>
          </p:cNvSpPr>
          <p:nvPr>
            <p:ph type="pic" sz="quarter" idx="17" hasCustomPrompt="1"/>
          </p:nvPr>
        </p:nvSpPr>
        <p:spPr bwMode="gray">
          <a:xfrm>
            <a:off x="5544400" y="2781388"/>
            <a:ext cx="2736000" cy="3240000"/>
          </a:xfrm>
        </p:spPr>
        <p:txBody>
          <a:bodyPr tIns="1008000" anchor="ctr" anchorCtr="0"/>
          <a:lstStyle>
            <a:lvl1pPr algn="ctr">
              <a:defRPr/>
            </a:lvl1pPr>
          </a:lstStyle>
          <a:p>
            <a:r>
              <a:rPr lang="en-US" noProof="0"/>
              <a:t>Select your own photo</a:t>
            </a:r>
          </a:p>
        </p:txBody>
      </p:sp>
    </p:spTree>
    <p:extLst>
      <p:ext uri="{BB962C8B-B14F-4D97-AF65-F5344CB8AC3E}">
        <p14:creationId xmlns:p14="http://schemas.microsoft.com/office/powerpoint/2010/main" val="2248892436"/>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ext&amp;2_Contents_Layout">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p:txBody>
          <a:bodyPr/>
          <a:lstStyle/>
          <a:p>
            <a:r>
              <a:rPr lang="en-US" noProof="0"/>
              <a:t>TITLE</a:t>
            </a:r>
          </a:p>
        </p:txBody>
      </p:sp>
      <p:sp>
        <p:nvSpPr>
          <p:cNvPr id="3" name="Espace réservé du contenu 2"/>
          <p:cNvSpPr>
            <a:spLocks noGrp="1"/>
          </p:cNvSpPr>
          <p:nvPr>
            <p:ph idx="1" hasCustomPrompt="1"/>
          </p:nvPr>
        </p:nvSpPr>
        <p:spPr bwMode="gray">
          <a:xfrm>
            <a:off x="935038" y="2781388"/>
            <a:ext cx="3564000" cy="3240000"/>
          </a:xfrm>
        </p:spPr>
        <p:txBody>
          <a:bodyPr/>
          <a:lstStyle>
            <a:lvl2pPr>
              <a:defRPr/>
            </a:lvl2pPr>
            <a:lvl3pPr>
              <a:defRPr/>
            </a:lvl3pPr>
            <a:lvl4pPr>
              <a:defRPr baseline="0"/>
            </a:lvl4pPr>
            <a:lvl5pPr>
              <a:defRPr/>
            </a:lvl5pPr>
          </a:lstStyle>
          <a:p>
            <a:pPr lvl="0"/>
            <a:r>
              <a:rPr lang="en-US" noProof="0"/>
              <a:t>Text level 1</a:t>
            </a:r>
          </a:p>
          <a:p>
            <a:pPr lvl="1"/>
            <a:r>
              <a:rPr lang="en-US" noProof="0"/>
              <a:t>Text level 2</a:t>
            </a:r>
          </a:p>
          <a:p>
            <a:pPr lvl="2"/>
            <a:r>
              <a:rPr lang="en-US" noProof="0"/>
              <a:t>Text level 3</a:t>
            </a:r>
          </a:p>
          <a:p>
            <a:pPr lvl="3"/>
            <a:r>
              <a:rPr lang="en-US" noProof="0"/>
              <a:t>Text level 4</a:t>
            </a:r>
          </a:p>
          <a:p>
            <a:pPr lvl="4"/>
            <a:r>
              <a:rPr lang="en-US" noProof="0"/>
              <a:t>Text level 5</a:t>
            </a:r>
          </a:p>
        </p:txBody>
      </p:sp>
      <p:sp>
        <p:nvSpPr>
          <p:cNvPr id="10" name="Espace réservé du texte 9"/>
          <p:cNvSpPr>
            <a:spLocks noGrp="1"/>
          </p:cNvSpPr>
          <p:nvPr>
            <p:ph type="body" sz="quarter" idx="13" hasCustomPrompt="1"/>
          </p:nvPr>
        </p:nvSpPr>
        <p:spPr bwMode="gray">
          <a:xfrm>
            <a:off x="935038" y="1304924"/>
            <a:ext cx="7345362" cy="1260000"/>
          </a:xfrm>
        </p:spPr>
        <p:txBody>
          <a:bodyPr/>
          <a:lstStyle/>
          <a:p>
            <a:pPr lvl="0"/>
            <a:r>
              <a:rPr lang="en-US" noProof="0"/>
              <a:t>Text level 1</a:t>
            </a:r>
          </a:p>
          <a:p>
            <a:pPr lvl="1"/>
            <a:r>
              <a:rPr lang="en-US" noProof="0"/>
              <a:t>Text level 2</a:t>
            </a:r>
          </a:p>
          <a:p>
            <a:pPr lvl="2"/>
            <a:r>
              <a:rPr lang="en-US" noProof="0"/>
              <a:t>Text level 3</a:t>
            </a:r>
          </a:p>
          <a:p>
            <a:pPr lvl="3"/>
            <a:r>
              <a:rPr lang="en-US" noProof="0"/>
              <a:t>Text level 4</a:t>
            </a:r>
          </a:p>
          <a:p>
            <a:pPr lvl="4"/>
            <a:r>
              <a:rPr lang="en-US" noProof="0"/>
              <a:t>Text level 5</a:t>
            </a:r>
          </a:p>
        </p:txBody>
      </p:sp>
      <p:sp>
        <p:nvSpPr>
          <p:cNvPr id="8" name="Espace réservé de la date 7"/>
          <p:cNvSpPr>
            <a:spLocks noGrp="1"/>
          </p:cNvSpPr>
          <p:nvPr>
            <p:ph type="dt" sz="half" idx="14"/>
          </p:nvPr>
        </p:nvSpPr>
        <p:spPr bwMode="gray"/>
        <p:txBody>
          <a:bodyPr/>
          <a:lstStyle/>
          <a:p>
            <a:r>
              <a:rPr lang="en-US">
                <a:solidFill>
                  <a:prstClr val="white">
                    <a:alpha val="0"/>
                  </a:prstClr>
                </a:solidFill>
              </a:rPr>
              <a:t>Date</a:t>
            </a:r>
          </a:p>
        </p:txBody>
      </p:sp>
      <p:sp>
        <p:nvSpPr>
          <p:cNvPr id="9" name="Espace réservé du numéro de diapositive 8"/>
          <p:cNvSpPr>
            <a:spLocks noGrp="1"/>
          </p:cNvSpPr>
          <p:nvPr>
            <p:ph type="sldNum" sz="quarter" idx="15"/>
          </p:nvPr>
        </p:nvSpPr>
        <p:spPr bwMode="gray"/>
        <p:txBody>
          <a:bodyPr/>
          <a:lstStyle/>
          <a:p>
            <a:fld id="{733122C9-A0B9-462F-8757-0847AD287B63}" type="slidenum">
              <a:rPr lang="en-US" smtClean="0">
                <a:solidFill>
                  <a:srgbClr val="343434"/>
                </a:solidFill>
              </a:rPr>
              <a:pPr/>
              <a:t>‹#›</a:t>
            </a:fld>
            <a:endParaRPr lang="en-US">
              <a:solidFill>
                <a:srgbClr val="343434"/>
              </a:solidFill>
            </a:endParaRPr>
          </a:p>
        </p:txBody>
      </p:sp>
      <p:sp>
        <p:nvSpPr>
          <p:cNvPr id="11" name="Espace réservé du pied de page 10"/>
          <p:cNvSpPr>
            <a:spLocks noGrp="1"/>
          </p:cNvSpPr>
          <p:nvPr>
            <p:ph type="ftr" sz="quarter" idx="16"/>
          </p:nvPr>
        </p:nvSpPr>
        <p:spPr bwMode="gray"/>
        <p:txBody>
          <a:bodyPr/>
          <a:lstStyle/>
          <a:p>
            <a:r>
              <a:rPr lang="en-US">
                <a:solidFill>
                  <a:srgbClr val="005CB9"/>
                </a:solidFill>
              </a:rPr>
              <a:t>#add your hashtag</a:t>
            </a:r>
          </a:p>
        </p:txBody>
      </p:sp>
      <p:sp>
        <p:nvSpPr>
          <p:cNvPr id="12" name="Espace réservé du contenu 2"/>
          <p:cNvSpPr>
            <a:spLocks noGrp="1"/>
          </p:cNvSpPr>
          <p:nvPr>
            <p:ph idx="17" hasCustomPrompt="1"/>
          </p:nvPr>
        </p:nvSpPr>
        <p:spPr bwMode="gray">
          <a:xfrm>
            <a:off x="4716400" y="2781388"/>
            <a:ext cx="3564000" cy="3240000"/>
          </a:xfrm>
        </p:spPr>
        <p:txBody>
          <a:bodyPr/>
          <a:lstStyle>
            <a:lvl2pPr>
              <a:defRPr/>
            </a:lvl2pPr>
            <a:lvl3pPr>
              <a:defRPr/>
            </a:lvl3pPr>
            <a:lvl4pPr>
              <a:defRPr baseline="0"/>
            </a:lvl4pPr>
            <a:lvl5pPr>
              <a:defRPr/>
            </a:lvl5pPr>
          </a:lstStyle>
          <a:p>
            <a:pPr lvl="0"/>
            <a:r>
              <a:rPr lang="en-US" noProof="0"/>
              <a:t>Text level 1</a:t>
            </a:r>
          </a:p>
          <a:p>
            <a:pPr lvl="1"/>
            <a:r>
              <a:rPr lang="en-US" noProof="0"/>
              <a:t>Text level 2</a:t>
            </a:r>
          </a:p>
          <a:p>
            <a:pPr lvl="2"/>
            <a:r>
              <a:rPr lang="en-US" noProof="0"/>
              <a:t>Text level 3</a:t>
            </a:r>
          </a:p>
          <a:p>
            <a:pPr lvl="3"/>
            <a:r>
              <a:rPr lang="en-US" noProof="0"/>
              <a:t>Text level 4</a:t>
            </a:r>
          </a:p>
          <a:p>
            <a:pPr lvl="4"/>
            <a:r>
              <a:rPr lang="en-US" noProof="0"/>
              <a:t>Text level 5</a:t>
            </a:r>
          </a:p>
        </p:txBody>
      </p:sp>
    </p:spTree>
    <p:extLst>
      <p:ext uri="{BB962C8B-B14F-4D97-AF65-F5344CB8AC3E}">
        <p14:creationId xmlns:p14="http://schemas.microsoft.com/office/powerpoint/2010/main" val="189901561"/>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ext&amp;3_Contents_Layout">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p:txBody>
          <a:bodyPr/>
          <a:lstStyle/>
          <a:p>
            <a:r>
              <a:rPr lang="en-US" noProof="0"/>
              <a:t>TITLE</a:t>
            </a:r>
          </a:p>
        </p:txBody>
      </p:sp>
      <p:sp>
        <p:nvSpPr>
          <p:cNvPr id="3" name="Espace réservé du contenu 2"/>
          <p:cNvSpPr>
            <a:spLocks noGrp="1"/>
          </p:cNvSpPr>
          <p:nvPr>
            <p:ph idx="1" hasCustomPrompt="1"/>
          </p:nvPr>
        </p:nvSpPr>
        <p:spPr bwMode="gray">
          <a:xfrm>
            <a:off x="935038" y="2781388"/>
            <a:ext cx="2304000" cy="3240000"/>
          </a:xfrm>
        </p:spPr>
        <p:txBody>
          <a:bodyPr/>
          <a:lstStyle>
            <a:lvl2pPr>
              <a:defRPr/>
            </a:lvl2pPr>
            <a:lvl3pPr>
              <a:defRPr/>
            </a:lvl3pPr>
            <a:lvl4pPr>
              <a:defRPr baseline="0"/>
            </a:lvl4pPr>
            <a:lvl5pPr>
              <a:defRPr/>
            </a:lvl5pPr>
          </a:lstStyle>
          <a:p>
            <a:pPr lvl="0"/>
            <a:r>
              <a:rPr lang="en-US" noProof="0"/>
              <a:t>Text level 1</a:t>
            </a:r>
          </a:p>
          <a:p>
            <a:pPr lvl="1"/>
            <a:r>
              <a:rPr lang="en-US" noProof="0"/>
              <a:t>Text level 2</a:t>
            </a:r>
          </a:p>
          <a:p>
            <a:pPr lvl="2"/>
            <a:r>
              <a:rPr lang="en-US" noProof="0"/>
              <a:t>Text level 3</a:t>
            </a:r>
          </a:p>
          <a:p>
            <a:pPr lvl="3"/>
            <a:r>
              <a:rPr lang="en-US" noProof="0"/>
              <a:t>Text level 4</a:t>
            </a:r>
          </a:p>
          <a:p>
            <a:pPr lvl="4"/>
            <a:r>
              <a:rPr lang="en-US" noProof="0"/>
              <a:t>Text level 5</a:t>
            </a:r>
          </a:p>
        </p:txBody>
      </p:sp>
      <p:sp>
        <p:nvSpPr>
          <p:cNvPr id="10" name="Espace réservé du texte 9"/>
          <p:cNvSpPr>
            <a:spLocks noGrp="1"/>
          </p:cNvSpPr>
          <p:nvPr>
            <p:ph type="body" sz="quarter" idx="13" hasCustomPrompt="1"/>
          </p:nvPr>
        </p:nvSpPr>
        <p:spPr bwMode="gray">
          <a:xfrm>
            <a:off x="935038" y="1304924"/>
            <a:ext cx="7345362" cy="1260000"/>
          </a:xfrm>
        </p:spPr>
        <p:txBody>
          <a:bodyPr/>
          <a:lstStyle/>
          <a:p>
            <a:pPr lvl="0"/>
            <a:r>
              <a:rPr lang="en-US" noProof="0"/>
              <a:t>Text level 1</a:t>
            </a:r>
          </a:p>
          <a:p>
            <a:pPr lvl="1"/>
            <a:r>
              <a:rPr lang="en-US" noProof="0"/>
              <a:t>Text level 2</a:t>
            </a:r>
          </a:p>
          <a:p>
            <a:pPr lvl="2"/>
            <a:r>
              <a:rPr lang="en-US" noProof="0"/>
              <a:t>Text level 3</a:t>
            </a:r>
          </a:p>
          <a:p>
            <a:pPr lvl="3"/>
            <a:r>
              <a:rPr lang="en-US" noProof="0"/>
              <a:t>Text level 4</a:t>
            </a:r>
          </a:p>
          <a:p>
            <a:pPr lvl="4"/>
            <a:r>
              <a:rPr lang="en-US" noProof="0"/>
              <a:t>Text level 5</a:t>
            </a:r>
          </a:p>
        </p:txBody>
      </p:sp>
      <p:sp>
        <p:nvSpPr>
          <p:cNvPr id="8" name="Espace réservé de la date 7"/>
          <p:cNvSpPr>
            <a:spLocks noGrp="1"/>
          </p:cNvSpPr>
          <p:nvPr>
            <p:ph type="dt" sz="half" idx="14"/>
          </p:nvPr>
        </p:nvSpPr>
        <p:spPr bwMode="gray"/>
        <p:txBody>
          <a:bodyPr/>
          <a:lstStyle/>
          <a:p>
            <a:r>
              <a:rPr lang="en-US">
                <a:solidFill>
                  <a:prstClr val="white">
                    <a:alpha val="0"/>
                  </a:prstClr>
                </a:solidFill>
              </a:rPr>
              <a:t>Date</a:t>
            </a:r>
          </a:p>
        </p:txBody>
      </p:sp>
      <p:sp>
        <p:nvSpPr>
          <p:cNvPr id="9" name="Espace réservé du numéro de diapositive 8"/>
          <p:cNvSpPr>
            <a:spLocks noGrp="1"/>
          </p:cNvSpPr>
          <p:nvPr>
            <p:ph type="sldNum" sz="quarter" idx="15"/>
          </p:nvPr>
        </p:nvSpPr>
        <p:spPr bwMode="gray"/>
        <p:txBody>
          <a:bodyPr/>
          <a:lstStyle/>
          <a:p>
            <a:fld id="{733122C9-A0B9-462F-8757-0847AD287B63}" type="slidenum">
              <a:rPr lang="en-US" smtClean="0">
                <a:solidFill>
                  <a:srgbClr val="343434"/>
                </a:solidFill>
              </a:rPr>
              <a:pPr/>
              <a:t>‹#›</a:t>
            </a:fld>
            <a:endParaRPr lang="en-US">
              <a:solidFill>
                <a:srgbClr val="343434"/>
              </a:solidFill>
            </a:endParaRPr>
          </a:p>
        </p:txBody>
      </p:sp>
      <p:sp>
        <p:nvSpPr>
          <p:cNvPr id="11" name="Espace réservé du pied de page 10"/>
          <p:cNvSpPr>
            <a:spLocks noGrp="1"/>
          </p:cNvSpPr>
          <p:nvPr>
            <p:ph type="ftr" sz="quarter" idx="16"/>
          </p:nvPr>
        </p:nvSpPr>
        <p:spPr bwMode="gray"/>
        <p:txBody>
          <a:bodyPr/>
          <a:lstStyle/>
          <a:p>
            <a:r>
              <a:rPr lang="en-US">
                <a:solidFill>
                  <a:srgbClr val="005CB9"/>
                </a:solidFill>
              </a:rPr>
              <a:t>#add your hashtag</a:t>
            </a:r>
          </a:p>
        </p:txBody>
      </p:sp>
      <p:sp>
        <p:nvSpPr>
          <p:cNvPr id="13" name="Espace réservé du contenu 2"/>
          <p:cNvSpPr>
            <a:spLocks noGrp="1"/>
          </p:cNvSpPr>
          <p:nvPr>
            <p:ph idx="17" hasCustomPrompt="1"/>
          </p:nvPr>
        </p:nvSpPr>
        <p:spPr bwMode="gray">
          <a:xfrm>
            <a:off x="3455719" y="2781388"/>
            <a:ext cx="2304000" cy="3240000"/>
          </a:xfrm>
        </p:spPr>
        <p:txBody>
          <a:bodyPr/>
          <a:lstStyle>
            <a:lvl2pPr>
              <a:defRPr/>
            </a:lvl2pPr>
            <a:lvl3pPr>
              <a:defRPr/>
            </a:lvl3pPr>
            <a:lvl4pPr>
              <a:defRPr baseline="0"/>
            </a:lvl4pPr>
            <a:lvl5pPr>
              <a:defRPr/>
            </a:lvl5pPr>
          </a:lstStyle>
          <a:p>
            <a:pPr lvl="0"/>
            <a:r>
              <a:rPr lang="en-US" noProof="0"/>
              <a:t>Text level 1</a:t>
            </a:r>
          </a:p>
          <a:p>
            <a:pPr lvl="1"/>
            <a:r>
              <a:rPr lang="en-US" noProof="0"/>
              <a:t>Text level 2</a:t>
            </a:r>
          </a:p>
          <a:p>
            <a:pPr lvl="2"/>
            <a:r>
              <a:rPr lang="en-US" noProof="0"/>
              <a:t>Text level 3</a:t>
            </a:r>
          </a:p>
          <a:p>
            <a:pPr lvl="3"/>
            <a:r>
              <a:rPr lang="en-US" noProof="0"/>
              <a:t>Text level 4</a:t>
            </a:r>
          </a:p>
          <a:p>
            <a:pPr lvl="4"/>
            <a:r>
              <a:rPr lang="en-US" noProof="0"/>
              <a:t>Text level 5</a:t>
            </a:r>
          </a:p>
        </p:txBody>
      </p:sp>
      <p:sp>
        <p:nvSpPr>
          <p:cNvPr id="14" name="Espace réservé du contenu 2"/>
          <p:cNvSpPr>
            <a:spLocks noGrp="1"/>
          </p:cNvSpPr>
          <p:nvPr>
            <p:ph idx="18" hasCustomPrompt="1"/>
          </p:nvPr>
        </p:nvSpPr>
        <p:spPr bwMode="gray">
          <a:xfrm>
            <a:off x="5976400" y="2781388"/>
            <a:ext cx="2304000" cy="3240000"/>
          </a:xfrm>
        </p:spPr>
        <p:txBody>
          <a:bodyPr/>
          <a:lstStyle>
            <a:lvl2pPr>
              <a:defRPr/>
            </a:lvl2pPr>
            <a:lvl3pPr>
              <a:defRPr/>
            </a:lvl3pPr>
            <a:lvl4pPr>
              <a:defRPr baseline="0"/>
            </a:lvl4pPr>
            <a:lvl5pPr>
              <a:defRPr/>
            </a:lvl5pPr>
          </a:lstStyle>
          <a:p>
            <a:pPr lvl="0"/>
            <a:r>
              <a:rPr lang="en-US" noProof="0"/>
              <a:t>Text level 1</a:t>
            </a:r>
          </a:p>
          <a:p>
            <a:pPr lvl="1"/>
            <a:r>
              <a:rPr lang="en-US" noProof="0"/>
              <a:t>Text level 2</a:t>
            </a:r>
          </a:p>
          <a:p>
            <a:pPr lvl="2"/>
            <a:r>
              <a:rPr lang="en-US" noProof="0"/>
              <a:t>Text level 3</a:t>
            </a:r>
          </a:p>
          <a:p>
            <a:pPr lvl="3"/>
            <a:r>
              <a:rPr lang="en-US" noProof="0"/>
              <a:t>Text level 4</a:t>
            </a:r>
          </a:p>
          <a:p>
            <a:pPr lvl="4"/>
            <a:r>
              <a:rPr lang="en-US" noProof="0"/>
              <a:t>Text level 5</a:t>
            </a:r>
          </a:p>
        </p:txBody>
      </p:sp>
    </p:spTree>
    <p:extLst>
      <p:ext uri="{BB962C8B-B14F-4D97-AF65-F5344CB8AC3E}">
        <p14:creationId xmlns:p14="http://schemas.microsoft.com/office/powerpoint/2010/main" val="172657011"/>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4_Contents_Layout">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p:txBody>
          <a:bodyPr/>
          <a:lstStyle/>
          <a:p>
            <a:r>
              <a:rPr lang="en-US" noProof="0"/>
              <a:t>TITLE</a:t>
            </a:r>
          </a:p>
        </p:txBody>
      </p:sp>
      <p:sp>
        <p:nvSpPr>
          <p:cNvPr id="3" name="Espace réservé du contenu 2"/>
          <p:cNvSpPr>
            <a:spLocks noGrp="1"/>
          </p:cNvSpPr>
          <p:nvPr>
            <p:ph idx="1" hasCustomPrompt="1"/>
          </p:nvPr>
        </p:nvSpPr>
        <p:spPr bwMode="gray">
          <a:xfrm>
            <a:off x="935038" y="1304924"/>
            <a:ext cx="3564000" cy="2250000"/>
          </a:xfrm>
        </p:spPr>
        <p:txBody>
          <a:bodyPr/>
          <a:lstStyle>
            <a:lvl2pPr>
              <a:defRPr/>
            </a:lvl2pPr>
            <a:lvl3pPr>
              <a:defRPr/>
            </a:lvl3pPr>
            <a:lvl4pPr>
              <a:defRPr baseline="0"/>
            </a:lvl4pPr>
            <a:lvl5pPr>
              <a:defRPr/>
            </a:lvl5pPr>
          </a:lstStyle>
          <a:p>
            <a:pPr lvl="0"/>
            <a:r>
              <a:rPr lang="en-US" noProof="0"/>
              <a:t>Text level 1</a:t>
            </a:r>
          </a:p>
          <a:p>
            <a:pPr lvl="1"/>
            <a:r>
              <a:rPr lang="en-US" noProof="0"/>
              <a:t>Text level 2</a:t>
            </a:r>
          </a:p>
          <a:p>
            <a:pPr lvl="2"/>
            <a:r>
              <a:rPr lang="en-US" noProof="0"/>
              <a:t>Text level 3</a:t>
            </a:r>
          </a:p>
          <a:p>
            <a:pPr lvl="3"/>
            <a:r>
              <a:rPr lang="en-US" noProof="0"/>
              <a:t>Text level 4</a:t>
            </a:r>
          </a:p>
          <a:p>
            <a:pPr lvl="4"/>
            <a:r>
              <a:rPr lang="en-US" noProof="0"/>
              <a:t>Text level 5</a:t>
            </a:r>
          </a:p>
        </p:txBody>
      </p:sp>
      <p:sp>
        <p:nvSpPr>
          <p:cNvPr id="7" name="Espace réservé de la date 6"/>
          <p:cNvSpPr>
            <a:spLocks noGrp="1"/>
          </p:cNvSpPr>
          <p:nvPr>
            <p:ph type="dt" sz="half" idx="10"/>
          </p:nvPr>
        </p:nvSpPr>
        <p:spPr bwMode="gray"/>
        <p:txBody>
          <a:bodyPr/>
          <a:lstStyle/>
          <a:p>
            <a:r>
              <a:rPr lang="en-US">
                <a:solidFill>
                  <a:prstClr val="white">
                    <a:alpha val="0"/>
                  </a:prstClr>
                </a:solidFill>
              </a:rPr>
              <a:t>Date</a:t>
            </a:r>
          </a:p>
        </p:txBody>
      </p:sp>
      <p:sp>
        <p:nvSpPr>
          <p:cNvPr id="8" name="Espace réservé du numéro de diapositive 7"/>
          <p:cNvSpPr>
            <a:spLocks noGrp="1"/>
          </p:cNvSpPr>
          <p:nvPr>
            <p:ph type="sldNum" sz="quarter" idx="11"/>
          </p:nvPr>
        </p:nvSpPr>
        <p:spPr bwMode="gray"/>
        <p:txBody>
          <a:bodyPr/>
          <a:lstStyle/>
          <a:p>
            <a:fld id="{733122C9-A0B9-462F-8757-0847AD287B63}" type="slidenum">
              <a:rPr lang="en-US" smtClean="0">
                <a:solidFill>
                  <a:srgbClr val="343434"/>
                </a:solidFill>
              </a:rPr>
              <a:pPr/>
              <a:t>‹#›</a:t>
            </a:fld>
            <a:endParaRPr lang="en-US">
              <a:solidFill>
                <a:srgbClr val="343434"/>
              </a:solidFill>
            </a:endParaRPr>
          </a:p>
        </p:txBody>
      </p:sp>
      <p:sp>
        <p:nvSpPr>
          <p:cNvPr id="11" name="Espace réservé du pied de page 10"/>
          <p:cNvSpPr>
            <a:spLocks noGrp="1"/>
          </p:cNvSpPr>
          <p:nvPr>
            <p:ph type="ftr" sz="quarter" idx="12"/>
          </p:nvPr>
        </p:nvSpPr>
        <p:spPr bwMode="gray"/>
        <p:txBody>
          <a:bodyPr/>
          <a:lstStyle/>
          <a:p>
            <a:r>
              <a:rPr lang="en-US">
                <a:solidFill>
                  <a:srgbClr val="005CB9"/>
                </a:solidFill>
              </a:rPr>
              <a:t>#add your hashtag</a:t>
            </a:r>
          </a:p>
        </p:txBody>
      </p:sp>
      <p:sp>
        <p:nvSpPr>
          <p:cNvPr id="9" name="Espace réservé du contenu 2"/>
          <p:cNvSpPr>
            <a:spLocks noGrp="1"/>
          </p:cNvSpPr>
          <p:nvPr>
            <p:ph idx="13" hasCustomPrompt="1"/>
          </p:nvPr>
        </p:nvSpPr>
        <p:spPr bwMode="gray">
          <a:xfrm>
            <a:off x="4716400" y="1304925"/>
            <a:ext cx="3564000" cy="2250000"/>
          </a:xfrm>
        </p:spPr>
        <p:txBody>
          <a:bodyPr/>
          <a:lstStyle>
            <a:lvl2pPr>
              <a:defRPr/>
            </a:lvl2pPr>
            <a:lvl3pPr>
              <a:defRPr/>
            </a:lvl3pPr>
            <a:lvl4pPr>
              <a:defRPr baseline="0"/>
            </a:lvl4pPr>
            <a:lvl5pPr>
              <a:defRPr/>
            </a:lvl5pPr>
          </a:lstStyle>
          <a:p>
            <a:pPr lvl="0"/>
            <a:r>
              <a:rPr lang="en-US" noProof="0"/>
              <a:t>Text level 1</a:t>
            </a:r>
          </a:p>
          <a:p>
            <a:pPr lvl="1"/>
            <a:r>
              <a:rPr lang="en-US" noProof="0"/>
              <a:t>Text level 2</a:t>
            </a:r>
          </a:p>
          <a:p>
            <a:pPr lvl="2"/>
            <a:r>
              <a:rPr lang="en-US" noProof="0"/>
              <a:t>Text level 3</a:t>
            </a:r>
          </a:p>
          <a:p>
            <a:pPr lvl="3"/>
            <a:r>
              <a:rPr lang="en-US" noProof="0"/>
              <a:t>Text level 4</a:t>
            </a:r>
          </a:p>
          <a:p>
            <a:pPr lvl="4"/>
            <a:r>
              <a:rPr lang="en-US" noProof="0"/>
              <a:t>Text level 5</a:t>
            </a:r>
          </a:p>
        </p:txBody>
      </p:sp>
      <p:sp>
        <p:nvSpPr>
          <p:cNvPr id="13" name="Espace réservé du contenu 2"/>
          <p:cNvSpPr>
            <a:spLocks noGrp="1"/>
          </p:cNvSpPr>
          <p:nvPr>
            <p:ph idx="14" hasCustomPrompt="1"/>
          </p:nvPr>
        </p:nvSpPr>
        <p:spPr bwMode="gray">
          <a:xfrm>
            <a:off x="935038" y="3771388"/>
            <a:ext cx="3564000" cy="2250000"/>
          </a:xfrm>
        </p:spPr>
        <p:txBody>
          <a:bodyPr/>
          <a:lstStyle>
            <a:lvl2pPr>
              <a:defRPr/>
            </a:lvl2pPr>
            <a:lvl3pPr>
              <a:defRPr/>
            </a:lvl3pPr>
            <a:lvl4pPr>
              <a:defRPr baseline="0"/>
            </a:lvl4pPr>
            <a:lvl5pPr>
              <a:defRPr/>
            </a:lvl5pPr>
          </a:lstStyle>
          <a:p>
            <a:pPr lvl="0"/>
            <a:r>
              <a:rPr lang="en-US" noProof="0"/>
              <a:t>Text level 1</a:t>
            </a:r>
          </a:p>
          <a:p>
            <a:pPr lvl="1"/>
            <a:r>
              <a:rPr lang="en-US" noProof="0"/>
              <a:t>Text level 2</a:t>
            </a:r>
          </a:p>
          <a:p>
            <a:pPr lvl="2"/>
            <a:r>
              <a:rPr lang="en-US" noProof="0"/>
              <a:t>Text level 3</a:t>
            </a:r>
          </a:p>
          <a:p>
            <a:pPr lvl="3"/>
            <a:r>
              <a:rPr lang="en-US" noProof="0"/>
              <a:t>Text level 4</a:t>
            </a:r>
          </a:p>
          <a:p>
            <a:pPr lvl="4"/>
            <a:r>
              <a:rPr lang="en-US" noProof="0"/>
              <a:t>Text level 5</a:t>
            </a:r>
          </a:p>
        </p:txBody>
      </p:sp>
      <p:sp>
        <p:nvSpPr>
          <p:cNvPr id="14" name="Espace réservé du contenu 2"/>
          <p:cNvSpPr>
            <a:spLocks noGrp="1"/>
          </p:cNvSpPr>
          <p:nvPr>
            <p:ph idx="15" hasCustomPrompt="1"/>
          </p:nvPr>
        </p:nvSpPr>
        <p:spPr bwMode="gray">
          <a:xfrm>
            <a:off x="4716400" y="3771388"/>
            <a:ext cx="3564000" cy="2250000"/>
          </a:xfrm>
        </p:spPr>
        <p:txBody>
          <a:bodyPr/>
          <a:lstStyle>
            <a:lvl2pPr>
              <a:defRPr/>
            </a:lvl2pPr>
            <a:lvl3pPr>
              <a:defRPr/>
            </a:lvl3pPr>
            <a:lvl4pPr>
              <a:defRPr baseline="0"/>
            </a:lvl4pPr>
            <a:lvl5pPr>
              <a:defRPr/>
            </a:lvl5pPr>
          </a:lstStyle>
          <a:p>
            <a:pPr lvl="0"/>
            <a:r>
              <a:rPr lang="en-US" noProof="0"/>
              <a:t>Text level 1</a:t>
            </a:r>
          </a:p>
          <a:p>
            <a:pPr lvl="1"/>
            <a:r>
              <a:rPr lang="en-US" noProof="0"/>
              <a:t>Text level 2</a:t>
            </a:r>
          </a:p>
          <a:p>
            <a:pPr lvl="2"/>
            <a:r>
              <a:rPr lang="en-US" noProof="0"/>
              <a:t>Text level 3</a:t>
            </a:r>
          </a:p>
          <a:p>
            <a:pPr lvl="3"/>
            <a:r>
              <a:rPr lang="en-US" noProof="0"/>
              <a:t>Text level 4</a:t>
            </a:r>
          </a:p>
          <a:p>
            <a:pPr lvl="4"/>
            <a:r>
              <a:rPr lang="en-US" noProof="0"/>
              <a:t>Text level 5</a:t>
            </a:r>
          </a:p>
        </p:txBody>
      </p:sp>
    </p:spTree>
    <p:extLst>
      <p:ext uri="{BB962C8B-B14F-4D97-AF65-F5344CB8AC3E}">
        <p14:creationId xmlns:p14="http://schemas.microsoft.com/office/powerpoint/2010/main" val="4030979121"/>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Picture_Layout">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p:txBody>
          <a:bodyPr/>
          <a:lstStyle/>
          <a:p>
            <a:r>
              <a:rPr lang="en-US" noProof="0"/>
              <a:t>TITLE</a:t>
            </a:r>
          </a:p>
        </p:txBody>
      </p:sp>
      <p:sp>
        <p:nvSpPr>
          <p:cNvPr id="8" name="Espace réservé de la date 7"/>
          <p:cNvSpPr>
            <a:spLocks noGrp="1"/>
          </p:cNvSpPr>
          <p:nvPr>
            <p:ph type="dt" sz="half" idx="14"/>
          </p:nvPr>
        </p:nvSpPr>
        <p:spPr bwMode="gray"/>
        <p:txBody>
          <a:bodyPr/>
          <a:lstStyle/>
          <a:p>
            <a:r>
              <a:rPr lang="en-US">
                <a:solidFill>
                  <a:prstClr val="white">
                    <a:alpha val="0"/>
                  </a:prstClr>
                </a:solidFill>
              </a:rPr>
              <a:t>Date</a:t>
            </a:r>
          </a:p>
        </p:txBody>
      </p:sp>
      <p:sp>
        <p:nvSpPr>
          <p:cNvPr id="9" name="Espace réservé du numéro de diapositive 8"/>
          <p:cNvSpPr>
            <a:spLocks noGrp="1"/>
          </p:cNvSpPr>
          <p:nvPr>
            <p:ph type="sldNum" sz="quarter" idx="15"/>
          </p:nvPr>
        </p:nvSpPr>
        <p:spPr bwMode="gray"/>
        <p:txBody>
          <a:bodyPr/>
          <a:lstStyle/>
          <a:p>
            <a:fld id="{733122C9-A0B9-462F-8757-0847AD287B63}" type="slidenum">
              <a:rPr lang="en-US" smtClean="0">
                <a:solidFill>
                  <a:srgbClr val="343434"/>
                </a:solidFill>
              </a:rPr>
              <a:pPr/>
              <a:t>‹#›</a:t>
            </a:fld>
            <a:endParaRPr lang="en-US">
              <a:solidFill>
                <a:srgbClr val="343434"/>
              </a:solidFill>
            </a:endParaRPr>
          </a:p>
        </p:txBody>
      </p:sp>
      <p:sp>
        <p:nvSpPr>
          <p:cNvPr id="11" name="Espace réservé du pied de page 10"/>
          <p:cNvSpPr>
            <a:spLocks noGrp="1"/>
          </p:cNvSpPr>
          <p:nvPr>
            <p:ph type="ftr" sz="quarter" idx="16"/>
          </p:nvPr>
        </p:nvSpPr>
        <p:spPr bwMode="gray"/>
        <p:txBody>
          <a:bodyPr/>
          <a:lstStyle/>
          <a:p>
            <a:r>
              <a:rPr lang="en-US">
                <a:solidFill>
                  <a:srgbClr val="005CB9"/>
                </a:solidFill>
              </a:rPr>
              <a:t>#add your hashtag</a:t>
            </a:r>
          </a:p>
        </p:txBody>
      </p:sp>
      <p:sp>
        <p:nvSpPr>
          <p:cNvPr id="12" name="Espace réservé pour une image  8"/>
          <p:cNvSpPr>
            <a:spLocks noGrp="1"/>
          </p:cNvSpPr>
          <p:nvPr>
            <p:ph type="pic" sz="quarter" idx="17" hasCustomPrompt="1"/>
          </p:nvPr>
        </p:nvSpPr>
        <p:spPr bwMode="gray">
          <a:xfrm>
            <a:off x="935038" y="1341438"/>
            <a:ext cx="7345362" cy="4679950"/>
          </a:xfrm>
        </p:spPr>
        <p:txBody>
          <a:bodyPr tIns="1008000" anchor="ctr" anchorCtr="0"/>
          <a:lstStyle>
            <a:lvl1pPr algn="ctr">
              <a:defRPr/>
            </a:lvl1pPr>
          </a:lstStyle>
          <a:p>
            <a:r>
              <a:rPr lang="en-US" noProof="0"/>
              <a:t>Select your own photo</a:t>
            </a:r>
          </a:p>
        </p:txBody>
      </p:sp>
    </p:spTree>
    <p:extLst>
      <p:ext uri="{BB962C8B-B14F-4D97-AF65-F5344CB8AC3E}">
        <p14:creationId xmlns:p14="http://schemas.microsoft.com/office/powerpoint/2010/main" val="152466211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ext&amp;Content_Layout">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p:txBody>
          <a:bodyPr/>
          <a:lstStyle/>
          <a:p>
            <a:r>
              <a:rPr lang="en-US" noProof="0"/>
              <a:t>TITLE</a:t>
            </a:r>
          </a:p>
        </p:txBody>
      </p:sp>
      <p:sp>
        <p:nvSpPr>
          <p:cNvPr id="3" name="Espace réservé du contenu 2"/>
          <p:cNvSpPr>
            <a:spLocks noGrp="1"/>
          </p:cNvSpPr>
          <p:nvPr>
            <p:ph idx="1" hasCustomPrompt="1"/>
          </p:nvPr>
        </p:nvSpPr>
        <p:spPr bwMode="gray">
          <a:xfrm>
            <a:off x="935038" y="2781388"/>
            <a:ext cx="7345362" cy="3240000"/>
          </a:xfrm>
        </p:spPr>
        <p:txBody>
          <a:bodyPr/>
          <a:lstStyle>
            <a:lvl2pPr>
              <a:defRPr/>
            </a:lvl2pPr>
            <a:lvl3pPr>
              <a:defRPr/>
            </a:lvl3pPr>
            <a:lvl4pPr>
              <a:defRPr baseline="0"/>
            </a:lvl4pPr>
            <a:lvl5pPr>
              <a:defRPr/>
            </a:lvl5pPr>
          </a:lstStyle>
          <a:p>
            <a:pPr lvl="0"/>
            <a:r>
              <a:rPr lang="en-US" noProof="0"/>
              <a:t>Text level 1</a:t>
            </a:r>
          </a:p>
          <a:p>
            <a:pPr lvl="1"/>
            <a:r>
              <a:rPr lang="en-US" noProof="0"/>
              <a:t>Text level 2</a:t>
            </a:r>
          </a:p>
          <a:p>
            <a:pPr lvl="2"/>
            <a:r>
              <a:rPr lang="en-US" noProof="0"/>
              <a:t>Text level 3</a:t>
            </a:r>
          </a:p>
          <a:p>
            <a:pPr lvl="3"/>
            <a:r>
              <a:rPr lang="en-US" noProof="0"/>
              <a:t>Text level 4</a:t>
            </a:r>
          </a:p>
          <a:p>
            <a:pPr lvl="4"/>
            <a:r>
              <a:rPr lang="en-US" noProof="0"/>
              <a:t>Text level 5</a:t>
            </a:r>
          </a:p>
        </p:txBody>
      </p:sp>
      <p:sp>
        <p:nvSpPr>
          <p:cNvPr id="10" name="Espace réservé du texte 9"/>
          <p:cNvSpPr>
            <a:spLocks noGrp="1"/>
          </p:cNvSpPr>
          <p:nvPr>
            <p:ph type="body" sz="quarter" idx="13" hasCustomPrompt="1"/>
          </p:nvPr>
        </p:nvSpPr>
        <p:spPr bwMode="gray">
          <a:xfrm>
            <a:off x="935038" y="1304924"/>
            <a:ext cx="7345362" cy="1260000"/>
          </a:xfrm>
        </p:spPr>
        <p:txBody>
          <a:bodyPr/>
          <a:lstStyle/>
          <a:p>
            <a:pPr lvl="0"/>
            <a:r>
              <a:rPr lang="en-US" noProof="0"/>
              <a:t>Text level 1</a:t>
            </a:r>
          </a:p>
          <a:p>
            <a:pPr lvl="1"/>
            <a:r>
              <a:rPr lang="en-US" noProof="0"/>
              <a:t>Text level 2</a:t>
            </a:r>
          </a:p>
          <a:p>
            <a:pPr lvl="2"/>
            <a:r>
              <a:rPr lang="en-US" noProof="0"/>
              <a:t>Text level 3</a:t>
            </a:r>
          </a:p>
          <a:p>
            <a:pPr lvl="3"/>
            <a:r>
              <a:rPr lang="en-US" noProof="0"/>
              <a:t>Text level 4</a:t>
            </a:r>
          </a:p>
          <a:p>
            <a:pPr lvl="4"/>
            <a:r>
              <a:rPr lang="en-US" noProof="0"/>
              <a:t>Text level 5</a:t>
            </a:r>
          </a:p>
        </p:txBody>
      </p:sp>
      <p:sp>
        <p:nvSpPr>
          <p:cNvPr id="8" name="Espace réservé de la date 7"/>
          <p:cNvSpPr>
            <a:spLocks noGrp="1"/>
          </p:cNvSpPr>
          <p:nvPr>
            <p:ph type="dt" sz="half" idx="14"/>
          </p:nvPr>
        </p:nvSpPr>
        <p:spPr bwMode="gray"/>
        <p:txBody>
          <a:bodyPr/>
          <a:lstStyle/>
          <a:p>
            <a:r>
              <a:rPr lang="en-US" noProof="0"/>
              <a:t>Date</a:t>
            </a:r>
          </a:p>
        </p:txBody>
      </p:sp>
      <p:sp>
        <p:nvSpPr>
          <p:cNvPr id="9" name="Espace réservé du numéro de diapositive 8"/>
          <p:cNvSpPr>
            <a:spLocks noGrp="1"/>
          </p:cNvSpPr>
          <p:nvPr>
            <p:ph type="sldNum" sz="quarter" idx="15"/>
          </p:nvPr>
        </p:nvSpPr>
        <p:spPr bwMode="gray"/>
        <p:txBody>
          <a:bodyPr/>
          <a:lstStyle/>
          <a:p>
            <a:pPr algn="l"/>
            <a:fld id="{733122C9-A0B9-462F-8757-0847AD287B63}" type="slidenum">
              <a:rPr lang="en-US" noProof="0" smtClean="0"/>
              <a:pPr algn="l"/>
              <a:t>‹#›</a:t>
            </a:fld>
            <a:endParaRPr lang="en-US" noProof="0"/>
          </a:p>
        </p:txBody>
      </p:sp>
      <p:sp>
        <p:nvSpPr>
          <p:cNvPr id="11" name="Espace réservé du pied de page 10"/>
          <p:cNvSpPr>
            <a:spLocks noGrp="1"/>
          </p:cNvSpPr>
          <p:nvPr>
            <p:ph type="ftr" sz="quarter" idx="16"/>
          </p:nvPr>
        </p:nvSpPr>
        <p:spPr bwMode="gray"/>
        <p:txBody>
          <a:bodyPr/>
          <a:lstStyle/>
          <a:p>
            <a:r>
              <a:rPr lang="en-US" noProof="0"/>
              <a:t>#add your hashtag</a:t>
            </a:r>
          </a:p>
        </p:txBody>
      </p:sp>
    </p:spTree>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ext&amp;4_Blocks_Layout">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p:txBody>
          <a:bodyPr/>
          <a:lstStyle/>
          <a:p>
            <a:r>
              <a:rPr lang="en-US" noProof="0"/>
              <a:t>TITLE</a:t>
            </a:r>
          </a:p>
        </p:txBody>
      </p:sp>
      <p:sp>
        <p:nvSpPr>
          <p:cNvPr id="10" name="Espace réservé du texte 9"/>
          <p:cNvSpPr>
            <a:spLocks noGrp="1"/>
          </p:cNvSpPr>
          <p:nvPr>
            <p:ph type="body" sz="quarter" idx="13" hasCustomPrompt="1"/>
          </p:nvPr>
        </p:nvSpPr>
        <p:spPr bwMode="gray">
          <a:xfrm>
            <a:off x="935038" y="1304924"/>
            <a:ext cx="7345362" cy="936626"/>
          </a:xfrm>
        </p:spPr>
        <p:txBody>
          <a:bodyPr/>
          <a:lstStyle/>
          <a:p>
            <a:pPr lvl="0"/>
            <a:r>
              <a:rPr lang="en-US" noProof="0"/>
              <a:t>Text level 1</a:t>
            </a:r>
          </a:p>
          <a:p>
            <a:pPr lvl="1"/>
            <a:r>
              <a:rPr lang="en-US" noProof="0"/>
              <a:t>Text level 2</a:t>
            </a:r>
          </a:p>
          <a:p>
            <a:pPr lvl="2"/>
            <a:r>
              <a:rPr lang="en-US" noProof="0"/>
              <a:t>Text level 3</a:t>
            </a:r>
          </a:p>
          <a:p>
            <a:pPr lvl="3"/>
            <a:r>
              <a:rPr lang="en-US" noProof="0"/>
              <a:t>Text level 4</a:t>
            </a:r>
          </a:p>
          <a:p>
            <a:pPr lvl="4"/>
            <a:r>
              <a:rPr lang="en-US" noProof="0"/>
              <a:t>Text level 5</a:t>
            </a:r>
          </a:p>
        </p:txBody>
      </p:sp>
      <p:sp>
        <p:nvSpPr>
          <p:cNvPr id="8" name="Espace réservé de la date 7"/>
          <p:cNvSpPr>
            <a:spLocks noGrp="1"/>
          </p:cNvSpPr>
          <p:nvPr>
            <p:ph type="dt" sz="half" idx="14"/>
          </p:nvPr>
        </p:nvSpPr>
        <p:spPr bwMode="gray"/>
        <p:txBody>
          <a:bodyPr/>
          <a:lstStyle/>
          <a:p>
            <a:r>
              <a:rPr lang="en-US">
                <a:solidFill>
                  <a:prstClr val="white">
                    <a:alpha val="0"/>
                  </a:prstClr>
                </a:solidFill>
              </a:rPr>
              <a:t>Date</a:t>
            </a:r>
          </a:p>
        </p:txBody>
      </p:sp>
      <p:sp>
        <p:nvSpPr>
          <p:cNvPr id="9" name="Espace réservé du numéro de diapositive 8"/>
          <p:cNvSpPr>
            <a:spLocks noGrp="1"/>
          </p:cNvSpPr>
          <p:nvPr>
            <p:ph type="sldNum" sz="quarter" idx="15"/>
          </p:nvPr>
        </p:nvSpPr>
        <p:spPr bwMode="gray"/>
        <p:txBody>
          <a:bodyPr/>
          <a:lstStyle/>
          <a:p>
            <a:fld id="{733122C9-A0B9-462F-8757-0847AD287B63}" type="slidenum">
              <a:rPr lang="en-US" smtClean="0">
                <a:solidFill>
                  <a:srgbClr val="343434"/>
                </a:solidFill>
              </a:rPr>
              <a:pPr/>
              <a:t>‹#›</a:t>
            </a:fld>
            <a:endParaRPr lang="en-US">
              <a:solidFill>
                <a:srgbClr val="343434"/>
              </a:solidFill>
            </a:endParaRPr>
          </a:p>
        </p:txBody>
      </p:sp>
      <p:sp>
        <p:nvSpPr>
          <p:cNvPr id="11" name="Espace réservé du pied de page 10"/>
          <p:cNvSpPr>
            <a:spLocks noGrp="1"/>
          </p:cNvSpPr>
          <p:nvPr>
            <p:ph type="ftr" sz="quarter" idx="16"/>
          </p:nvPr>
        </p:nvSpPr>
        <p:spPr bwMode="gray"/>
        <p:txBody>
          <a:bodyPr/>
          <a:lstStyle/>
          <a:p>
            <a:r>
              <a:rPr lang="en-US">
                <a:solidFill>
                  <a:srgbClr val="005CB9"/>
                </a:solidFill>
              </a:rPr>
              <a:t>#add your hashtag</a:t>
            </a:r>
          </a:p>
        </p:txBody>
      </p:sp>
      <p:sp>
        <p:nvSpPr>
          <p:cNvPr id="21" name="Espace réservé du texte 9"/>
          <p:cNvSpPr>
            <a:spLocks noGrp="1"/>
          </p:cNvSpPr>
          <p:nvPr>
            <p:ph type="body" sz="quarter" idx="19" hasCustomPrompt="1"/>
          </p:nvPr>
        </p:nvSpPr>
        <p:spPr bwMode="gray">
          <a:xfrm>
            <a:off x="935038" y="2241550"/>
            <a:ext cx="3564000" cy="324000"/>
          </a:xfrm>
          <a:solidFill>
            <a:schemeClr val="accent1"/>
          </a:solidFill>
          <a:ln w="9525">
            <a:solidFill>
              <a:schemeClr val="accent1"/>
            </a:solidFill>
          </a:ln>
        </p:spPr>
        <p:txBody>
          <a:bodyPr anchor="ctr" anchorCtr="0"/>
          <a:lstStyle>
            <a:lvl1pPr algn="ctr">
              <a:lnSpc>
                <a:spcPct val="100000"/>
              </a:lnSpc>
              <a:defRPr>
                <a:solidFill>
                  <a:schemeClr val="bg1"/>
                </a:solidFill>
              </a:defRPr>
            </a:lvl1pPr>
          </a:lstStyle>
          <a:p>
            <a:pPr lvl="0"/>
            <a:r>
              <a:rPr lang="en-US" noProof="0"/>
              <a:t>Text level 1</a:t>
            </a:r>
          </a:p>
        </p:txBody>
      </p:sp>
      <p:sp>
        <p:nvSpPr>
          <p:cNvPr id="22" name="Espace réservé du texte 9"/>
          <p:cNvSpPr>
            <a:spLocks noGrp="1"/>
          </p:cNvSpPr>
          <p:nvPr>
            <p:ph type="body" sz="quarter" idx="20" hasCustomPrompt="1"/>
          </p:nvPr>
        </p:nvSpPr>
        <p:spPr bwMode="gray">
          <a:xfrm>
            <a:off x="935038" y="2565550"/>
            <a:ext cx="3564000" cy="1350000"/>
          </a:xfrm>
          <a:ln w="9525">
            <a:solidFill>
              <a:schemeClr val="accent1"/>
            </a:solidFill>
          </a:ln>
        </p:spPr>
        <p:txBody>
          <a:bodyPr tIns="72000"/>
          <a:lstStyle>
            <a:lvl1pPr marL="324000" indent="-180000">
              <a:lnSpc>
                <a:spcPct val="100000"/>
              </a:lnSpc>
              <a:spcBef>
                <a:spcPts val="300"/>
              </a:spcBef>
              <a:buClr>
                <a:schemeClr val="accent3"/>
              </a:buClr>
              <a:buFont typeface="Arial" pitchFamily="34" charset="0"/>
              <a:buChar char="•"/>
              <a:defRPr sz="1800">
                <a:solidFill>
                  <a:schemeClr val="tx1"/>
                </a:solidFill>
              </a:defRPr>
            </a:lvl1pPr>
            <a:lvl2pPr marL="504000">
              <a:buClr>
                <a:schemeClr val="tx1"/>
              </a:buClr>
              <a:defRPr sz="1600" b="0"/>
            </a:lvl2pPr>
            <a:lvl3pPr indent="0">
              <a:buNone/>
              <a:defRPr/>
            </a:lvl3pPr>
            <a:lvl4pPr marL="684000" indent="-180000">
              <a:buClr>
                <a:schemeClr val="tx1"/>
              </a:buClr>
              <a:buFont typeface="Arial" pitchFamily="34" charset="0"/>
              <a:buChar char="•"/>
              <a:defRPr sz="1400"/>
            </a:lvl4pPr>
          </a:lstStyle>
          <a:p>
            <a:pPr lvl="0"/>
            <a:r>
              <a:rPr lang="en-US" noProof="0"/>
              <a:t>Text level 2</a:t>
            </a:r>
          </a:p>
          <a:p>
            <a:pPr lvl="1"/>
            <a:r>
              <a:rPr lang="en-US" noProof="0"/>
              <a:t>Text level 3</a:t>
            </a:r>
          </a:p>
          <a:p>
            <a:pPr lvl="2"/>
            <a:r>
              <a:rPr lang="en-US" noProof="0"/>
              <a:t>Text level 4</a:t>
            </a:r>
          </a:p>
          <a:p>
            <a:pPr lvl="3"/>
            <a:r>
              <a:rPr lang="en-US" noProof="0"/>
              <a:t>Text level 5</a:t>
            </a:r>
          </a:p>
        </p:txBody>
      </p:sp>
      <p:sp>
        <p:nvSpPr>
          <p:cNvPr id="23" name="Espace réservé du texte 9"/>
          <p:cNvSpPr>
            <a:spLocks noGrp="1"/>
          </p:cNvSpPr>
          <p:nvPr>
            <p:ph type="body" sz="quarter" idx="21" hasCustomPrompt="1"/>
          </p:nvPr>
        </p:nvSpPr>
        <p:spPr bwMode="gray">
          <a:xfrm>
            <a:off x="4716400" y="2241550"/>
            <a:ext cx="3564000" cy="324000"/>
          </a:xfrm>
          <a:solidFill>
            <a:schemeClr val="accent2"/>
          </a:solidFill>
          <a:ln w="9525">
            <a:solidFill>
              <a:schemeClr val="accent2"/>
            </a:solidFill>
          </a:ln>
        </p:spPr>
        <p:txBody>
          <a:bodyPr anchor="ctr" anchorCtr="0"/>
          <a:lstStyle>
            <a:lvl1pPr algn="ctr">
              <a:lnSpc>
                <a:spcPct val="100000"/>
              </a:lnSpc>
              <a:defRPr>
                <a:solidFill>
                  <a:schemeClr val="bg1"/>
                </a:solidFill>
              </a:defRPr>
            </a:lvl1pPr>
          </a:lstStyle>
          <a:p>
            <a:pPr lvl="0"/>
            <a:r>
              <a:rPr lang="en-US" noProof="0"/>
              <a:t>Text level 1</a:t>
            </a:r>
          </a:p>
        </p:txBody>
      </p:sp>
      <p:sp>
        <p:nvSpPr>
          <p:cNvPr id="24" name="Espace réservé du texte 9"/>
          <p:cNvSpPr>
            <a:spLocks noGrp="1"/>
          </p:cNvSpPr>
          <p:nvPr>
            <p:ph type="body" sz="quarter" idx="22" hasCustomPrompt="1"/>
          </p:nvPr>
        </p:nvSpPr>
        <p:spPr bwMode="gray">
          <a:xfrm>
            <a:off x="4716400" y="2565550"/>
            <a:ext cx="3564000" cy="1350000"/>
          </a:xfrm>
          <a:ln w="9525">
            <a:solidFill>
              <a:schemeClr val="accent2"/>
            </a:solidFill>
          </a:ln>
        </p:spPr>
        <p:txBody>
          <a:bodyPr tIns="72000"/>
          <a:lstStyle>
            <a:lvl1pPr marL="324000" indent="-180000">
              <a:lnSpc>
                <a:spcPct val="100000"/>
              </a:lnSpc>
              <a:spcBef>
                <a:spcPts val="300"/>
              </a:spcBef>
              <a:buClr>
                <a:schemeClr val="accent3"/>
              </a:buClr>
              <a:buFont typeface="Arial" pitchFamily="34" charset="0"/>
              <a:buChar char="•"/>
              <a:defRPr sz="1800">
                <a:solidFill>
                  <a:schemeClr val="tx1"/>
                </a:solidFill>
              </a:defRPr>
            </a:lvl1pPr>
            <a:lvl2pPr marL="504000">
              <a:buClr>
                <a:schemeClr val="tx1"/>
              </a:buClr>
              <a:defRPr sz="1600" b="0"/>
            </a:lvl2pPr>
            <a:lvl3pPr indent="0">
              <a:buNone/>
              <a:defRPr/>
            </a:lvl3pPr>
            <a:lvl4pPr marL="684000" indent="-180000">
              <a:buClr>
                <a:schemeClr val="tx1"/>
              </a:buClr>
              <a:buFont typeface="Arial" pitchFamily="34" charset="0"/>
              <a:buChar char="•"/>
              <a:defRPr sz="1400"/>
            </a:lvl4pPr>
          </a:lstStyle>
          <a:p>
            <a:pPr lvl="0"/>
            <a:r>
              <a:rPr lang="en-US" noProof="0"/>
              <a:t>Text level 2</a:t>
            </a:r>
          </a:p>
          <a:p>
            <a:pPr lvl="1"/>
            <a:r>
              <a:rPr lang="en-US" noProof="0"/>
              <a:t>Text level 3</a:t>
            </a:r>
          </a:p>
          <a:p>
            <a:pPr lvl="2"/>
            <a:r>
              <a:rPr lang="en-US" noProof="0"/>
              <a:t>Text level 4</a:t>
            </a:r>
          </a:p>
          <a:p>
            <a:pPr lvl="3"/>
            <a:r>
              <a:rPr lang="en-US" noProof="0"/>
              <a:t>Text level 5</a:t>
            </a:r>
          </a:p>
        </p:txBody>
      </p:sp>
      <p:sp>
        <p:nvSpPr>
          <p:cNvPr id="25" name="Espace réservé du texte 9"/>
          <p:cNvSpPr>
            <a:spLocks noGrp="1"/>
          </p:cNvSpPr>
          <p:nvPr>
            <p:ph type="body" sz="quarter" idx="23" hasCustomPrompt="1"/>
          </p:nvPr>
        </p:nvSpPr>
        <p:spPr bwMode="gray">
          <a:xfrm>
            <a:off x="935038" y="4131488"/>
            <a:ext cx="3564000" cy="324000"/>
          </a:xfrm>
          <a:solidFill>
            <a:schemeClr val="accent3"/>
          </a:solidFill>
          <a:ln w="9525">
            <a:solidFill>
              <a:schemeClr val="accent3"/>
            </a:solidFill>
          </a:ln>
        </p:spPr>
        <p:txBody>
          <a:bodyPr anchor="ctr" anchorCtr="0"/>
          <a:lstStyle>
            <a:lvl1pPr algn="ctr">
              <a:lnSpc>
                <a:spcPct val="100000"/>
              </a:lnSpc>
              <a:defRPr>
                <a:solidFill>
                  <a:schemeClr val="bg1"/>
                </a:solidFill>
              </a:defRPr>
            </a:lvl1pPr>
          </a:lstStyle>
          <a:p>
            <a:pPr lvl="0"/>
            <a:r>
              <a:rPr lang="en-US" noProof="0"/>
              <a:t>Text level 1</a:t>
            </a:r>
          </a:p>
        </p:txBody>
      </p:sp>
      <p:sp>
        <p:nvSpPr>
          <p:cNvPr id="26" name="Espace réservé du texte 9"/>
          <p:cNvSpPr>
            <a:spLocks noGrp="1"/>
          </p:cNvSpPr>
          <p:nvPr>
            <p:ph type="body" sz="quarter" idx="24" hasCustomPrompt="1"/>
          </p:nvPr>
        </p:nvSpPr>
        <p:spPr bwMode="gray">
          <a:xfrm>
            <a:off x="935038" y="4455488"/>
            <a:ext cx="3564000" cy="1350000"/>
          </a:xfrm>
          <a:ln w="9525">
            <a:solidFill>
              <a:schemeClr val="accent3"/>
            </a:solidFill>
          </a:ln>
        </p:spPr>
        <p:txBody>
          <a:bodyPr tIns="72000"/>
          <a:lstStyle>
            <a:lvl1pPr marL="324000" indent="-180000">
              <a:lnSpc>
                <a:spcPct val="100000"/>
              </a:lnSpc>
              <a:spcBef>
                <a:spcPts val="300"/>
              </a:spcBef>
              <a:buClr>
                <a:schemeClr val="accent3"/>
              </a:buClr>
              <a:buFont typeface="Arial" pitchFamily="34" charset="0"/>
              <a:buChar char="•"/>
              <a:defRPr sz="1800">
                <a:solidFill>
                  <a:schemeClr val="tx1"/>
                </a:solidFill>
              </a:defRPr>
            </a:lvl1pPr>
            <a:lvl2pPr marL="504000">
              <a:buClr>
                <a:schemeClr val="tx1"/>
              </a:buClr>
              <a:defRPr sz="1600" b="0"/>
            </a:lvl2pPr>
            <a:lvl3pPr indent="0">
              <a:buNone/>
              <a:defRPr/>
            </a:lvl3pPr>
            <a:lvl4pPr marL="684000" indent="-180000">
              <a:buClr>
                <a:schemeClr val="tx1"/>
              </a:buClr>
              <a:buFont typeface="Arial" pitchFamily="34" charset="0"/>
              <a:buChar char="•"/>
              <a:defRPr sz="1400"/>
            </a:lvl4pPr>
          </a:lstStyle>
          <a:p>
            <a:pPr lvl="0"/>
            <a:r>
              <a:rPr lang="en-US" noProof="0"/>
              <a:t>Text level 2</a:t>
            </a:r>
          </a:p>
          <a:p>
            <a:pPr lvl="1"/>
            <a:r>
              <a:rPr lang="en-US" noProof="0"/>
              <a:t>Text level 3</a:t>
            </a:r>
          </a:p>
          <a:p>
            <a:pPr lvl="2"/>
            <a:r>
              <a:rPr lang="en-US" noProof="0"/>
              <a:t>Text level 4</a:t>
            </a:r>
          </a:p>
          <a:p>
            <a:pPr lvl="3"/>
            <a:r>
              <a:rPr lang="en-US" noProof="0"/>
              <a:t>Text level 5</a:t>
            </a:r>
          </a:p>
        </p:txBody>
      </p:sp>
      <p:sp>
        <p:nvSpPr>
          <p:cNvPr id="27" name="Espace réservé du texte 9"/>
          <p:cNvSpPr>
            <a:spLocks noGrp="1"/>
          </p:cNvSpPr>
          <p:nvPr>
            <p:ph type="body" sz="quarter" idx="25" hasCustomPrompt="1"/>
          </p:nvPr>
        </p:nvSpPr>
        <p:spPr bwMode="gray">
          <a:xfrm>
            <a:off x="4716400" y="4131488"/>
            <a:ext cx="3564000" cy="324000"/>
          </a:xfrm>
          <a:solidFill>
            <a:schemeClr val="bg2"/>
          </a:solidFill>
          <a:ln w="9525">
            <a:solidFill>
              <a:schemeClr val="bg2"/>
            </a:solidFill>
          </a:ln>
        </p:spPr>
        <p:txBody>
          <a:bodyPr anchor="ctr" anchorCtr="0"/>
          <a:lstStyle>
            <a:lvl1pPr algn="ctr">
              <a:lnSpc>
                <a:spcPct val="100000"/>
              </a:lnSpc>
              <a:defRPr>
                <a:solidFill>
                  <a:schemeClr val="bg1"/>
                </a:solidFill>
              </a:defRPr>
            </a:lvl1pPr>
          </a:lstStyle>
          <a:p>
            <a:pPr lvl="0"/>
            <a:r>
              <a:rPr lang="en-US" noProof="0"/>
              <a:t>Text level 1</a:t>
            </a:r>
          </a:p>
        </p:txBody>
      </p:sp>
      <p:sp>
        <p:nvSpPr>
          <p:cNvPr id="28" name="Espace réservé du texte 9"/>
          <p:cNvSpPr>
            <a:spLocks noGrp="1"/>
          </p:cNvSpPr>
          <p:nvPr>
            <p:ph type="body" sz="quarter" idx="26" hasCustomPrompt="1"/>
          </p:nvPr>
        </p:nvSpPr>
        <p:spPr bwMode="gray">
          <a:xfrm>
            <a:off x="4716400" y="4455488"/>
            <a:ext cx="3564000" cy="1350000"/>
          </a:xfrm>
          <a:ln w="9525">
            <a:solidFill>
              <a:schemeClr val="bg2"/>
            </a:solidFill>
          </a:ln>
        </p:spPr>
        <p:txBody>
          <a:bodyPr tIns="72000"/>
          <a:lstStyle>
            <a:lvl1pPr marL="324000" indent="-180000">
              <a:lnSpc>
                <a:spcPct val="100000"/>
              </a:lnSpc>
              <a:spcBef>
                <a:spcPts val="300"/>
              </a:spcBef>
              <a:buClr>
                <a:schemeClr val="accent3"/>
              </a:buClr>
              <a:buFont typeface="Arial" pitchFamily="34" charset="0"/>
              <a:buChar char="•"/>
              <a:defRPr sz="1800">
                <a:solidFill>
                  <a:schemeClr val="tx1"/>
                </a:solidFill>
              </a:defRPr>
            </a:lvl1pPr>
            <a:lvl2pPr marL="504000">
              <a:buClr>
                <a:schemeClr val="tx1"/>
              </a:buClr>
              <a:defRPr sz="1600" b="0"/>
            </a:lvl2pPr>
            <a:lvl3pPr indent="0">
              <a:buNone/>
              <a:defRPr/>
            </a:lvl3pPr>
            <a:lvl4pPr marL="684000" indent="-180000">
              <a:buClr>
                <a:schemeClr val="tx1"/>
              </a:buClr>
              <a:buFont typeface="Arial" pitchFamily="34" charset="0"/>
              <a:buChar char="•"/>
              <a:defRPr sz="1400"/>
            </a:lvl4pPr>
          </a:lstStyle>
          <a:p>
            <a:pPr lvl="0"/>
            <a:r>
              <a:rPr lang="en-US" noProof="0"/>
              <a:t>Text level 2</a:t>
            </a:r>
          </a:p>
          <a:p>
            <a:pPr lvl="1"/>
            <a:r>
              <a:rPr lang="en-US" noProof="0"/>
              <a:t>Text level 3</a:t>
            </a:r>
          </a:p>
          <a:p>
            <a:pPr lvl="2"/>
            <a:r>
              <a:rPr lang="en-US" noProof="0"/>
              <a:t>Text level 4</a:t>
            </a:r>
          </a:p>
          <a:p>
            <a:pPr lvl="3"/>
            <a:r>
              <a:rPr lang="en-US" noProof="0"/>
              <a:t>Text level 5</a:t>
            </a:r>
          </a:p>
        </p:txBody>
      </p:sp>
    </p:spTree>
    <p:extLst>
      <p:ext uri="{BB962C8B-B14F-4D97-AF65-F5344CB8AC3E}">
        <p14:creationId xmlns:p14="http://schemas.microsoft.com/office/powerpoint/2010/main" val="2187524282"/>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4_Blocks_Layout">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p:txBody>
          <a:bodyPr/>
          <a:lstStyle/>
          <a:p>
            <a:r>
              <a:rPr lang="en-US" noProof="0"/>
              <a:t>TITLE</a:t>
            </a:r>
          </a:p>
        </p:txBody>
      </p:sp>
      <p:sp>
        <p:nvSpPr>
          <p:cNvPr id="8" name="Espace réservé de la date 7"/>
          <p:cNvSpPr>
            <a:spLocks noGrp="1"/>
          </p:cNvSpPr>
          <p:nvPr>
            <p:ph type="dt" sz="half" idx="14"/>
          </p:nvPr>
        </p:nvSpPr>
        <p:spPr bwMode="gray"/>
        <p:txBody>
          <a:bodyPr/>
          <a:lstStyle/>
          <a:p>
            <a:r>
              <a:rPr lang="en-US">
                <a:solidFill>
                  <a:prstClr val="white">
                    <a:alpha val="0"/>
                  </a:prstClr>
                </a:solidFill>
              </a:rPr>
              <a:t>Date</a:t>
            </a:r>
          </a:p>
        </p:txBody>
      </p:sp>
      <p:sp>
        <p:nvSpPr>
          <p:cNvPr id="9" name="Espace réservé du numéro de diapositive 8"/>
          <p:cNvSpPr>
            <a:spLocks noGrp="1"/>
          </p:cNvSpPr>
          <p:nvPr>
            <p:ph type="sldNum" sz="quarter" idx="15"/>
          </p:nvPr>
        </p:nvSpPr>
        <p:spPr bwMode="gray"/>
        <p:txBody>
          <a:bodyPr/>
          <a:lstStyle/>
          <a:p>
            <a:fld id="{733122C9-A0B9-462F-8757-0847AD287B63}" type="slidenum">
              <a:rPr lang="en-US" smtClean="0">
                <a:solidFill>
                  <a:srgbClr val="343434"/>
                </a:solidFill>
              </a:rPr>
              <a:pPr/>
              <a:t>‹#›</a:t>
            </a:fld>
            <a:endParaRPr lang="en-US">
              <a:solidFill>
                <a:srgbClr val="343434"/>
              </a:solidFill>
            </a:endParaRPr>
          </a:p>
        </p:txBody>
      </p:sp>
      <p:sp>
        <p:nvSpPr>
          <p:cNvPr id="11" name="Espace réservé du pied de page 10"/>
          <p:cNvSpPr>
            <a:spLocks noGrp="1"/>
          </p:cNvSpPr>
          <p:nvPr>
            <p:ph type="ftr" sz="quarter" idx="16"/>
          </p:nvPr>
        </p:nvSpPr>
        <p:spPr bwMode="gray"/>
        <p:txBody>
          <a:bodyPr/>
          <a:lstStyle/>
          <a:p>
            <a:r>
              <a:rPr lang="en-US">
                <a:solidFill>
                  <a:srgbClr val="005CB9"/>
                </a:solidFill>
              </a:rPr>
              <a:t>#add your hashtag</a:t>
            </a:r>
          </a:p>
        </p:txBody>
      </p:sp>
      <p:sp>
        <p:nvSpPr>
          <p:cNvPr id="21" name="Espace réservé du texte 9"/>
          <p:cNvSpPr>
            <a:spLocks noGrp="1"/>
          </p:cNvSpPr>
          <p:nvPr>
            <p:ph type="body" sz="quarter" idx="19" hasCustomPrompt="1"/>
          </p:nvPr>
        </p:nvSpPr>
        <p:spPr bwMode="gray">
          <a:xfrm>
            <a:off x="935038" y="1341438"/>
            <a:ext cx="1440000" cy="792000"/>
          </a:xfrm>
          <a:solidFill>
            <a:schemeClr val="accent1"/>
          </a:solidFill>
          <a:ln w="9525">
            <a:solidFill>
              <a:schemeClr val="accent1"/>
            </a:solidFill>
          </a:ln>
        </p:spPr>
        <p:txBody>
          <a:bodyPr anchor="ctr" anchorCtr="0"/>
          <a:lstStyle>
            <a:lvl1pPr algn="ctr">
              <a:lnSpc>
                <a:spcPct val="100000"/>
              </a:lnSpc>
              <a:defRPr>
                <a:solidFill>
                  <a:schemeClr val="bg1"/>
                </a:solidFill>
              </a:defRPr>
            </a:lvl1pPr>
          </a:lstStyle>
          <a:p>
            <a:pPr lvl="0"/>
            <a:r>
              <a:rPr lang="en-US" noProof="0"/>
              <a:t>Text level 1</a:t>
            </a:r>
          </a:p>
        </p:txBody>
      </p:sp>
      <p:sp>
        <p:nvSpPr>
          <p:cNvPr id="22" name="Espace réservé du texte 9"/>
          <p:cNvSpPr>
            <a:spLocks noGrp="1"/>
          </p:cNvSpPr>
          <p:nvPr>
            <p:ph type="body" sz="quarter" idx="20" hasCustomPrompt="1"/>
          </p:nvPr>
        </p:nvSpPr>
        <p:spPr bwMode="gray">
          <a:xfrm>
            <a:off x="2376000" y="1341438"/>
            <a:ext cx="5904400" cy="792000"/>
          </a:xfrm>
          <a:ln w="9525">
            <a:solidFill>
              <a:schemeClr val="accent1"/>
            </a:solidFill>
          </a:ln>
        </p:spPr>
        <p:txBody>
          <a:bodyPr tIns="72000"/>
          <a:lstStyle>
            <a:lvl1pPr marL="324000" indent="-180000">
              <a:lnSpc>
                <a:spcPct val="100000"/>
              </a:lnSpc>
              <a:spcBef>
                <a:spcPts val="300"/>
              </a:spcBef>
              <a:buClr>
                <a:schemeClr val="accent3"/>
              </a:buClr>
              <a:buFont typeface="Arial" pitchFamily="34" charset="0"/>
              <a:buChar char="•"/>
              <a:defRPr sz="1800">
                <a:solidFill>
                  <a:schemeClr val="tx1"/>
                </a:solidFill>
              </a:defRPr>
            </a:lvl1pPr>
            <a:lvl2pPr marL="504000">
              <a:buClr>
                <a:schemeClr val="tx1"/>
              </a:buClr>
              <a:defRPr sz="1600" b="0"/>
            </a:lvl2pPr>
            <a:lvl3pPr indent="0">
              <a:buNone/>
              <a:defRPr/>
            </a:lvl3pPr>
            <a:lvl4pPr marL="684000" indent="-180000">
              <a:buClr>
                <a:schemeClr val="tx1"/>
              </a:buClr>
              <a:buFont typeface="Arial" pitchFamily="34" charset="0"/>
              <a:buChar char="•"/>
              <a:defRPr sz="1400"/>
            </a:lvl4pPr>
          </a:lstStyle>
          <a:p>
            <a:pPr lvl="0"/>
            <a:r>
              <a:rPr lang="en-US" noProof="0"/>
              <a:t>Text level 2</a:t>
            </a:r>
          </a:p>
          <a:p>
            <a:pPr lvl="1"/>
            <a:r>
              <a:rPr lang="en-US" noProof="0"/>
              <a:t>Text level 3</a:t>
            </a:r>
          </a:p>
          <a:p>
            <a:pPr lvl="2"/>
            <a:r>
              <a:rPr lang="en-US" noProof="0"/>
              <a:t>Text level 4</a:t>
            </a:r>
          </a:p>
          <a:p>
            <a:pPr lvl="3"/>
            <a:r>
              <a:rPr lang="en-US" noProof="0"/>
              <a:t>Text level 5</a:t>
            </a:r>
          </a:p>
        </p:txBody>
      </p:sp>
      <p:sp>
        <p:nvSpPr>
          <p:cNvPr id="16" name="Espace réservé du texte 9"/>
          <p:cNvSpPr>
            <a:spLocks noGrp="1"/>
          </p:cNvSpPr>
          <p:nvPr>
            <p:ph type="body" sz="quarter" idx="21" hasCustomPrompt="1"/>
          </p:nvPr>
        </p:nvSpPr>
        <p:spPr bwMode="gray">
          <a:xfrm>
            <a:off x="935038" y="2349555"/>
            <a:ext cx="1440000" cy="792000"/>
          </a:xfrm>
          <a:solidFill>
            <a:schemeClr val="accent2"/>
          </a:solidFill>
          <a:ln w="9525">
            <a:solidFill>
              <a:schemeClr val="accent2"/>
            </a:solidFill>
          </a:ln>
        </p:spPr>
        <p:txBody>
          <a:bodyPr anchor="ctr" anchorCtr="0"/>
          <a:lstStyle>
            <a:lvl1pPr algn="ctr">
              <a:lnSpc>
                <a:spcPct val="100000"/>
              </a:lnSpc>
              <a:defRPr>
                <a:solidFill>
                  <a:schemeClr val="bg1"/>
                </a:solidFill>
              </a:defRPr>
            </a:lvl1pPr>
          </a:lstStyle>
          <a:p>
            <a:pPr lvl="0"/>
            <a:r>
              <a:rPr lang="en-US" noProof="0"/>
              <a:t>Text level 1</a:t>
            </a:r>
          </a:p>
        </p:txBody>
      </p:sp>
      <p:sp>
        <p:nvSpPr>
          <p:cNvPr id="17" name="Espace réservé du texte 9"/>
          <p:cNvSpPr>
            <a:spLocks noGrp="1"/>
          </p:cNvSpPr>
          <p:nvPr>
            <p:ph type="body" sz="quarter" idx="22" hasCustomPrompt="1"/>
          </p:nvPr>
        </p:nvSpPr>
        <p:spPr bwMode="gray">
          <a:xfrm>
            <a:off x="2376000" y="2349555"/>
            <a:ext cx="5904400" cy="792000"/>
          </a:xfrm>
          <a:ln w="9525">
            <a:solidFill>
              <a:schemeClr val="accent2"/>
            </a:solidFill>
          </a:ln>
        </p:spPr>
        <p:txBody>
          <a:bodyPr tIns="72000"/>
          <a:lstStyle>
            <a:lvl1pPr marL="324000" indent="-180000">
              <a:lnSpc>
                <a:spcPct val="100000"/>
              </a:lnSpc>
              <a:spcBef>
                <a:spcPts val="300"/>
              </a:spcBef>
              <a:buClr>
                <a:schemeClr val="accent3"/>
              </a:buClr>
              <a:buFont typeface="Arial" pitchFamily="34" charset="0"/>
              <a:buChar char="•"/>
              <a:defRPr sz="1800">
                <a:solidFill>
                  <a:schemeClr val="tx1"/>
                </a:solidFill>
              </a:defRPr>
            </a:lvl1pPr>
            <a:lvl2pPr marL="504000">
              <a:buClr>
                <a:schemeClr val="tx1"/>
              </a:buClr>
              <a:defRPr sz="1600" b="0"/>
            </a:lvl2pPr>
            <a:lvl3pPr indent="0">
              <a:buNone/>
              <a:defRPr/>
            </a:lvl3pPr>
            <a:lvl4pPr marL="684000" indent="-180000">
              <a:buClr>
                <a:schemeClr val="tx1"/>
              </a:buClr>
              <a:buFont typeface="Arial" pitchFamily="34" charset="0"/>
              <a:buChar char="•"/>
              <a:defRPr sz="1400"/>
            </a:lvl4pPr>
          </a:lstStyle>
          <a:p>
            <a:pPr lvl="0"/>
            <a:r>
              <a:rPr lang="en-US" noProof="0"/>
              <a:t>Text level 2</a:t>
            </a:r>
          </a:p>
          <a:p>
            <a:pPr lvl="1"/>
            <a:r>
              <a:rPr lang="en-US" noProof="0"/>
              <a:t>Text level 3</a:t>
            </a:r>
          </a:p>
          <a:p>
            <a:pPr lvl="2"/>
            <a:r>
              <a:rPr lang="en-US" noProof="0"/>
              <a:t>Text level 4</a:t>
            </a:r>
          </a:p>
          <a:p>
            <a:pPr lvl="3"/>
            <a:r>
              <a:rPr lang="en-US" noProof="0"/>
              <a:t>Text level 5</a:t>
            </a:r>
          </a:p>
        </p:txBody>
      </p:sp>
      <p:sp>
        <p:nvSpPr>
          <p:cNvPr id="18" name="Espace réservé du texte 9"/>
          <p:cNvSpPr>
            <a:spLocks noGrp="1"/>
          </p:cNvSpPr>
          <p:nvPr>
            <p:ph type="body" sz="quarter" idx="23" hasCustomPrompt="1"/>
          </p:nvPr>
        </p:nvSpPr>
        <p:spPr bwMode="gray">
          <a:xfrm>
            <a:off x="935038" y="3357672"/>
            <a:ext cx="1440000" cy="792000"/>
          </a:xfrm>
          <a:solidFill>
            <a:schemeClr val="accent3"/>
          </a:solidFill>
          <a:ln w="9525">
            <a:solidFill>
              <a:schemeClr val="accent3"/>
            </a:solidFill>
          </a:ln>
        </p:spPr>
        <p:txBody>
          <a:bodyPr anchor="ctr" anchorCtr="0"/>
          <a:lstStyle>
            <a:lvl1pPr algn="ctr">
              <a:lnSpc>
                <a:spcPct val="100000"/>
              </a:lnSpc>
              <a:defRPr>
                <a:solidFill>
                  <a:schemeClr val="bg1"/>
                </a:solidFill>
              </a:defRPr>
            </a:lvl1pPr>
          </a:lstStyle>
          <a:p>
            <a:pPr lvl="0"/>
            <a:r>
              <a:rPr lang="en-US" noProof="0"/>
              <a:t>Text level 1</a:t>
            </a:r>
          </a:p>
        </p:txBody>
      </p:sp>
      <p:sp>
        <p:nvSpPr>
          <p:cNvPr id="19" name="Espace réservé du texte 9"/>
          <p:cNvSpPr>
            <a:spLocks noGrp="1"/>
          </p:cNvSpPr>
          <p:nvPr>
            <p:ph type="body" sz="quarter" idx="24" hasCustomPrompt="1"/>
          </p:nvPr>
        </p:nvSpPr>
        <p:spPr bwMode="gray">
          <a:xfrm>
            <a:off x="2376000" y="3357672"/>
            <a:ext cx="5904400" cy="792000"/>
          </a:xfrm>
          <a:ln w="9525">
            <a:solidFill>
              <a:schemeClr val="accent3"/>
            </a:solidFill>
          </a:ln>
        </p:spPr>
        <p:txBody>
          <a:bodyPr tIns="72000"/>
          <a:lstStyle>
            <a:lvl1pPr marL="324000" indent="-180000">
              <a:lnSpc>
                <a:spcPct val="100000"/>
              </a:lnSpc>
              <a:spcBef>
                <a:spcPts val="300"/>
              </a:spcBef>
              <a:buClr>
                <a:schemeClr val="accent3"/>
              </a:buClr>
              <a:buFont typeface="Arial" pitchFamily="34" charset="0"/>
              <a:buChar char="•"/>
              <a:defRPr sz="1800">
                <a:solidFill>
                  <a:schemeClr val="tx1"/>
                </a:solidFill>
              </a:defRPr>
            </a:lvl1pPr>
            <a:lvl2pPr marL="504000">
              <a:buClr>
                <a:schemeClr val="tx1"/>
              </a:buClr>
              <a:defRPr sz="1600" b="0"/>
            </a:lvl2pPr>
            <a:lvl3pPr indent="0">
              <a:buNone/>
              <a:defRPr/>
            </a:lvl3pPr>
            <a:lvl4pPr marL="684000" indent="-180000">
              <a:buClr>
                <a:schemeClr val="tx1"/>
              </a:buClr>
              <a:buFont typeface="Arial" pitchFamily="34" charset="0"/>
              <a:buChar char="•"/>
              <a:defRPr sz="1400"/>
            </a:lvl4pPr>
          </a:lstStyle>
          <a:p>
            <a:pPr lvl="0"/>
            <a:r>
              <a:rPr lang="en-US" noProof="0"/>
              <a:t>Text level 2</a:t>
            </a:r>
          </a:p>
          <a:p>
            <a:pPr lvl="1"/>
            <a:r>
              <a:rPr lang="en-US" noProof="0"/>
              <a:t>Text level 3</a:t>
            </a:r>
          </a:p>
          <a:p>
            <a:pPr lvl="2"/>
            <a:r>
              <a:rPr lang="en-US" noProof="0"/>
              <a:t>Text level 4</a:t>
            </a:r>
          </a:p>
          <a:p>
            <a:pPr lvl="3"/>
            <a:r>
              <a:rPr lang="en-US" noProof="0"/>
              <a:t>Text level 5</a:t>
            </a:r>
          </a:p>
        </p:txBody>
      </p:sp>
      <p:sp>
        <p:nvSpPr>
          <p:cNvPr id="20" name="Espace réservé du texte 9"/>
          <p:cNvSpPr>
            <a:spLocks noGrp="1"/>
          </p:cNvSpPr>
          <p:nvPr>
            <p:ph type="body" sz="quarter" idx="25" hasCustomPrompt="1"/>
          </p:nvPr>
        </p:nvSpPr>
        <p:spPr bwMode="gray">
          <a:xfrm>
            <a:off x="935038" y="4365788"/>
            <a:ext cx="1440000" cy="792000"/>
          </a:xfrm>
          <a:solidFill>
            <a:schemeClr val="bg2"/>
          </a:solidFill>
          <a:ln w="9525">
            <a:solidFill>
              <a:schemeClr val="bg2"/>
            </a:solidFill>
          </a:ln>
        </p:spPr>
        <p:txBody>
          <a:bodyPr anchor="ctr" anchorCtr="0"/>
          <a:lstStyle>
            <a:lvl1pPr algn="ctr">
              <a:lnSpc>
                <a:spcPct val="100000"/>
              </a:lnSpc>
              <a:defRPr>
                <a:solidFill>
                  <a:schemeClr val="bg1"/>
                </a:solidFill>
              </a:defRPr>
            </a:lvl1pPr>
          </a:lstStyle>
          <a:p>
            <a:pPr lvl="0"/>
            <a:r>
              <a:rPr lang="en-US" noProof="0"/>
              <a:t>Text level 1</a:t>
            </a:r>
          </a:p>
        </p:txBody>
      </p:sp>
      <p:sp>
        <p:nvSpPr>
          <p:cNvPr id="29" name="Espace réservé du texte 9"/>
          <p:cNvSpPr>
            <a:spLocks noGrp="1"/>
          </p:cNvSpPr>
          <p:nvPr>
            <p:ph type="body" sz="quarter" idx="26" hasCustomPrompt="1"/>
          </p:nvPr>
        </p:nvSpPr>
        <p:spPr bwMode="gray">
          <a:xfrm>
            <a:off x="2376000" y="4365788"/>
            <a:ext cx="5904400" cy="792000"/>
          </a:xfrm>
          <a:ln w="9525">
            <a:solidFill>
              <a:schemeClr val="bg2"/>
            </a:solidFill>
          </a:ln>
        </p:spPr>
        <p:txBody>
          <a:bodyPr tIns="72000"/>
          <a:lstStyle>
            <a:lvl1pPr marL="324000" indent="-180000">
              <a:lnSpc>
                <a:spcPct val="100000"/>
              </a:lnSpc>
              <a:spcBef>
                <a:spcPts val="300"/>
              </a:spcBef>
              <a:buClr>
                <a:schemeClr val="accent3"/>
              </a:buClr>
              <a:buFont typeface="Arial" pitchFamily="34" charset="0"/>
              <a:buChar char="•"/>
              <a:defRPr sz="1800">
                <a:solidFill>
                  <a:schemeClr val="tx1"/>
                </a:solidFill>
              </a:defRPr>
            </a:lvl1pPr>
            <a:lvl2pPr marL="504000">
              <a:buClr>
                <a:schemeClr val="tx1"/>
              </a:buClr>
              <a:defRPr sz="1600" b="0"/>
            </a:lvl2pPr>
            <a:lvl3pPr indent="0">
              <a:buNone/>
              <a:defRPr/>
            </a:lvl3pPr>
            <a:lvl4pPr marL="684000" indent="-180000">
              <a:buClr>
                <a:schemeClr val="tx1"/>
              </a:buClr>
              <a:buFont typeface="Arial" pitchFamily="34" charset="0"/>
              <a:buChar char="•"/>
              <a:defRPr sz="1400"/>
            </a:lvl4pPr>
          </a:lstStyle>
          <a:p>
            <a:pPr lvl="0"/>
            <a:r>
              <a:rPr lang="en-US" noProof="0"/>
              <a:t>Text level 2</a:t>
            </a:r>
          </a:p>
          <a:p>
            <a:pPr lvl="1"/>
            <a:r>
              <a:rPr lang="en-US" noProof="0"/>
              <a:t>Text level 3</a:t>
            </a:r>
          </a:p>
          <a:p>
            <a:pPr lvl="2"/>
            <a:r>
              <a:rPr lang="en-US" noProof="0"/>
              <a:t>Text level 4</a:t>
            </a:r>
          </a:p>
          <a:p>
            <a:pPr lvl="3"/>
            <a:r>
              <a:rPr lang="en-US" noProof="0"/>
              <a:t>Text level 5</a:t>
            </a:r>
          </a:p>
        </p:txBody>
      </p:sp>
    </p:spTree>
    <p:extLst>
      <p:ext uri="{BB962C8B-B14F-4D97-AF65-F5344CB8AC3E}">
        <p14:creationId xmlns:p14="http://schemas.microsoft.com/office/powerpoint/2010/main" val="297207994"/>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2_Blocks_Layout">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p:txBody>
          <a:bodyPr/>
          <a:lstStyle/>
          <a:p>
            <a:r>
              <a:rPr lang="en-US" noProof="0"/>
              <a:t>TITLE</a:t>
            </a:r>
          </a:p>
        </p:txBody>
      </p:sp>
      <p:sp>
        <p:nvSpPr>
          <p:cNvPr id="8" name="Espace réservé de la date 7"/>
          <p:cNvSpPr>
            <a:spLocks noGrp="1"/>
          </p:cNvSpPr>
          <p:nvPr>
            <p:ph type="dt" sz="half" idx="14"/>
          </p:nvPr>
        </p:nvSpPr>
        <p:spPr bwMode="gray"/>
        <p:txBody>
          <a:bodyPr/>
          <a:lstStyle/>
          <a:p>
            <a:r>
              <a:rPr lang="en-US">
                <a:solidFill>
                  <a:prstClr val="white">
                    <a:alpha val="0"/>
                  </a:prstClr>
                </a:solidFill>
              </a:rPr>
              <a:t>Date</a:t>
            </a:r>
          </a:p>
        </p:txBody>
      </p:sp>
      <p:sp>
        <p:nvSpPr>
          <p:cNvPr id="9" name="Espace réservé du numéro de diapositive 8"/>
          <p:cNvSpPr>
            <a:spLocks noGrp="1"/>
          </p:cNvSpPr>
          <p:nvPr>
            <p:ph type="sldNum" sz="quarter" idx="15"/>
          </p:nvPr>
        </p:nvSpPr>
        <p:spPr bwMode="gray"/>
        <p:txBody>
          <a:bodyPr/>
          <a:lstStyle/>
          <a:p>
            <a:fld id="{733122C9-A0B9-462F-8757-0847AD287B63}" type="slidenum">
              <a:rPr lang="en-US" smtClean="0">
                <a:solidFill>
                  <a:srgbClr val="343434"/>
                </a:solidFill>
              </a:rPr>
              <a:pPr/>
              <a:t>‹#›</a:t>
            </a:fld>
            <a:endParaRPr lang="en-US">
              <a:solidFill>
                <a:srgbClr val="343434"/>
              </a:solidFill>
            </a:endParaRPr>
          </a:p>
        </p:txBody>
      </p:sp>
      <p:sp>
        <p:nvSpPr>
          <p:cNvPr id="11" name="Espace réservé du pied de page 10"/>
          <p:cNvSpPr>
            <a:spLocks noGrp="1"/>
          </p:cNvSpPr>
          <p:nvPr>
            <p:ph type="ftr" sz="quarter" idx="16"/>
          </p:nvPr>
        </p:nvSpPr>
        <p:spPr bwMode="gray"/>
        <p:txBody>
          <a:bodyPr/>
          <a:lstStyle/>
          <a:p>
            <a:r>
              <a:rPr lang="en-US">
                <a:solidFill>
                  <a:srgbClr val="005CB9"/>
                </a:solidFill>
              </a:rPr>
              <a:t>#add your hashtag</a:t>
            </a:r>
          </a:p>
        </p:txBody>
      </p:sp>
      <p:sp>
        <p:nvSpPr>
          <p:cNvPr id="21" name="Espace réservé du texte 9"/>
          <p:cNvSpPr>
            <a:spLocks noGrp="1"/>
          </p:cNvSpPr>
          <p:nvPr>
            <p:ph type="body" sz="quarter" idx="19" hasCustomPrompt="1"/>
          </p:nvPr>
        </p:nvSpPr>
        <p:spPr bwMode="gray">
          <a:xfrm>
            <a:off x="935038" y="1341438"/>
            <a:ext cx="3564000" cy="335714"/>
          </a:xfrm>
          <a:solidFill>
            <a:schemeClr val="accent2"/>
          </a:solidFill>
          <a:ln w="9525">
            <a:solidFill>
              <a:schemeClr val="bg2"/>
            </a:solidFill>
          </a:ln>
        </p:spPr>
        <p:txBody>
          <a:bodyPr anchor="ctr" anchorCtr="0"/>
          <a:lstStyle>
            <a:lvl1pPr algn="ctr">
              <a:lnSpc>
                <a:spcPct val="100000"/>
              </a:lnSpc>
              <a:defRPr>
                <a:solidFill>
                  <a:schemeClr val="bg1"/>
                </a:solidFill>
              </a:defRPr>
            </a:lvl1pPr>
          </a:lstStyle>
          <a:p>
            <a:pPr lvl="0"/>
            <a:r>
              <a:rPr lang="en-US" noProof="0"/>
              <a:t>Text level 1</a:t>
            </a:r>
          </a:p>
        </p:txBody>
      </p:sp>
      <p:sp>
        <p:nvSpPr>
          <p:cNvPr id="22" name="Espace réservé du texte 9"/>
          <p:cNvSpPr>
            <a:spLocks noGrp="1"/>
          </p:cNvSpPr>
          <p:nvPr>
            <p:ph type="body" sz="quarter" idx="20" hasCustomPrompt="1"/>
          </p:nvPr>
        </p:nvSpPr>
        <p:spPr bwMode="gray">
          <a:xfrm>
            <a:off x="935038" y="1665438"/>
            <a:ext cx="3564000" cy="4140050"/>
          </a:xfrm>
          <a:ln w="9525">
            <a:solidFill>
              <a:schemeClr val="bg2"/>
            </a:solidFill>
          </a:ln>
        </p:spPr>
        <p:txBody>
          <a:bodyPr tIns="72000"/>
          <a:lstStyle>
            <a:lvl1pPr marL="324000" indent="-180000">
              <a:lnSpc>
                <a:spcPct val="100000"/>
              </a:lnSpc>
              <a:spcBef>
                <a:spcPts val="300"/>
              </a:spcBef>
              <a:buClr>
                <a:schemeClr val="accent3"/>
              </a:buClr>
              <a:buFont typeface="Arial" pitchFamily="34" charset="0"/>
              <a:buChar char="•"/>
              <a:defRPr sz="1800">
                <a:solidFill>
                  <a:schemeClr val="tx1"/>
                </a:solidFill>
              </a:defRPr>
            </a:lvl1pPr>
            <a:lvl2pPr marL="504000">
              <a:buClr>
                <a:schemeClr val="tx1"/>
              </a:buClr>
              <a:defRPr sz="1600" b="0"/>
            </a:lvl2pPr>
            <a:lvl3pPr indent="0">
              <a:buNone/>
              <a:defRPr/>
            </a:lvl3pPr>
            <a:lvl4pPr marL="684000" indent="-180000">
              <a:buClr>
                <a:schemeClr val="tx1"/>
              </a:buClr>
              <a:buFont typeface="Arial" pitchFamily="34" charset="0"/>
              <a:buChar char="•"/>
              <a:defRPr sz="1400"/>
            </a:lvl4pPr>
          </a:lstStyle>
          <a:p>
            <a:pPr lvl="0"/>
            <a:r>
              <a:rPr lang="en-US" noProof="0"/>
              <a:t>Text level 2</a:t>
            </a:r>
          </a:p>
          <a:p>
            <a:pPr lvl="1"/>
            <a:r>
              <a:rPr lang="en-US" noProof="0"/>
              <a:t>Text level 3</a:t>
            </a:r>
          </a:p>
          <a:p>
            <a:pPr lvl="2"/>
            <a:r>
              <a:rPr lang="en-US" noProof="0"/>
              <a:t>Text level 4</a:t>
            </a:r>
          </a:p>
          <a:p>
            <a:pPr lvl="3"/>
            <a:r>
              <a:rPr lang="en-US" noProof="0"/>
              <a:t>Text level 5</a:t>
            </a:r>
          </a:p>
        </p:txBody>
      </p:sp>
      <p:sp>
        <p:nvSpPr>
          <p:cNvPr id="23" name="Espace réservé du texte 9"/>
          <p:cNvSpPr>
            <a:spLocks noGrp="1"/>
          </p:cNvSpPr>
          <p:nvPr>
            <p:ph type="body" sz="quarter" idx="21" hasCustomPrompt="1"/>
          </p:nvPr>
        </p:nvSpPr>
        <p:spPr bwMode="gray">
          <a:xfrm>
            <a:off x="4716400" y="1341438"/>
            <a:ext cx="3564000" cy="335714"/>
          </a:xfrm>
          <a:solidFill>
            <a:schemeClr val="accent2"/>
          </a:solidFill>
          <a:ln w="9525">
            <a:solidFill>
              <a:schemeClr val="bg2"/>
            </a:solidFill>
          </a:ln>
        </p:spPr>
        <p:txBody>
          <a:bodyPr anchor="ctr" anchorCtr="0"/>
          <a:lstStyle>
            <a:lvl1pPr algn="ctr">
              <a:lnSpc>
                <a:spcPct val="100000"/>
              </a:lnSpc>
              <a:defRPr>
                <a:solidFill>
                  <a:schemeClr val="bg1"/>
                </a:solidFill>
              </a:defRPr>
            </a:lvl1pPr>
          </a:lstStyle>
          <a:p>
            <a:pPr lvl="0"/>
            <a:r>
              <a:rPr lang="en-US" noProof="0"/>
              <a:t>Text level 1</a:t>
            </a:r>
          </a:p>
        </p:txBody>
      </p:sp>
      <p:sp>
        <p:nvSpPr>
          <p:cNvPr id="24" name="Espace réservé du texte 9"/>
          <p:cNvSpPr>
            <a:spLocks noGrp="1"/>
          </p:cNvSpPr>
          <p:nvPr>
            <p:ph type="body" sz="quarter" idx="22" hasCustomPrompt="1"/>
          </p:nvPr>
        </p:nvSpPr>
        <p:spPr bwMode="gray">
          <a:xfrm>
            <a:off x="4716400" y="1665438"/>
            <a:ext cx="3564000" cy="4140050"/>
          </a:xfrm>
          <a:ln w="9525">
            <a:solidFill>
              <a:schemeClr val="bg2"/>
            </a:solidFill>
          </a:ln>
        </p:spPr>
        <p:txBody>
          <a:bodyPr tIns="72000"/>
          <a:lstStyle>
            <a:lvl1pPr marL="324000" indent="-180000">
              <a:lnSpc>
                <a:spcPct val="100000"/>
              </a:lnSpc>
              <a:spcBef>
                <a:spcPts val="300"/>
              </a:spcBef>
              <a:buClr>
                <a:schemeClr val="accent3"/>
              </a:buClr>
              <a:buFont typeface="Arial" pitchFamily="34" charset="0"/>
              <a:buChar char="•"/>
              <a:defRPr sz="1800">
                <a:solidFill>
                  <a:schemeClr val="tx1"/>
                </a:solidFill>
              </a:defRPr>
            </a:lvl1pPr>
            <a:lvl2pPr marL="504000">
              <a:buClr>
                <a:schemeClr val="tx1"/>
              </a:buClr>
              <a:defRPr sz="1600" b="0"/>
            </a:lvl2pPr>
            <a:lvl3pPr indent="0">
              <a:buNone/>
              <a:defRPr/>
            </a:lvl3pPr>
            <a:lvl4pPr marL="684000" indent="-180000">
              <a:buClr>
                <a:schemeClr val="tx1"/>
              </a:buClr>
              <a:buFont typeface="Arial" pitchFamily="34" charset="0"/>
              <a:buChar char="•"/>
              <a:defRPr sz="1400"/>
            </a:lvl4pPr>
          </a:lstStyle>
          <a:p>
            <a:pPr lvl="0"/>
            <a:r>
              <a:rPr lang="en-US" noProof="0"/>
              <a:t>Text level 2</a:t>
            </a:r>
          </a:p>
          <a:p>
            <a:pPr lvl="1"/>
            <a:r>
              <a:rPr lang="en-US" noProof="0"/>
              <a:t>Text level 3</a:t>
            </a:r>
          </a:p>
          <a:p>
            <a:pPr lvl="2"/>
            <a:r>
              <a:rPr lang="en-US" noProof="0"/>
              <a:t>Text level 4</a:t>
            </a:r>
          </a:p>
          <a:p>
            <a:pPr lvl="3"/>
            <a:r>
              <a:rPr lang="en-US" noProof="0"/>
              <a:t>Text level 5</a:t>
            </a:r>
          </a:p>
        </p:txBody>
      </p:sp>
    </p:spTree>
    <p:extLst>
      <p:ext uri="{BB962C8B-B14F-4D97-AF65-F5344CB8AC3E}">
        <p14:creationId xmlns:p14="http://schemas.microsoft.com/office/powerpoint/2010/main" val="2770058062"/>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hank_you_1">
    <p:spTree>
      <p:nvGrpSpPr>
        <p:cNvPr id="1" name=""/>
        <p:cNvGrpSpPr/>
        <p:nvPr/>
      </p:nvGrpSpPr>
      <p:grpSpPr>
        <a:xfrm>
          <a:off x="0" y="0"/>
          <a:ext cx="0" cy="0"/>
          <a:chOff x="0" y="0"/>
          <a:chExt cx="0" cy="0"/>
        </a:xfrm>
      </p:grpSpPr>
      <p:pic>
        <p:nvPicPr>
          <p:cNvPr id="26" name="Image 25" descr="Image_03.jpg"/>
          <p:cNvPicPr>
            <a:picLocks noChangeAspect="1"/>
          </p:cNvPicPr>
          <p:nvPr userDrawn="1"/>
        </p:nvPicPr>
        <p:blipFill>
          <a:blip r:embed="rId2" cstate="print"/>
          <a:stretch>
            <a:fillRect/>
          </a:stretch>
        </p:blipFill>
        <p:spPr bwMode="gray">
          <a:xfrm>
            <a:off x="4068000" y="0"/>
            <a:ext cx="5076000" cy="5185751"/>
          </a:xfrm>
          <a:prstGeom prst="rect">
            <a:avLst/>
          </a:prstGeom>
        </p:spPr>
      </p:pic>
      <p:sp>
        <p:nvSpPr>
          <p:cNvPr id="14" name="Forme libre 13"/>
          <p:cNvSpPr/>
          <p:nvPr userDrawn="1"/>
        </p:nvSpPr>
        <p:spPr bwMode="gray">
          <a:xfrm>
            <a:off x="1" y="0"/>
            <a:ext cx="6899275" cy="5157788"/>
          </a:xfrm>
          <a:custGeom>
            <a:avLst/>
            <a:gdLst>
              <a:gd name="connsiteX0" fmla="*/ 0 w 6899275"/>
              <a:gd name="connsiteY0" fmla="*/ 0 h 5157788"/>
              <a:gd name="connsiteX1" fmla="*/ 6899275 w 6899275"/>
              <a:gd name="connsiteY1" fmla="*/ 0 h 5157788"/>
              <a:gd name="connsiteX2" fmla="*/ 5436096 w 6899275"/>
              <a:gd name="connsiteY2" fmla="*/ 2564905 h 5157788"/>
              <a:gd name="connsiteX3" fmla="*/ 4192589 w 6899275"/>
              <a:gd name="connsiteY3" fmla="*/ 5157788 h 5157788"/>
              <a:gd name="connsiteX4" fmla="*/ 0 w 6899275"/>
              <a:gd name="connsiteY4" fmla="*/ 5157788 h 51577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9275" h="5157788">
                <a:moveTo>
                  <a:pt x="0" y="0"/>
                </a:moveTo>
                <a:lnTo>
                  <a:pt x="6899275" y="0"/>
                </a:lnTo>
                <a:cubicBezTo>
                  <a:pt x="6858543" y="709899"/>
                  <a:pt x="6060035" y="1706304"/>
                  <a:pt x="5436096" y="2564905"/>
                </a:cubicBezTo>
                <a:cubicBezTo>
                  <a:pt x="4375629" y="4028322"/>
                  <a:pt x="4276999" y="4546571"/>
                  <a:pt x="4192589" y="5157788"/>
                </a:cubicBezTo>
                <a:lnTo>
                  <a:pt x="0" y="5157788"/>
                </a:lnTo>
                <a:close/>
              </a:path>
            </a:pathLst>
          </a:custGeom>
          <a:blipFill>
            <a:blip r:embed="rId3" cstate="prin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2" name="Rectangle 21"/>
          <p:cNvSpPr/>
          <p:nvPr userDrawn="1"/>
        </p:nvSpPr>
        <p:spPr bwMode="gray">
          <a:xfrm>
            <a:off x="3635375" y="5265204"/>
            <a:ext cx="5508625" cy="15927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pic>
        <p:nvPicPr>
          <p:cNvPr id="20" name="Image 19" descr="Bas_couv.png"/>
          <p:cNvPicPr>
            <a:picLocks noChangeAspect="1"/>
          </p:cNvPicPr>
          <p:nvPr userDrawn="1"/>
        </p:nvPicPr>
        <p:blipFill>
          <a:blip r:embed="rId4" cstate="print"/>
          <a:srcRect r="60243" b="722"/>
          <a:stretch>
            <a:fillRect/>
          </a:stretch>
        </p:blipFill>
        <p:spPr bwMode="gray">
          <a:xfrm>
            <a:off x="0" y="5172520"/>
            <a:ext cx="3635375" cy="1685480"/>
          </a:xfrm>
          <a:prstGeom prst="rect">
            <a:avLst/>
          </a:prstGeom>
        </p:spPr>
      </p:pic>
      <p:sp>
        <p:nvSpPr>
          <p:cNvPr id="9" name="Espace réservé du texte 8"/>
          <p:cNvSpPr>
            <a:spLocks noGrp="1"/>
          </p:cNvSpPr>
          <p:nvPr>
            <p:ph type="body" sz="quarter" idx="13" hasCustomPrompt="1"/>
          </p:nvPr>
        </p:nvSpPr>
        <p:spPr bwMode="gray">
          <a:xfrm>
            <a:off x="468000" y="1036800"/>
            <a:ext cx="4824412" cy="2232000"/>
          </a:xfrm>
        </p:spPr>
        <p:txBody>
          <a:bodyPr anchor="b" anchorCtr="0"/>
          <a:lstStyle>
            <a:lvl1pPr marL="0" indent="0" algn="l">
              <a:lnSpc>
                <a:spcPct val="90000"/>
              </a:lnSpc>
              <a:buNone/>
              <a:defRPr sz="2800" b="1" cap="none" baseline="0">
                <a:solidFill>
                  <a:schemeClr val="bg1"/>
                </a:solidFill>
              </a:defRPr>
            </a:lvl1pPr>
            <a:lvl2pPr marL="0" algn="ctr">
              <a:lnSpc>
                <a:spcPct val="100000"/>
              </a:lnSpc>
              <a:spcBef>
                <a:spcPts val="6900"/>
              </a:spcBef>
              <a:defRPr sz="2000" b="1">
                <a:solidFill>
                  <a:schemeClr val="bg1"/>
                </a:solidFill>
              </a:defRPr>
            </a:lvl2pPr>
          </a:lstStyle>
          <a:p>
            <a:pPr lvl="0"/>
            <a:r>
              <a:rPr lang="en-US" noProof="0"/>
              <a:t>TITLE</a:t>
            </a:r>
          </a:p>
        </p:txBody>
      </p:sp>
      <p:sp>
        <p:nvSpPr>
          <p:cNvPr id="10" name="Espace réservé de la date 9"/>
          <p:cNvSpPr>
            <a:spLocks noGrp="1"/>
          </p:cNvSpPr>
          <p:nvPr>
            <p:ph type="dt" sz="half" idx="15"/>
          </p:nvPr>
        </p:nvSpPr>
        <p:spPr bwMode="gray"/>
        <p:txBody>
          <a:bodyPr/>
          <a:lstStyle/>
          <a:p>
            <a:r>
              <a:rPr lang="en-US">
                <a:solidFill>
                  <a:prstClr val="white">
                    <a:alpha val="0"/>
                  </a:prstClr>
                </a:solidFill>
              </a:rPr>
              <a:t>Date</a:t>
            </a:r>
          </a:p>
        </p:txBody>
      </p:sp>
      <p:sp>
        <p:nvSpPr>
          <p:cNvPr id="11" name="Espace réservé du numéro de diapositive 10"/>
          <p:cNvSpPr>
            <a:spLocks noGrp="1"/>
          </p:cNvSpPr>
          <p:nvPr>
            <p:ph type="sldNum" sz="quarter" idx="16"/>
          </p:nvPr>
        </p:nvSpPr>
        <p:spPr bwMode="gray"/>
        <p:txBody>
          <a:bodyPr/>
          <a:lstStyle>
            <a:lvl1pPr>
              <a:defRPr sz="100">
                <a:solidFill>
                  <a:schemeClr val="bg1">
                    <a:alpha val="0"/>
                  </a:schemeClr>
                </a:solidFill>
              </a:defRPr>
            </a:lvl1pPr>
          </a:lstStyle>
          <a:p>
            <a:r>
              <a:rPr lang="en-US">
                <a:solidFill>
                  <a:prstClr val="white">
                    <a:alpha val="0"/>
                  </a:prstClr>
                </a:solidFill>
              </a:rPr>
              <a:t>Page: </a:t>
            </a:r>
            <a:fld id="{733122C9-A0B9-462F-8757-0847AD287B63}" type="slidenum">
              <a:rPr lang="en-US" smtClean="0">
                <a:solidFill>
                  <a:prstClr val="white">
                    <a:alpha val="0"/>
                  </a:prstClr>
                </a:solidFill>
              </a:rPr>
              <a:pPr/>
              <a:t>‹#›</a:t>
            </a:fld>
            <a:endParaRPr lang="en-US">
              <a:solidFill>
                <a:prstClr val="white">
                  <a:alpha val="0"/>
                </a:prstClr>
              </a:solidFill>
            </a:endParaRPr>
          </a:p>
        </p:txBody>
      </p:sp>
      <p:sp>
        <p:nvSpPr>
          <p:cNvPr id="12" name="Espace réservé du pied de page 11"/>
          <p:cNvSpPr>
            <a:spLocks noGrp="1"/>
          </p:cNvSpPr>
          <p:nvPr>
            <p:ph type="ftr" sz="quarter" idx="17"/>
          </p:nvPr>
        </p:nvSpPr>
        <p:spPr bwMode="gray">
          <a:xfrm>
            <a:off x="468312" y="524188"/>
            <a:ext cx="4824413" cy="360000"/>
          </a:xfrm>
        </p:spPr>
        <p:txBody>
          <a:bodyPr/>
          <a:lstStyle>
            <a:lvl1pPr algn="l">
              <a:defRPr sz="1800" b="0">
                <a:solidFill>
                  <a:schemeClr val="bg1"/>
                </a:solidFill>
              </a:defRPr>
            </a:lvl1pPr>
          </a:lstStyle>
          <a:p>
            <a:r>
              <a:rPr lang="en-US">
                <a:solidFill>
                  <a:prstClr val="white"/>
                </a:solidFill>
              </a:rPr>
              <a:t>#add your hashtag</a:t>
            </a:r>
          </a:p>
        </p:txBody>
      </p:sp>
      <p:sp>
        <p:nvSpPr>
          <p:cNvPr id="15" name="Espace réservé du texte 14"/>
          <p:cNvSpPr>
            <a:spLocks noGrp="1"/>
          </p:cNvSpPr>
          <p:nvPr>
            <p:ph type="body" sz="quarter" idx="19" hasCustomPrompt="1"/>
          </p:nvPr>
        </p:nvSpPr>
        <p:spPr bwMode="gray">
          <a:xfrm>
            <a:off x="3635376" y="6021388"/>
            <a:ext cx="5113338" cy="324000"/>
          </a:xfrm>
        </p:spPr>
        <p:txBody>
          <a:bodyPr anchor="b" anchorCtr="0"/>
          <a:lstStyle>
            <a:lvl1pPr algn="r">
              <a:lnSpc>
                <a:spcPct val="100000"/>
              </a:lnSpc>
              <a:defRPr sz="1000" b="1">
                <a:solidFill>
                  <a:schemeClr val="accent2"/>
                </a:solidFill>
              </a:defRPr>
            </a:lvl1pPr>
          </a:lstStyle>
          <a:p>
            <a:pPr lvl="0"/>
            <a:r>
              <a:rPr lang="en-US" noProof="0"/>
              <a:t>Write your claim here</a:t>
            </a:r>
          </a:p>
        </p:txBody>
      </p:sp>
      <p:sp>
        <p:nvSpPr>
          <p:cNvPr id="16" name="Rectangle 15"/>
          <p:cNvSpPr/>
          <p:nvPr userDrawn="1"/>
        </p:nvSpPr>
        <p:spPr bwMode="gray">
          <a:xfrm>
            <a:off x="3635375" y="6354202"/>
            <a:ext cx="5113338" cy="2872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r"/>
            <a:r>
              <a:rPr lang="en-US" sz="1000">
                <a:solidFill>
                  <a:srgbClr val="95D600"/>
                </a:solidFill>
              </a:rPr>
              <a:t>www.gavi.org</a:t>
            </a:r>
          </a:p>
        </p:txBody>
      </p:sp>
      <p:sp>
        <p:nvSpPr>
          <p:cNvPr id="19" name="Rectangle 18"/>
          <p:cNvSpPr/>
          <p:nvPr userDrawn="1"/>
        </p:nvSpPr>
        <p:spPr bwMode="gray">
          <a:xfrm>
            <a:off x="468313" y="3391895"/>
            <a:ext cx="2448000" cy="252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7" name="Espace réservé du texte 16"/>
          <p:cNvSpPr>
            <a:spLocks noGrp="1"/>
          </p:cNvSpPr>
          <p:nvPr>
            <p:ph type="body" sz="quarter" idx="20" hasCustomPrompt="1"/>
          </p:nvPr>
        </p:nvSpPr>
        <p:spPr bwMode="gray">
          <a:xfrm>
            <a:off x="0" y="5157788"/>
            <a:ext cx="9144000" cy="287337"/>
          </a:xfrm>
          <a:solidFill>
            <a:schemeClr val="bg1"/>
          </a:solidFill>
        </p:spPr>
        <p:txBody>
          <a:bodyPr/>
          <a:lstStyle>
            <a:lvl1pPr>
              <a:defRPr sz="100" b="0">
                <a:solidFill>
                  <a:schemeClr val="bg1">
                    <a:alpha val="0"/>
                  </a:schemeClr>
                </a:solidFill>
              </a:defRPr>
            </a:lvl1pPr>
          </a:lstStyle>
          <a:p>
            <a:pPr lvl="0"/>
            <a:r>
              <a:rPr lang="en-US" noProof="0"/>
              <a:t> </a:t>
            </a:r>
          </a:p>
        </p:txBody>
      </p:sp>
    </p:spTree>
    <p:extLst>
      <p:ext uri="{BB962C8B-B14F-4D97-AF65-F5344CB8AC3E}">
        <p14:creationId xmlns:p14="http://schemas.microsoft.com/office/powerpoint/2010/main" val="195814584"/>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hank_you_picture_1">
    <p:spTree>
      <p:nvGrpSpPr>
        <p:cNvPr id="1" name=""/>
        <p:cNvGrpSpPr/>
        <p:nvPr/>
      </p:nvGrpSpPr>
      <p:grpSpPr>
        <a:xfrm>
          <a:off x="0" y="0"/>
          <a:ext cx="0" cy="0"/>
          <a:chOff x="0" y="0"/>
          <a:chExt cx="0" cy="0"/>
        </a:xfrm>
      </p:grpSpPr>
      <p:pic>
        <p:nvPicPr>
          <p:cNvPr id="14" name="Image 13" descr="FD_1_L254.png"/>
          <p:cNvPicPr>
            <a:picLocks noChangeAspect="1"/>
          </p:cNvPicPr>
          <p:nvPr userDrawn="1"/>
        </p:nvPicPr>
        <p:blipFill>
          <a:blip r:embed="rId2" cstate="print"/>
          <a:stretch>
            <a:fillRect/>
          </a:stretch>
        </p:blipFill>
        <p:spPr bwMode="gray">
          <a:xfrm>
            <a:off x="0" y="0"/>
            <a:ext cx="9144000" cy="5157788"/>
          </a:xfrm>
          <a:prstGeom prst="rect">
            <a:avLst/>
          </a:prstGeom>
        </p:spPr>
      </p:pic>
      <p:sp>
        <p:nvSpPr>
          <p:cNvPr id="18" name="Espace réservé pour une image  17"/>
          <p:cNvSpPr>
            <a:spLocks noGrp="1"/>
          </p:cNvSpPr>
          <p:nvPr>
            <p:ph type="pic" sz="quarter" idx="18" hasCustomPrompt="1"/>
          </p:nvPr>
        </p:nvSpPr>
        <p:spPr bwMode="gray">
          <a:xfrm>
            <a:off x="4192588" y="0"/>
            <a:ext cx="4951412" cy="5162400"/>
          </a:xfrm>
          <a:custGeom>
            <a:avLst/>
            <a:gdLst>
              <a:gd name="connsiteX0" fmla="*/ 0 w 3851275"/>
              <a:gd name="connsiteY0" fmla="*/ 0 h 5157788"/>
              <a:gd name="connsiteX1" fmla="*/ 3851275 w 3851275"/>
              <a:gd name="connsiteY1" fmla="*/ 0 h 5157788"/>
              <a:gd name="connsiteX2" fmla="*/ 3851275 w 3851275"/>
              <a:gd name="connsiteY2" fmla="*/ 5157788 h 5157788"/>
              <a:gd name="connsiteX3" fmla="*/ 0 w 3851275"/>
              <a:gd name="connsiteY3" fmla="*/ 5157788 h 5157788"/>
              <a:gd name="connsiteX4" fmla="*/ 0 w 3851275"/>
              <a:gd name="connsiteY4"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0 w 3851275"/>
              <a:gd name="connsiteY3" fmla="*/ 5157788 h 5157788"/>
              <a:gd name="connsiteX4" fmla="*/ 1692275 w 3851275"/>
              <a:gd name="connsiteY4" fmla="*/ 0 h 5157788"/>
              <a:gd name="connsiteX0" fmla="*/ 0 w 2159000"/>
              <a:gd name="connsiteY0" fmla="*/ 0 h 5157788"/>
              <a:gd name="connsiteX1" fmla="*/ 2159000 w 2159000"/>
              <a:gd name="connsiteY1" fmla="*/ 0 h 5157788"/>
              <a:gd name="connsiteX2" fmla="*/ 2159000 w 2159000"/>
              <a:gd name="connsiteY2" fmla="*/ 5157788 h 5157788"/>
              <a:gd name="connsiteX3" fmla="*/ 0 w 2159000"/>
              <a:gd name="connsiteY3" fmla="*/ 5157788 h 5157788"/>
              <a:gd name="connsiteX4" fmla="*/ 0 w 2159000"/>
              <a:gd name="connsiteY4" fmla="*/ 0 h 5157788"/>
              <a:gd name="connsiteX0" fmla="*/ 2625271 w 4784271"/>
              <a:gd name="connsiteY0" fmla="*/ 0 h 5157788"/>
              <a:gd name="connsiteX1" fmla="*/ 4784271 w 4784271"/>
              <a:gd name="connsiteY1" fmla="*/ 0 h 5157788"/>
              <a:gd name="connsiteX2" fmla="*/ 4784271 w 4784271"/>
              <a:gd name="connsiteY2" fmla="*/ 5157788 h 5157788"/>
              <a:gd name="connsiteX3" fmla="*/ 2625271 w 4784271"/>
              <a:gd name="connsiteY3" fmla="*/ 5157788 h 5157788"/>
              <a:gd name="connsiteX4" fmla="*/ 2625271 w 4784271"/>
              <a:gd name="connsiteY4" fmla="*/ 0 h 5157788"/>
              <a:gd name="connsiteX0" fmla="*/ 2625271 w 4784271"/>
              <a:gd name="connsiteY0" fmla="*/ 0 h 5157788"/>
              <a:gd name="connsiteX1" fmla="*/ 4784271 w 4784271"/>
              <a:gd name="connsiteY1" fmla="*/ 0 h 5157788"/>
              <a:gd name="connsiteX2" fmla="*/ 4784271 w 4784271"/>
              <a:gd name="connsiteY2" fmla="*/ 5157788 h 5157788"/>
              <a:gd name="connsiteX3" fmla="*/ 2625271 w 4784271"/>
              <a:gd name="connsiteY3" fmla="*/ 5157788 h 5157788"/>
              <a:gd name="connsiteX4" fmla="*/ 2625271 w 4784271"/>
              <a:gd name="connsiteY4" fmla="*/ 0 h 5157788"/>
              <a:gd name="connsiteX0" fmla="*/ 3568576 w 5727576"/>
              <a:gd name="connsiteY0" fmla="*/ 0 h 5157788"/>
              <a:gd name="connsiteX1" fmla="*/ 5727576 w 5727576"/>
              <a:gd name="connsiteY1" fmla="*/ 0 h 5157788"/>
              <a:gd name="connsiteX2" fmla="*/ 5727576 w 5727576"/>
              <a:gd name="connsiteY2" fmla="*/ 5157788 h 5157788"/>
              <a:gd name="connsiteX3" fmla="*/ 3568576 w 5727576"/>
              <a:gd name="connsiteY3" fmla="*/ 5157788 h 5157788"/>
              <a:gd name="connsiteX4" fmla="*/ 3568576 w 5727576"/>
              <a:gd name="connsiteY4" fmla="*/ 0 h 5157788"/>
              <a:gd name="connsiteX0" fmla="*/ 3306355 w 5465355"/>
              <a:gd name="connsiteY0" fmla="*/ 0 h 5157788"/>
              <a:gd name="connsiteX1" fmla="*/ 5465355 w 5465355"/>
              <a:gd name="connsiteY1" fmla="*/ 0 h 5157788"/>
              <a:gd name="connsiteX2" fmla="*/ 5465355 w 5465355"/>
              <a:gd name="connsiteY2" fmla="*/ 5157788 h 5157788"/>
              <a:gd name="connsiteX3" fmla="*/ 3306355 w 5465355"/>
              <a:gd name="connsiteY3" fmla="*/ 5157788 h 5157788"/>
              <a:gd name="connsiteX4" fmla="*/ 3306355 w 5465355"/>
              <a:gd name="connsiteY4" fmla="*/ 0 h 5157788"/>
              <a:gd name="connsiteX0" fmla="*/ 1416957 w 3575957"/>
              <a:gd name="connsiteY0" fmla="*/ 0 h 5157788"/>
              <a:gd name="connsiteX1" fmla="*/ 3575957 w 3575957"/>
              <a:gd name="connsiteY1" fmla="*/ 0 h 5157788"/>
              <a:gd name="connsiteX2" fmla="*/ 3575957 w 3575957"/>
              <a:gd name="connsiteY2" fmla="*/ 5157788 h 5157788"/>
              <a:gd name="connsiteX3" fmla="*/ 1416957 w 3575957"/>
              <a:gd name="connsiteY3" fmla="*/ 5157788 h 5157788"/>
              <a:gd name="connsiteX4" fmla="*/ 0 w 3575957"/>
              <a:gd name="connsiteY4" fmla="*/ 3339193 h 5157788"/>
              <a:gd name="connsiteX5" fmla="*/ 1416957 w 3575957"/>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6017419"/>
              <a:gd name="connsiteX1" fmla="*/ 3851275 w 3851275"/>
              <a:gd name="connsiteY1" fmla="*/ 0 h 6017419"/>
              <a:gd name="connsiteX2" fmla="*/ 3851275 w 3851275"/>
              <a:gd name="connsiteY2" fmla="*/ 5157788 h 6017419"/>
              <a:gd name="connsiteX3" fmla="*/ 1692275 w 3851275"/>
              <a:gd name="connsiteY3" fmla="*/ 5157788 h 6017419"/>
              <a:gd name="connsiteX4" fmla="*/ 0 w 3851275"/>
              <a:gd name="connsiteY4" fmla="*/ 3284984 h 6017419"/>
              <a:gd name="connsiteX5" fmla="*/ 1692275 w 3851275"/>
              <a:gd name="connsiteY5" fmla="*/ 0 h 6017419"/>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429000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429000 h 5157788"/>
              <a:gd name="connsiteX5" fmla="*/ 1710871 w 3869871"/>
              <a:gd name="connsiteY5" fmla="*/ 0 h 5157788"/>
              <a:gd name="connsiteX0" fmla="*/ 1704975 w 3863975"/>
              <a:gd name="connsiteY0" fmla="*/ 0 h 5157788"/>
              <a:gd name="connsiteX1" fmla="*/ 3863975 w 3863975"/>
              <a:gd name="connsiteY1" fmla="*/ 0 h 5157788"/>
              <a:gd name="connsiteX2" fmla="*/ 3863975 w 3863975"/>
              <a:gd name="connsiteY2" fmla="*/ 5157788 h 5157788"/>
              <a:gd name="connsiteX3" fmla="*/ 1704975 w 3863975"/>
              <a:gd name="connsiteY3" fmla="*/ 5157788 h 5157788"/>
              <a:gd name="connsiteX4" fmla="*/ 12700 w 3863975"/>
              <a:gd name="connsiteY4" fmla="*/ 3429000 h 5157788"/>
              <a:gd name="connsiteX5" fmla="*/ 1704975 w 3863975"/>
              <a:gd name="connsiteY5" fmla="*/ 0 h 5157788"/>
              <a:gd name="connsiteX0" fmla="*/ 1707243 w 3866243"/>
              <a:gd name="connsiteY0" fmla="*/ 0 h 5157788"/>
              <a:gd name="connsiteX1" fmla="*/ 3866243 w 3866243"/>
              <a:gd name="connsiteY1" fmla="*/ 0 h 5157788"/>
              <a:gd name="connsiteX2" fmla="*/ 3866243 w 3866243"/>
              <a:gd name="connsiteY2" fmla="*/ 5157788 h 5157788"/>
              <a:gd name="connsiteX3" fmla="*/ 1707243 w 3866243"/>
              <a:gd name="connsiteY3" fmla="*/ 5157788 h 5157788"/>
              <a:gd name="connsiteX4" fmla="*/ 14968 w 3866243"/>
              <a:gd name="connsiteY4" fmla="*/ 3429000 h 5157788"/>
              <a:gd name="connsiteX5" fmla="*/ 1707243 w 3866243"/>
              <a:gd name="connsiteY5" fmla="*/ 0 h 5157788"/>
              <a:gd name="connsiteX0" fmla="*/ 1130447 w 3866243"/>
              <a:gd name="connsiteY0" fmla="*/ 0 h 5157788"/>
              <a:gd name="connsiteX1" fmla="*/ 3866243 w 3866243"/>
              <a:gd name="connsiteY1" fmla="*/ 0 h 5157788"/>
              <a:gd name="connsiteX2" fmla="*/ 3866243 w 3866243"/>
              <a:gd name="connsiteY2" fmla="*/ 5157788 h 5157788"/>
              <a:gd name="connsiteX3" fmla="*/ 1707243 w 3866243"/>
              <a:gd name="connsiteY3" fmla="*/ 5157788 h 5157788"/>
              <a:gd name="connsiteX4" fmla="*/ 14968 w 3866243"/>
              <a:gd name="connsiteY4" fmla="*/ 3429000 h 5157788"/>
              <a:gd name="connsiteX5" fmla="*/ 1130447 w 3866243"/>
              <a:gd name="connsiteY5" fmla="*/ 0 h 5157788"/>
              <a:gd name="connsiteX0" fmla="*/ 2746143 w 5481939"/>
              <a:gd name="connsiteY0" fmla="*/ 0 h 5157788"/>
              <a:gd name="connsiteX1" fmla="*/ 5481939 w 5481939"/>
              <a:gd name="connsiteY1" fmla="*/ 0 h 5157788"/>
              <a:gd name="connsiteX2" fmla="*/ 5481939 w 5481939"/>
              <a:gd name="connsiteY2" fmla="*/ 5157788 h 5157788"/>
              <a:gd name="connsiteX3" fmla="*/ 585903 w 5481939"/>
              <a:gd name="connsiteY3" fmla="*/ 5153180 h 5157788"/>
              <a:gd name="connsiteX4" fmla="*/ 1630664 w 5481939"/>
              <a:gd name="connsiteY4" fmla="*/ 3429000 h 5157788"/>
              <a:gd name="connsiteX5" fmla="*/ 2746143 w 5481939"/>
              <a:gd name="connsiteY5" fmla="*/ 0 h 5157788"/>
              <a:gd name="connsiteX0" fmla="*/ 2746143 w 5481939"/>
              <a:gd name="connsiteY0" fmla="*/ 0 h 5157788"/>
              <a:gd name="connsiteX1" fmla="*/ 5481939 w 5481939"/>
              <a:gd name="connsiteY1" fmla="*/ 0 h 5157788"/>
              <a:gd name="connsiteX2" fmla="*/ 5481939 w 5481939"/>
              <a:gd name="connsiteY2" fmla="*/ 5157788 h 5157788"/>
              <a:gd name="connsiteX3" fmla="*/ 585903 w 5481939"/>
              <a:gd name="connsiteY3" fmla="*/ 5153180 h 5157788"/>
              <a:gd name="connsiteX4" fmla="*/ 1630664 w 5481939"/>
              <a:gd name="connsiteY4" fmla="*/ 3429000 h 5157788"/>
              <a:gd name="connsiteX5" fmla="*/ 2746143 w 548193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3574235 w 6310031"/>
              <a:gd name="connsiteY0" fmla="*/ 0 h 5157788"/>
              <a:gd name="connsiteX1" fmla="*/ 6310031 w 6310031"/>
              <a:gd name="connsiteY1" fmla="*/ 0 h 5157788"/>
              <a:gd name="connsiteX2" fmla="*/ 6310031 w 6310031"/>
              <a:gd name="connsiteY2" fmla="*/ 5157788 h 5157788"/>
              <a:gd name="connsiteX3" fmla="*/ 585903 w 6310031"/>
              <a:gd name="connsiteY3" fmla="*/ 5153180 h 5157788"/>
              <a:gd name="connsiteX4" fmla="*/ 1738031 w 6310031"/>
              <a:gd name="connsiteY4" fmla="*/ 3389965 h 5157788"/>
              <a:gd name="connsiteX5" fmla="*/ 3574235 w 6310031"/>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296143 w 5724128"/>
              <a:gd name="connsiteY4" fmla="*/ 3461908 h 5157788"/>
              <a:gd name="connsiteX5" fmla="*/ 2988332 w 5724128"/>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1188132 w 5760132"/>
              <a:gd name="connsiteY4" fmla="*/ 3425937 h 5157788"/>
              <a:gd name="connsiteX5" fmla="*/ 3024336 w 5760132"/>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2736304 w 5760132"/>
              <a:gd name="connsiteY4" fmla="*/ 3461908 h 5157788"/>
              <a:gd name="connsiteX5" fmla="*/ 3024336 w 5760132"/>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2736304 w 5760132"/>
              <a:gd name="connsiteY4" fmla="*/ 3461908 h 5157788"/>
              <a:gd name="connsiteX5" fmla="*/ 3024336 w 5760132"/>
              <a:gd name="connsiteY5" fmla="*/ 0 h 5157788"/>
              <a:gd name="connsiteX0" fmla="*/ 2160240 w 4896036"/>
              <a:gd name="connsiteY0" fmla="*/ 0 h 5157788"/>
              <a:gd name="connsiteX1" fmla="*/ 4896036 w 4896036"/>
              <a:gd name="connsiteY1" fmla="*/ 0 h 5157788"/>
              <a:gd name="connsiteX2" fmla="*/ 4896036 w 4896036"/>
              <a:gd name="connsiteY2" fmla="*/ 5157788 h 5157788"/>
              <a:gd name="connsiteX3" fmla="*/ 0 w 4896036"/>
              <a:gd name="connsiteY3" fmla="*/ 5153180 h 5157788"/>
              <a:gd name="connsiteX4" fmla="*/ 1872208 w 4896036"/>
              <a:gd name="connsiteY4" fmla="*/ 3461908 h 5157788"/>
              <a:gd name="connsiteX5" fmla="*/ 2160240 w 4896036"/>
              <a:gd name="connsiteY5" fmla="*/ 0 h 5157788"/>
              <a:gd name="connsiteX0" fmla="*/ 2232248 w 4968044"/>
              <a:gd name="connsiteY0" fmla="*/ 0 h 5157788"/>
              <a:gd name="connsiteX1" fmla="*/ 4968044 w 4968044"/>
              <a:gd name="connsiteY1" fmla="*/ 0 h 5157788"/>
              <a:gd name="connsiteX2" fmla="*/ 4968044 w 4968044"/>
              <a:gd name="connsiteY2" fmla="*/ 5157788 h 5157788"/>
              <a:gd name="connsiteX3" fmla="*/ 0 w 4968044"/>
              <a:gd name="connsiteY3" fmla="*/ 5153180 h 5157788"/>
              <a:gd name="connsiteX4" fmla="*/ 1944216 w 4968044"/>
              <a:gd name="connsiteY4" fmla="*/ 3461908 h 5157788"/>
              <a:gd name="connsiteX5" fmla="*/ 2232248 w 4968044"/>
              <a:gd name="connsiteY5" fmla="*/ 0 h 5157788"/>
              <a:gd name="connsiteX0" fmla="*/ 2207679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207679 w 4943475"/>
              <a:gd name="connsiteY5" fmla="*/ 0 h 5157788"/>
              <a:gd name="connsiteX0" fmla="*/ 2963763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963763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092200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71575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343583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675731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675731 w 4943475"/>
              <a:gd name="connsiteY5" fmla="*/ 0 h 5157788"/>
              <a:gd name="connsiteX0" fmla="*/ 2675731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675731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9672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19672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51412" h="5157788">
                <a:moveTo>
                  <a:pt x="2706687" y="0"/>
                </a:moveTo>
                <a:lnTo>
                  <a:pt x="4951412" y="0"/>
                </a:lnTo>
                <a:lnTo>
                  <a:pt x="4951412" y="5157788"/>
                </a:lnTo>
                <a:lnTo>
                  <a:pt x="0" y="5153180"/>
                </a:lnTo>
                <a:cubicBezTo>
                  <a:pt x="84411" y="4542509"/>
                  <a:pt x="183041" y="4024723"/>
                  <a:pt x="1243508" y="2562613"/>
                </a:cubicBezTo>
                <a:cubicBezTo>
                  <a:pt x="1867447" y="1704780"/>
                  <a:pt x="2665955" y="709265"/>
                  <a:pt x="2706687" y="0"/>
                </a:cubicBezTo>
                <a:close/>
              </a:path>
            </a:pathLst>
          </a:custGeom>
          <a:solidFill>
            <a:schemeClr val="bg2"/>
          </a:solidFill>
          <a:ln w="3175">
            <a:noFill/>
          </a:ln>
        </p:spPr>
        <p:txBody>
          <a:bodyPr tIns="720000" anchor="ctr" anchorCtr="0"/>
          <a:lstStyle>
            <a:lvl1pPr algn="ctr">
              <a:defRPr sz="1500">
                <a:solidFill>
                  <a:schemeClr val="bg1"/>
                </a:solidFill>
              </a:defRPr>
            </a:lvl1pPr>
          </a:lstStyle>
          <a:p>
            <a:r>
              <a:rPr lang="en-US" noProof="0"/>
              <a:t>Select your own photo</a:t>
            </a:r>
          </a:p>
        </p:txBody>
      </p:sp>
      <p:sp>
        <p:nvSpPr>
          <p:cNvPr id="22" name="Rectangle 21"/>
          <p:cNvSpPr/>
          <p:nvPr userDrawn="1"/>
        </p:nvSpPr>
        <p:spPr bwMode="gray">
          <a:xfrm>
            <a:off x="3635375" y="5265204"/>
            <a:ext cx="5508625" cy="15927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pic>
        <p:nvPicPr>
          <p:cNvPr id="20" name="Image 19" descr="Bas_couv.png"/>
          <p:cNvPicPr>
            <a:picLocks noChangeAspect="1"/>
          </p:cNvPicPr>
          <p:nvPr userDrawn="1"/>
        </p:nvPicPr>
        <p:blipFill>
          <a:blip r:embed="rId3" cstate="print"/>
          <a:srcRect r="60243" b="722"/>
          <a:stretch>
            <a:fillRect/>
          </a:stretch>
        </p:blipFill>
        <p:spPr bwMode="gray">
          <a:xfrm>
            <a:off x="0" y="5172520"/>
            <a:ext cx="3635375" cy="1685480"/>
          </a:xfrm>
          <a:prstGeom prst="rect">
            <a:avLst/>
          </a:prstGeom>
        </p:spPr>
      </p:pic>
      <p:sp>
        <p:nvSpPr>
          <p:cNvPr id="9" name="Espace réservé du texte 8"/>
          <p:cNvSpPr>
            <a:spLocks noGrp="1"/>
          </p:cNvSpPr>
          <p:nvPr>
            <p:ph type="body" sz="quarter" idx="13" hasCustomPrompt="1"/>
          </p:nvPr>
        </p:nvSpPr>
        <p:spPr bwMode="gray">
          <a:xfrm>
            <a:off x="468000" y="1036800"/>
            <a:ext cx="4824412" cy="2232000"/>
          </a:xfrm>
        </p:spPr>
        <p:txBody>
          <a:bodyPr anchor="b" anchorCtr="0"/>
          <a:lstStyle>
            <a:lvl1pPr marL="0" indent="0" algn="l">
              <a:lnSpc>
                <a:spcPct val="90000"/>
              </a:lnSpc>
              <a:buNone/>
              <a:defRPr sz="2800" b="1" cap="none" baseline="0">
                <a:solidFill>
                  <a:schemeClr val="bg1"/>
                </a:solidFill>
              </a:defRPr>
            </a:lvl1pPr>
            <a:lvl2pPr marL="0" algn="ctr">
              <a:lnSpc>
                <a:spcPct val="100000"/>
              </a:lnSpc>
              <a:spcBef>
                <a:spcPts val="6900"/>
              </a:spcBef>
              <a:defRPr sz="2000" b="1">
                <a:solidFill>
                  <a:schemeClr val="bg1"/>
                </a:solidFill>
              </a:defRPr>
            </a:lvl2pPr>
          </a:lstStyle>
          <a:p>
            <a:pPr lvl="0"/>
            <a:r>
              <a:rPr lang="en-US" noProof="0"/>
              <a:t>TITLE</a:t>
            </a:r>
          </a:p>
        </p:txBody>
      </p:sp>
      <p:sp>
        <p:nvSpPr>
          <p:cNvPr id="10" name="Espace réservé de la date 9"/>
          <p:cNvSpPr>
            <a:spLocks noGrp="1"/>
          </p:cNvSpPr>
          <p:nvPr>
            <p:ph type="dt" sz="half" idx="15"/>
          </p:nvPr>
        </p:nvSpPr>
        <p:spPr bwMode="gray"/>
        <p:txBody>
          <a:bodyPr/>
          <a:lstStyle/>
          <a:p>
            <a:r>
              <a:rPr lang="en-US">
                <a:solidFill>
                  <a:prstClr val="white">
                    <a:alpha val="0"/>
                  </a:prstClr>
                </a:solidFill>
              </a:rPr>
              <a:t>Date</a:t>
            </a:r>
          </a:p>
        </p:txBody>
      </p:sp>
      <p:sp>
        <p:nvSpPr>
          <p:cNvPr id="11" name="Espace réservé du numéro de diapositive 10"/>
          <p:cNvSpPr>
            <a:spLocks noGrp="1"/>
          </p:cNvSpPr>
          <p:nvPr>
            <p:ph type="sldNum" sz="quarter" idx="16"/>
          </p:nvPr>
        </p:nvSpPr>
        <p:spPr bwMode="gray"/>
        <p:txBody>
          <a:bodyPr/>
          <a:lstStyle>
            <a:lvl1pPr>
              <a:defRPr sz="100">
                <a:solidFill>
                  <a:schemeClr val="bg1">
                    <a:alpha val="0"/>
                  </a:schemeClr>
                </a:solidFill>
              </a:defRPr>
            </a:lvl1pPr>
          </a:lstStyle>
          <a:p>
            <a:r>
              <a:rPr lang="en-US">
                <a:solidFill>
                  <a:prstClr val="white">
                    <a:alpha val="0"/>
                  </a:prstClr>
                </a:solidFill>
              </a:rPr>
              <a:t>Page: </a:t>
            </a:r>
            <a:fld id="{733122C9-A0B9-462F-8757-0847AD287B63}" type="slidenum">
              <a:rPr lang="en-US" smtClean="0">
                <a:solidFill>
                  <a:prstClr val="white">
                    <a:alpha val="0"/>
                  </a:prstClr>
                </a:solidFill>
              </a:rPr>
              <a:pPr/>
              <a:t>‹#›</a:t>
            </a:fld>
            <a:endParaRPr lang="en-US">
              <a:solidFill>
                <a:prstClr val="white">
                  <a:alpha val="0"/>
                </a:prstClr>
              </a:solidFill>
            </a:endParaRPr>
          </a:p>
        </p:txBody>
      </p:sp>
      <p:sp>
        <p:nvSpPr>
          <p:cNvPr id="12" name="Espace réservé du pied de page 11"/>
          <p:cNvSpPr>
            <a:spLocks noGrp="1"/>
          </p:cNvSpPr>
          <p:nvPr>
            <p:ph type="ftr" sz="quarter" idx="17"/>
          </p:nvPr>
        </p:nvSpPr>
        <p:spPr bwMode="gray">
          <a:xfrm>
            <a:off x="468312" y="524188"/>
            <a:ext cx="4824413" cy="360000"/>
          </a:xfrm>
        </p:spPr>
        <p:txBody>
          <a:bodyPr/>
          <a:lstStyle>
            <a:lvl1pPr algn="l">
              <a:defRPr sz="1800" b="0">
                <a:solidFill>
                  <a:schemeClr val="bg1"/>
                </a:solidFill>
              </a:defRPr>
            </a:lvl1pPr>
          </a:lstStyle>
          <a:p>
            <a:r>
              <a:rPr lang="en-US">
                <a:solidFill>
                  <a:prstClr val="white"/>
                </a:solidFill>
              </a:rPr>
              <a:t>#add your hashtag</a:t>
            </a:r>
          </a:p>
        </p:txBody>
      </p:sp>
      <p:sp>
        <p:nvSpPr>
          <p:cNvPr id="15" name="Espace réservé du texte 14"/>
          <p:cNvSpPr>
            <a:spLocks noGrp="1"/>
          </p:cNvSpPr>
          <p:nvPr>
            <p:ph type="body" sz="quarter" idx="19" hasCustomPrompt="1"/>
          </p:nvPr>
        </p:nvSpPr>
        <p:spPr bwMode="gray">
          <a:xfrm>
            <a:off x="3635376" y="6021388"/>
            <a:ext cx="5113338" cy="324000"/>
          </a:xfrm>
        </p:spPr>
        <p:txBody>
          <a:bodyPr anchor="b" anchorCtr="0"/>
          <a:lstStyle>
            <a:lvl1pPr algn="r">
              <a:lnSpc>
                <a:spcPct val="100000"/>
              </a:lnSpc>
              <a:defRPr sz="1000" b="1">
                <a:solidFill>
                  <a:schemeClr val="accent2"/>
                </a:solidFill>
              </a:defRPr>
            </a:lvl1pPr>
          </a:lstStyle>
          <a:p>
            <a:pPr lvl="0"/>
            <a:r>
              <a:rPr lang="en-US" noProof="0"/>
              <a:t>Write your claim here</a:t>
            </a:r>
          </a:p>
        </p:txBody>
      </p:sp>
      <p:sp>
        <p:nvSpPr>
          <p:cNvPr id="16" name="Rectangle 15"/>
          <p:cNvSpPr/>
          <p:nvPr userDrawn="1"/>
        </p:nvSpPr>
        <p:spPr bwMode="gray">
          <a:xfrm>
            <a:off x="3635375" y="6354202"/>
            <a:ext cx="5113338" cy="2872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r"/>
            <a:r>
              <a:rPr lang="en-US" sz="1000">
                <a:solidFill>
                  <a:srgbClr val="95D600"/>
                </a:solidFill>
              </a:rPr>
              <a:t>www.gavi.org</a:t>
            </a:r>
          </a:p>
        </p:txBody>
      </p:sp>
      <p:sp>
        <p:nvSpPr>
          <p:cNvPr id="19" name="Rectangle 18"/>
          <p:cNvSpPr/>
          <p:nvPr userDrawn="1"/>
        </p:nvSpPr>
        <p:spPr bwMode="gray">
          <a:xfrm>
            <a:off x="468313" y="3391895"/>
            <a:ext cx="2448000" cy="252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7" name="Espace réservé du texte 16"/>
          <p:cNvSpPr>
            <a:spLocks noGrp="1"/>
          </p:cNvSpPr>
          <p:nvPr>
            <p:ph type="body" sz="quarter" idx="20" hasCustomPrompt="1"/>
          </p:nvPr>
        </p:nvSpPr>
        <p:spPr bwMode="gray">
          <a:xfrm>
            <a:off x="0" y="5157788"/>
            <a:ext cx="9144000" cy="287337"/>
          </a:xfrm>
          <a:solidFill>
            <a:schemeClr val="bg1"/>
          </a:solidFill>
        </p:spPr>
        <p:txBody>
          <a:bodyPr/>
          <a:lstStyle>
            <a:lvl1pPr>
              <a:defRPr sz="100" b="0">
                <a:solidFill>
                  <a:schemeClr val="bg1">
                    <a:alpha val="0"/>
                  </a:schemeClr>
                </a:solidFill>
              </a:defRPr>
            </a:lvl1pPr>
          </a:lstStyle>
          <a:p>
            <a:pPr lvl="0"/>
            <a:r>
              <a:rPr lang="en-US" noProof="0"/>
              <a:t> </a:t>
            </a:r>
          </a:p>
        </p:txBody>
      </p:sp>
    </p:spTree>
    <p:extLst>
      <p:ext uri="{BB962C8B-B14F-4D97-AF65-F5344CB8AC3E}">
        <p14:creationId xmlns:p14="http://schemas.microsoft.com/office/powerpoint/2010/main" val="1052373203"/>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hank_you_2">
    <p:spTree>
      <p:nvGrpSpPr>
        <p:cNvPr id="1" name=""/>
        <p:cNvGrpSpPr/>
        <p:nvPr/>
      </p:nvGrpSpPr>
      <p:grpSpPr>
        <a:xfrm>
          <a:off x="0" y="0"/>
          <a:ext cx="0" cy="0"/>
          <a:chOff x="0" y="0"/>
          <a:chExt cx="0" cy="0"/>
        </a:xfrm>
      </p:grpSpPr>
      <p:pic>
        <p:nvPicPr>
          <p:cNvPr id="21" name="Image 20" descr="Image_03.jpg"/>
          <p:cNvPicPr>
            <a:picLocks noChangeAspect="1"/>
          </p:cNvPicPr>
          <p:nvPr userDrawn="1"/>
        </p:nvPicPr>
        <p:blipFill>
          <a:blip r:embed="rId2" cstate="print"/>
          <a:stretch>
            <a:fillRect/>
          </a:stretch>
        </p:blipFill>
        <p:spPr bwMode="gray">
          <a:xfrm>
            <a:off x="4068000" y="0"/>
            <a:ext cx="5076000" cy="5185751"/>
          </a:xfrm>
          <a:prstGeom prst="rect">
            <a:avLst/>
          </a:prstGeom>
        </p:spPr>
      </p:pic>
      <p:sp>
        <p:nvSpPr>
          <p:cNvPr id="14" name="Forme libre 13"/>
          <p:cNvSpPr/>
          <p:nvPr userDrawn="1"/>
        </p:nvSpPr>
        <p:spPr bwMode="gray">
          <a:xfrm>
            <a:off x="1" y="0"/>
            <a:ext cx="6899275" cy="5157788"/>
          </a:xfrm>
          <a:custGeom>
            <a:avLst/>
            <a:gdLst>
              <a:gd name="connsiteX0" fmla="*/ 0 w 6899275"/>
              <a:gd name="connsiteY0" fmla="*/ 0 h 5157788"/>
              <a:gd name="connsiteX1" fmla="*/ 6899275 w 6899275"/>
              <a:gd name="connsiteY1" fmla="*/ 0 h 5157788"/>
              <a:gd name="connsiteX2" fmla="*/ 5436096 w 6899275"/>
              <a:gd name="connsiteY2" fmla="*/ 2564905 h 5157788"/>
              <a:gd name="connsiteX3" fmla="*/ 4192589 w 6899275"/>
              <a:gd name="connsiteY3" fmla="*/ 5157788 h 5157788"/>
              <a:gd name="connsiteX4" fmla="*/ 0 w 6899275"/>
              <a:gd name="connsiteY4" fmla="*/ 5157788 h 51577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9275" h="5157788">
                <a:moveTo>
                  <a:pt x="0" y="0"/>
                </a:moveTo>
                <a:lnTo>
                  <a:pt x="6899275" y="0"/>
                </a:lnTo>
                <a:cubicBezTo>
                  <a:pt x="6858543" y="709899"/>
                  <a:pt x="6060035" y="1706304"/>
                  <a:pt x="5436096" y="2564905"/>
                </a:cubicBezTo>
                <a:cubicBezTo>
                  <a:pt x="4375629" y="4028322"/>
                  <a:pt x="4276999" y="4546571"/>
                  <a:pt x="4192589" y="5157788"/>
                </a:cubicBezTo>
                <a:lnTo>
                  <a:pt x="0" y="5157788"/>
                </a:lnTo>
                <a:close/>
              </a:path>
            </a:pathLst>
          </a:custGeom>
          <a:blipFill>
            <a:blip r:embed="rId3" cstate="prin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2" name="Rectangle 21"/>
          <p:cNvSpPr/>
          <p:nvPr userDrawn="1"/>
        </p:nvSpPr>
        <p:spPr bwMode="gray">
          <a:xfrm>
            <a:off x="3635375" y="5265204"/>
            <a:ext cx="5508625" cy="15927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pic>
        <p:nvPicPr>
          <p:cNvPr id="20" name="Image 19" descr="Bas_couv.png"/>
          <p:cNvPicPr>
            <a:picLocks noChangeAspect="1"/>
          </p:cNvPicPr>
          <p:nvPr userDrawn="1"/>
        </p:nvPicPr>
        <p:blipFill>
          <a:blip r:embed="rId4" cstate="print"/>
          <a:srcRect r="60243" b="722"/>
          <a:stretch>
            <a:fillRect/>
          </a:stretch>
        </p:blipFill>
        <p:spPr bwMode="gray">
          <a:xfrm>
            <a:off x="0" y="5172520"/>
            <a:ext cx="3635375" cy="1685480"/>
          </a:xfrm>
          <a:prstGeom prst="rect">
            <a:avLst/>
          </a:prstGeom>
        </p:spPr>
      </p:pic>
      <p:sp>
        <p:nvSpPr>
          <p:cNvPr id="9" name="Espace réservé du texte 8"/>
          <p:cNvSpPr>
            <a:spLocks noGrp="1"/>
          </p:cNvSpPr>
          <p:nvPr>
            <p:ph type="body" sz="quarter" idx="13" hasCustomPrompt="1"/>
          </p:nvPr>
        </p:nvSpPr>
        <p:spPr bwMode="gray">
          <a:xfrm>
            <a:off x="468000" y="1036800"/>
            <a:ext cx="4824412" cy="2232000"/>
          </a:xfrm>
        </p:spPr>
        <p:txBody>
          <a:bodyPr anchor="b" anchorCtr="0"/>
          <a:lstStyle>
            <a:lvl1pPr marL="0" indent="0" algn="l">
              <a:lnSpc>
                <a:spcPct val="90000"/>
              </a:lnSpc>
              <a:buNone/>
              <a:defRPr sz="2800" b="1" cap="none" baseline="0">
                <a:solidFill>
                  <a:schemeClr val="bg1"/>
                </a:solidFill>
              </a:defRPr>
            </a:lvl1pPr>
            <a:lvl2pPr marL="0" algn="ctr">
              <a:lnSpc>
                <a:spcPct val="100000"/>
              </a:lnSpc>
              <a:spcBef>
                <a:spcPts val="6900"/>
              </a:spcBef>
              <a:defRPr sz="2000" b="1">
                <a:solidFill>
                  <a:schemeClr val="bg1"/>
                </a:solidFill>
              </a:defRPr>
            </a:lvl2pPr>
          </a:lstStyle>
          <a:p>
            <a:pPr lvl="0"/>
            <a:r>
              <a:rPr lang="en-US" noProof="0"/>
              <a:t>TITLE</a:t>
            </a:r>
          </a:p>
        </p:txBody>
      </p:sp>
      <p:sp>
        <p:nvSpPr>
          <p:cNvPr id="10" name="Espace réservé de la date 9"/>
          <p:cNvSpPr>
            <a:spLocks noGrp="1"/>
          </p:cNvSpPr>
          <p:nvPr>
            <p:ph type="dt" sz="half" idx="15"/>
          </p:nvPr>
        </p:nvSpPr>
        <p:spPr bwMode="gray"/>
        <p:txBody>
          <a:bodyPr/>
          <a:lstStyle/>
          <a:p>
            <a:r>
              <a:rPr lang="en-US">
                <a:solidFill>
                  <a:prstClr val="white">
                    <a:alpha val="0"/>
                  </a:prstClr>
                </a:solidFill>
              </a:rPr>
              <a:t>Date</a:t>
            </a:r>
          </a:p>
        </p:txBody>
      </p:sp>
      <p:sp>
        <p:nvSpPr>
          <p:cNvPr id="11" name="Espace réservé du numéro de diapositive 10"/>
          <p:cNvSpPr>
            <a:spLocks noGrp="1"/>
          </p:cNvSpPr>
          <p:nvPr>
            <p:ph type="sldNum" sz="quarter" idx="16"/>
          </p:nvPr>
        </p:nvSpPr>
        <p:spPr bwMode="gray"/>
        <p:txBody>
          <a:bodyPr/>
          <a:lstStyle>
            <a:lvl1pPr>
              <a:defRPr sz="100">
                <a:solidFill>
                  <a:schemeClr val="bg1">
                    <a:alpha val="0"/>
                  </a:schemeClr>
                </a:solidFill>
              </a:defRPr>
            </a:lvl1pPr>
          </a:lstStyle>
          <a:p>
            <a:r>
              <a:rPr lang="en-US">
                <a:solidFill>
                  <a:prstClr val="white">
                    <a:alpha val="0"/>
                  </a:prstClr>
                </a:solidFill>
              </a:rPr>
              <a:t>Page: </a:t>
            </a:r>
            <a:fld id="{733122C9-A0B9-462F-8757-0847AD287B63}" type="slidenum">
              <a:rPr lang="en-US" smtClean="0">
                <a:solidFill>
                  <a:prstClr val="white">
                    <a:alpha val="0"/>
                  </a:prstClr>
                </a:solidFill>
              </a:rPr>
              <a:pPr/>
              <a:t>‹#›</a:t>
            </a:fld>
            <a:endParaRPr lang="en-US">
              <a:solidFill>
                <a:prstClr val="white">
                  <a:alpha val="0"/>
                </a:prstClr>
              </a:solidFill>
            </a:endParaRPr>
          </a:p>
        </p:txBody>
      </p:sp>
      <p:sp>
        <p:nvSpPr>
          <p:cNvPr id="12" name="Espace réservé du pied de page 11"/>
          <p:cNvSpPr>
            <a:spLocks noGrp="1"/>
          </p:cNvSpPr>
          <p:nvPr>
            <p:ph type="ftr" sz="quarter" idx="17"/>
          </p:nvPr>
        </p:nvSpPr>
        <p:spPr bwMode="gray">
          <a:xfrm>
            <a:off x="468312" y="524188"/>
            <a:ext cx="4824413" cy="360000"/>
          </a:xfrm>
        </p:spPr>
        <p:txBody>
          <a:bodyPr/>
          <a:lstStyle>
            <a:lvl1pPr algn="l">
              <a:defRPr sz="1800" b="0">
                <a:solidFill>
                  <a:schemeClr val="bg1"/>
                </a:solidFill>
              </a:defRPr>
            </a:lvl1pPr>
          </a:lstStyle>
          <a:p>
            <a:r>
              <a:rPr lang="en-US">
                <a:solidFill>
                  <a:prstClr val="white"/>
                </a:solidFill>
              </a:rPr>
              <a:t>#add your hashtag</a:t>
            </a:r>
          </a:p>
        </p:txBody>
      </p:sp>
      <p:sp>
        <p:nvSpPr>
          <p:cNvPr id="15" name="Espace réservé du texte 14"/>
          <p:cNvSpPr>
            <a:spLocks noGrp="1"/>
          </p:cNvSpPr>
          <p:nvPr>
            <p:ph type="body" sz="quarter" idx="19" hasCustomPrompt="1"/>
          </p:nvPr>
        </p:nvSpPr>
        <p:spPr bwMode="gray">
          <a:xfrm>
            <a:off x="3635376" y="6021388"/>
            <a:ext cx="5113338" cy="324000"/>
          </a:xfrm>
        </p:spPr>
        <p:txBody>
          <a:bodyPr anchor="b" anchorCtr="0"/>
          <a:lstStyle>
            <a:lvl1pPr algn="r">
              <a:lnSpc>
                <a:spcPct val="100000"/>
              </a:lnSpc>
              <a:defRPr sz="1000" b="1">
                <a:solidFill>
                  <a:schemeClr val="accent2"/>
                </a:solidFill>
              </a:defRPr>
            </a:lvl1pPr>
          </a:lstStyle>
          <a:p>
            <a:pPr lvl="0"/>
            <a:r>
              <a:rPr lang="en-US" noProof="0"/>
              <a:t>Write your claim here</a:t>
            </a:r>
          </a:p>
        </p:txBody>
      </p:sp>
      <p:sp>
        <p:nvSpPr>
          <p:cNvPr id="16" name="Rectangle 15"/>
          <p:cNvSpPr/>
          <p:nvPr userDrawn="1"/>
        </p:nvSpPr>
        <p:spPr bwMode="gray">
          <a:xfrm>
            <a:off x="3635375" y="6354202"/>
            <a:ext cx="5113338" cy="2872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r"/>
            <a:r>
              <a:rPr lang="en-US" sz="1000">
                <a:solidFill>
                  <a:srgbClr val="95D600"/>
                </a:solidFill>
              </a:rPr>
              <a:t>www.gavi.org</a:t>
            </a:r>
          </a:p>
        </p:txBody>
      </p:sp>
      <p:sp>
        <p:nvSpPr>
          <p:cNvPr id="19" name="Rectangle 18"/>
          <p:cNvSpPr/>
          <p:nvPr userDrawn="1"/>
        </p:nvSpPr>
        <p:spPr bwMode="gray">
          <a:xfrm>
            <a:off x="468313" y="3391895"/>
            <a:ext cx="2448000" cy="252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7" name="Espace réservé du texte 16"/>
          <p:cNvSpPr>
            <a:spLocks noGrp="1"/>
          </p:cNvSpPr>
          <p:nvPr>
            <p:ph type="body" sz="quarter" idx="20" hasCustomPrompt="1"/>
          </p:nvPr>
        </p:nvSpPr>
        <p:spPr bwMode="gray">
          <a:xfrm>
            <a:off x="0" y="5157788"/>
            <a:ext cx="9144000" cy="287337"/>
          </a:xfrm>
          <a:solidFill>
            <a:schemeClr val="bg1"/>
          </a:solidFill>
        </p:spPr>
        <p:txBody>
          <a:bodyPr/>
          <a:lstStyle>
            <a:lvl1pPr>
              <a:defRPr sz="100" b="0">
                <a:solidFill>
                  <a:schemeClr val="bg1">
                    <a:alpha val="0"/>
                  </a:schemeClr>
                </a:solidFill>
              </a:defRPr>
            </a:lvl1pPr>
          </a:lstStyle>
          <a:p>
            <a:pPr lvl="0"/>
            <a:r>
              <a:rPr lang="en-US" noProof="0"/>
              <a:t> </a:t>
            </a:r>
          </a:p>
        </p:txBody>
      </p:sp>
    </p:spTree>
    <p:extLst>
      <p:ext uri="{BB962C8B-B14F-4D97-AF65-F5344CB8AC3E}">
        <p14:creationId xmlns:p14="http://schemas.microsoft.com/office/powerpoint/2010/main" val="3254442822"/>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hank_you_picture_2">
    <p:spTree>
      <p:nvGrpSpPr>
        <p:cNvPr id="1" name=""/>
        <p:cNvGrpSpPr/>
        <p:nvPr/>
      </p:nvGrpSpPr>
      <p:grpSpPr>
        <a:xfrm>
          <a:off x="0" y="0"/>
          <a:ext cx="0" cy="0"/>
          <a:chOff x="0" y="0"/>
          <a:chExt cx="0" cy="0"/>
        </a:xfrm>
      </p:grpSpPr>
      <p:pic>
        <p:nvPicPr>
          <p:cNvPr id="21" name="Image 20" descr="FD_1_L254.png"/>
          <p:cNvPicPr>
            <a:picLocks noChangeAspect="1"/>
          </p:cNvPicPr>
          <p:nvPr userDrawn="1"/>
        </p:nvPicPr>
        <p:blipFill>
          <a:blip r:embed="rId2" cstate="print"/>
          <a:stretch>
            <a:fillRect/>
          </a:stretch>
        </p:blipFill>
        <p:spPr bwMode="gray">
          <a:xfrm>
            <a:off x="1" y="0"/>
            <a:ext cx="9144000" cy="5157788"/>
          </a:xfrm>
          <a:prstGeom prst="rect">
            <a:avLst/>
          </a:prstGeom>
        </p:spPr>
      </p:pic>
      <p:sp>
        <p:nvSpPr>
          <p:cNvPr id="18" name="Espace réservé pour une image  17"/>
          <p:cNvSpPr>
            <a:spLocks noGrp="1"/>
          </p:cNvSpPr>
          <p:nvPr>
            <p:ph type="pic" sz="quarter" idx="18" hasCustomPrompt="1"/>
          </p:nvPr>
        </p:nvSpPr>
        <p:spPr bwMode="gray">
          <a:xfrm>
            <a:off x="4192588" y="0"/>
            <a:ext cx="4951412" cy="5162400"/>
          </a:xfrm>
          <a:custGeom>
            <a:avLst/>
            <a:gdLst>
              <a:gd name="connsiteX0" fmla="*/ 0 w 3851275"/>
              <a:gd name="connsiteY0" fmla="*/ 0 h 5157788"/>
              <a:gd name="connsiteX1" fmla="*/ 3851275 w 3851275"/>
              <a:gd name="connsiteY1" fmla="*/ 0 h 5157788"/>
              <a:gd name="connsiteX2" fmla="*/ 3851275 w 3851275"/>
              <a:gd name="connsiteY2" fmla="*/ 5157788 h 5157788"/>
              <a:gd name="connsiteX3" fmla="*/ 0 w 3851275"/>
              <a:gd name="connsiteY3" fmla="*/ 5157788 h 5157788"/>
              <a:gd name="connsiteX4" fmla="*/ 0 w 3851275"/>
              <a:gd name="connsiteY4"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0 w 3851275"/>
              <a:gd name="connsiteY3" fmla="*/ 5157788 h 5157788"/>
              <a:gd name="connsiteX4" fmla="*/ 1692275 w 3851275"/>
              <a:gd name="connsiteY4" fmla="*/ 0 h 5157788"/>
              <a:gd name="connsiteX0" fmla="*/ 0 w 2159000"/>
              <a:gd name="connsiteY0" fmla="*/ 0 h 5157788"/>
              <a:gd name="connsiteX1" fmla="*/ 2159000 w 2159000"/>
              <a:gd name="connsiteY1" fmla="*/ 0 h 5157788"/>
              <a:gd name="connsiteX2" fmla="*/ 2159000 w 2159000"/>
              <a:gd name="connsiteY2" fmla="*/ 5157788 h 5157788"/>
              <a:gd name="connsiteX3" fmla="*/ 0 w 2159000"/>
              <a:gd name="connsiteY3" fmla="*/ 5157788 h 5157788"/>
              <a:gd name="connsiteX4" fmla="*/ 0 w 2159000"/>
              <a:gd name="connsiteY4" fmla="*/ 0 h 5157788"/>
              <a:gd name="connsiteX0" fmla="*/ 2625271 w 4784271"/>
              <a:gd name="connsiteY0" fmla="*/ 0 h 5157788"/>
              <a:gd name="connsiteX1" fmla="*/ 4784271 w 4784271"/>
              <a:gd name="connsiteY1" fmla="*/ 0 h 5157788"/>
              <a:gd name="connsiteX2" fmla="*/ 4784271 w 4784271"/>
              <a:gd name="connsiteY2" fmla="*/ 5157788 h 5157788"/>
              <a:gd name="connsiteX3" fmla="*/ 2625271 w 4784271"/>
              <a:gd name="connsiteY3" fmla="*/ 5157788 h 5157788"/>
              <a:gd name="connsiteX4" fmla="*/ 2625271 w 4784271"/>
              <a:gd name="connsiteY4" fmla="*/ 0 h 5157788"/>
              <a:gd name="connsiteX0" fmla="*/ 2625271 w 4784271"/>
              <a:gd name="connsiteY0" fmla="*/ 0 h 5157788"/>
              <a:gd name="connsiteX1" fmla="*/ 4784271 w 4784271"/>
              <a:gd name="connsiteY1" fmla="*/ 0 h 5157788"/>
              <a:gd name="connsiteX2" fmla="*/ 4784271 w 4784271"/>
              <a:gd name="connsiteY2" fmla="*/ 5157788 h 5157788"/>
              <a:gd name="connsiteX3" fmla="*/ 2625271 w 4784271"/>
              <a:gd name="connsiteY3" fmla="*/ 5157788 h 5157788"/>
              <a:gd name="connsiteX4" fmla="*/ 2625271 w 4784271"/>
              <a:gd name="connsiteY4" fmla="*/ 0 h 5157788"/>
              <a:gd name="connsiteX0" fmla="*/ 3568576 w 5727576"/>
              <a:gd name="connsiteY0" fmla="*/ 0 h 5157788"/>
              <a:gd name="connsiteX1" fmla="*/ 5727576 w 5727576"/>
              <a:gd name="connsiteY1" fmla="*/ 0 h 5157788"/>
              <a:gd name="connsiteX2" fmla="*/ 5727576 w 5727576"/>
              <a:gd name="connsiteY2" fmla="*/ 5157788 h 5157788"/>
              <a:gd name="connsiteX3" fmla="*/ 3568576 w 5727576"/>
              <a:gd name="connsiteY3" fmla="*/ 5157788 h 5157788"/>
              <a:gd name="connsiteX4" fmla="*/ 3568576 w 5727576"/>
              <a:gd name="connsiteY4" fmla="*/ 0 h 5157788"/>
              <a:gd name="connsiteX0" fmla="*/ 3306355 w 5465355"/>
              <a:gd name="connsiteY0" fmla="*/ 0 h 5157788"/>
              <a:gd name="connsiteX1" fmla="*/ 5465355 w 5465355"/>
              <a:gd name="connsiteY1" fmla="*/ 0 h 5157788"/>
              <a:gd name="connsiteX2" fmla="*/ 5465355 w 5465355"/>
              <a:gd name="connsiteY2" fmla="*/ 5157788 h 5157788"/>
              <a:gd name="connsiteX3" fmla="*/ 3306355 w 5465355"/>
              <a:gd name="connsiteY3" fmla="*/ 5157788 h 5157788"/>
              <a:gd name="connsiteX4" fmla="*/ 3306355 w 5465355"/>
              <a:gd name="connsiteY4" fmla="*/ 0 h 5157788"/>
              <a:gd name="connsiteX0" fmla="*/ 1416957 w 3575957"/>
              <a:gd name="connsiteY0" fmla="*/ 0 h 5157788"/>
              <a:gd name="connsiteX1" fmla="*/ 3575957 w 3575957"/>
              <a:gd name="connsiteY1" fmla="*/ 0 h 5157788"/>
              <a:gd name="connsiteX2" fmla="*/ 3575957 w 3575957"/>
              <a:gd name="connsiteY2" fmla="*/ 5157788 h 5157788"/>
              <a:gd name="connsiteX3" fmla="*/ 1416957 w 3575957"/>
              <a:gd name="connsiteY3" fmla="*/ 5157788 h 5157788"/>
              <a:gd name="connsiteX4" fmla="*/ 0 w 3575957"/>
              <a:gd name="connsiteY4" fmla="*/ 3339193 h 5157788"/>
              <a:gd name="connsiteX5" fmla="*/ 1416957 w 3575957"/>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6017419"/>
              <a:gd name="connsiteX1" fmla="*/ 3851275 w 3851275"/>
              <a:gd name="connsiteY1" fmla="*/ 0 h 6017419"/>
              <a:gd name="connsiteX2" fmla="*/ 3851275 w 3851275"/>
              <a:gd name="connsiteY2" fmla="*/ 5157788 h 6017419"/>
              <a:gd name="connsiteX3" fmla="*/ 1692275 w 3851275"/>
              <a:gd name="connsiteY3" fmla="*/ 5157788 h 6017419"/>
              <a:gd name="connsiteX4" fmla="*/ 0 w 3851275"/>
              <a:gd name="connsiteY4" fmla="*/ 3284984 h 6017419"/>
              <a:gd name="connsiteX5" fmla="*/ 1692275 w 3851275"/>
              <a:gd name="connsiteY5" fmla="*/ 0 h 6017419"/>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429000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429000 h 5157788"/>
              <a:gd name="connsiteX5" fmla="*/ 1710871 w 3869871"/>
              <a:gd name="connsiteY5" fmla="*/ 0 h 5157788"/>
              <a:gd name="connsiteX0" fmla="*/ 1704975 w 3863975"/>
              <a:gd name="connsiteY0" fmla="*/ 0 h 5157788"/>
              <a:gd name="connsiteX1" fmla="*/ 3863975 w 3863975"/>
              <a:gd name="connsiteY1" fmla="*/ 0 h 5157788"/>
              <a:gd name="connsiteX2" fmla="*/ 3863975 w 3863975"/>
              <a:gd name="connsiteY2" fmla="*/ 5157788 h 5157788"/>
              <a:gd name="connsiteX3" fmla="*/ 1704975 w 3863975"/>
              <a:gd name="connsiteY3" fmla="*/ 5157788 h 5157788"/>
              <a:gd name="connsiteX4" fmla="*/ 12700 w 3863975"/>
              <a:gd name="connsiteY4" fmla="*/ 3429000 h 5157788"/>
              <a:gd name="connsiteX5" fmla="*/ 1704975 w 3863975"/>
              <a:gd name="connsiteY5" fmla="*/ 0 h 5157788"/>
              <a:gd name="connsiteX0" fmla="*/ 1707243 w 3866243"/>
              <a:gd name="connsiteY0" fmla="*/ 0 h 5157788"/>
              <a:gd name="connsiteX1" fmla="*/ 3866243 w 3866243"/>
              <a:gd name="connsiteY1" fmla="*/ 0 h 5157788"/>
              <a:gd name="connsiteX2" fmla="*/ 3866243 w 3866243"/>
              <a:gd name="connsiteY2" fmla="*/ 5157788 h 5157788"/>
              <a:gd name="connsiteX3" fmla="*/ 1707243 w 3866243"/>
              <a:gd name="connsiteY3" fmla="*/ 5157788 h 5157788"/>
              <a:gd name="connsiteX4" fmla="*/ 14968 w 3866243"/>
              <a:gd name="connsiteY4" fmla="*/ 3429000 h 5157788"/>
              <a:gd name="connsiteX5" fmla="*/ 1707243 w 3866243"/>
              <a:gd name="connsiteY5" fmla="*/ 0 h 5157788"/>
              <a:gd name="connsiteX0" fmla="*/ 1130447 w 3866243"/>
              <a:gd name="connsiteY0" fmla="*/ 0 h 5157788"/>
              <a:gd name="connsiteX1" fmla="*/ 3866243 w 3866243"/>
              <a:gd name="connsiteY1" fmla="*/ 0 h 5157788"/>
              <a:gd name="connsiteX2" fmla="*/ 3866243 w 3866243"/>
              <a:gd name="connsiteY2" fmla="*/ 5157788 h 5157788"/>
              <a:gd name="connsiteX3" fmla="*/ 1707243 w 3866243"/>
              <a:gd name="connsiteY3" fmla="*/ 5157788 h 5157788"/>
              <a:gd name="connsiteX4" fmla="*/ 14968 w 3866243"/>
              <a:gd name="connsiteY4" fmla="*/ 3429000 h 5157788"/>
              <a:gd name="connsiteX5" fmla="*/ 1130447 w 3866243"/>
              <a:gd name="connsiteY5" fmla="*/ 0 h 5157788"/>
              <a:gd name="connsiteX0" fmla="*/ 2746143 w 5481939"/>
              <a:gd name="connsiteY0" fmla="*/ 0 h 5157788"/>
              <a:gd name="connsiteX1" fmla="*/ 5481939 w 5481939"/>
              <a:gd name="connsiteY1" fmla="*/ 0 h 5157788"/>
              <a:gd name="connsiteX2" fmla="*/ 5481939 w 5481939"/>
              <a:gd name="connsiteY2" fmla="*/ 5157788 h 5157788"/>
              <a:gd name="connsiteX3" fmla="*/ 585903 w 5481939"/>
              <a:gd name="connsiteY3" fmla="*/ 5153180 h 5157788"/>
              <a:gd name="connsiteX4" fmla="*/ 1630664 w 5481939"/>
              <a:gd name="connsiteY4" fmla="*/ 3429000 h 5157788"/>
              <a:gd name="connsiteX5" fmla="*/ 2746143 w 5481939"/>
              <a:gd name="connsiteY5" fmla="*/ 0 h 5157788"/>
              <a:gd name="connsiteX0" fmla="*/ 2746143 w 5481939"/>
              <a:gd name="connsiteY0" fmla="*/ 0 h 5157788"/>
              <a:gd name="connsiteX1" fmla="*/ 5481939 w 5481939"/>
              <a:gd name="connsiteY1" fmla="*/ 0 h 5157788"/>
              <a:gd name="connsiteX2" fmla="*/ 5481939 w 5481939"/>
              <a:gd name="connsiteY2" fmla="*/ 5157788 h 5157788"/>
              <a:gd name="connsiteX3" fmla="*/ 585903 w 5481939"/>
              <a:gd name="connsiteY3" fmla="*/ 5153180 h 5157788"/>
              <a:gd name="connsiteX4" fmla="*/ 1630664 w 5481939"/>
              <a:gd name="connsiteY4" fmla="*/ 3429000 h 5157788"/>
              <a:gd name="connsiteX5" fmla="*/ 2746143 w 548193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3574235 w 6310031"/>
              <a:gd name="connsiteY0" fmla="*/ 0 h 5157788"/>
              <a:gd name="connsiteX1" fmla="*/ 6310031 w 6310031"/>
              <a:gd name="connsiteY1" fmla="*/ 0 h 5157788"/>
              <a:gd name="connsiteX2" fmla="*/ 6310031 w 6310031"/>
              <a:gd name="connsiteY2" fmla="*/ 5157788 h 5157788"/>
              <a:gd name="connsiteX3" fmla="*/ 585903 w 6310031"/>
              <a:gd name="connsiteY3" fmla="*/ 5153180 h 5157788"/>
              <a:gd name="connsiteX4" fmla="*/ 1738031 w 6310031"/>
              <a:gd name="connsiteY4" fmla="*/ 3389965 h 5157788"/>
              <a:gd name="connsiteX5" fmla="*/ 3574235 w 6310031"/>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296143 w 5724128"/>
              <a:gd name="connsiteY4" fmla="*/ 3461908 h 5157788"/>
              <a:gd name="connsiteX5" fmla="*/ 2988332 w 5724128"/>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1188132 w 5760132"/>
              <a:gd name="connsiteY4" fmla="*/ 3425937 h 5157788"/>
              <a:gd name="connsiteX5" fmla="*/ 3024336 w 5760132"/>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2736304 w 5760132"/>
              <a:gd name="connsiteY4" fmla="*/ 3461908 h 5157788"/>
              <a:gd name="connsiteX5" fmla="*/ 3024336 w 5760132"/>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2736304 w 5760132"/>
              <a:gd name="connsiteY4" fmla="*/ 3461908 h 5157788"/>
              <a:gd name="connsiteX5" fmla="*/ 3024336 w 5760132"/>
              <a:gd name="connsiteY5" fmla="*/ 0 h 5157788"/>
              <a:gd name="connsiteX0" fmla="*/ 2160240 w 4896036"/>
              <a:gd name="connsiteY0" fmla="*/ 0 h 5157788"/>
              <a:gd name="connsiteX1" fmla="*/ 4896036 w 4896036"/>
              <a:gd name="connsiteY1" fmla="*/ 0 h 5157788"/>
              <a:gd name="connsiteX2" fmla="*/ 4896036 w 4896036"/>
              <a:gd name="connsiteY2" fmla="*/ 5157788 h 5157788"/>
              <a:gd name="connsiteX3" fmla="*/ 0 w 4896036"/>
              <a:gd name="connsiteY3" fmla="*/ 5153180 h 5157788"/>
              <a:gd name="connsiteX4" fmla="*/ 1872208 w 4896036"/>
              <a:gd name="connsiteY4" fmla="*/ 3461908 h 5157788"/>
              <a:gd name="connsiteX5" fmla="*/ 2160240 w 4896036"/>
              <a:gd name="connsiteY5" fmla="*/ 0 h 5157788"/>
              <a:gd name="connsiteX0" fmla="*/ 2232248 w 4968044"/>
              <a:gd name="connsiteY0" fmla="*/ 0 h 5157788"/>
              <a:gd name="connsiteX1" fmla="*/ 4968044 w 4968044"/>
              <a:gd name="connsiteY1" fmla="*/ 0 h 5157788"/>
              <a:gd name="connsiteX2" fmla="*/ 4968044 w 4968044"/>
              <a:gd name="connsiteY2" fmla="*/ 5157788 h 5157788"/>
              <a:gd name="connsiteX3" fmla="*/ 0 w 4968044"/>
              <a:gd name="connsiteY3" fmla="*/ 5153180 h 5157788"/>
              <a:gd name="connsiteX4" fmla="*/ 1944216 w 4968044"/>
              <a:gd name="connsiteY4" fmla="*/ 3461908 h 5157788"/>
              <a:gd name="connsiteX5" fmla="*/ 2232248 w 4968044"/>
              <a:gd name="connsiteY5" fmla="*/ 0 h 5157788"/>
              <a:gd name="connsiteX0" fmla="*/ 2207679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207679 w 4943475"/>
              <a:gd name="connsiteY5" fmla="*/ 0 h 5157788"/>
              <a:gd name="connsiteX0" fmla="*/ 2963763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963763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092200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71575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343583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675731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675731 w 4943475"/>
              <a:gd name="connsiteY5" fmla="*/ 0 h 5157788"/>
              <a:gd name="connsiteX0" fmla="*/ 2675731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675731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9672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19672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51412" h="5157788">
                <a:moveTo>
                  <a:pt x="2706687" y="0"/>
                </a:moveTo>
                <a:lnTo>
                  <a:pt x="4951412" y="0"/>
                </a:lnTo>
                <a:lnTo>
                  <a:pt x="4951412" y="5157788"/>
                </a:lnTo>
                <a:lnTo>
                  <a:pt x="0" y="5153180"/>
                </a:lnTo>
                <a:cubicBezTo>
                  <a:pt x="84411" y="4542509"/>
                  <a:pt x="183041" y="4024723"/>
                  <a:pt x="1243508" y="2562613"/>
                </a:cubicBezTo>
                <a:cubicBezTo>
                  <a:pt x="1867447" y="1704780"/>
                  <a:pt x="2665955" y="709265"/>
                  <a:pt x="2706687" y="0"/>
                </a:cubicBezTo>
                <a:close/>
              </a:path>
            </a:pathLst>
          </a:custGeom>
          <a:solidFill>
            <a:schemeClr val="bg2"/>
          </a:solidFill>
          <a:ln w="3175">
            <a:noFill/>
          </a:ln>
        </p:spPr>
        <p:txBody>
          <a:bodyPr tIns="720000" anchor="ctr" anchorCtr="0"/>
          <a:lstStyle>
            <a:lvl1pPr algn="ctr">
              <a:defRPr sz="1500">
                <a:solidFill>
                  <a:schemeClr val="bg1"/>
                </a:solidFill>
              </a:defRPr>
            </a:lvl1pPr>
          </a:lstStyle>
          <a:p>
            <a:r>
              <a:rPr lang="en-US" noProof="0"/>
              <a:t>Select your own photo</a:t>
            </a:r>
          </a:p>
        </p:txBody>
      </p:sp>
      <p:sp>
        <p:nvSpPr>
          <p:cNvPr id="22" name="Rectangle 21"/>
          <p:cNvSpPr/>
          <p:nvPr userDrawn="1"/>
        </p:nvSpPr>
        <p:spPr bwMode="gray">
          <a:xfrm>
            <a:off x="3635375" y="5265204"/>
            <a:ext cx="5508625" cy="15927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pic>
        <p:nvPicPr>
          <p:cNvPr id="20" name="Image 19" descr="Bas_couv.png"/>
          <p:cNvPicPr>
            <a:picLocks noChangeAspect="1"/>
          </p:cNvPicPr>
          <p:nvPr userDrawn="1"/>
        </p:nvPicPr>
        <p:blipFill>
          <a:blip r:embed="rId3" cstate="print"/>
          <a:srcRect r="60243" b="722"/>
          <a:stretch>
            <a:fillRect/>
          </a:stretch>
        </p:blipFill>
        <p:spPr bwMode="gray">
          <a:xfrm>
            <a:off x="0" y="5172520"/>
            <a:ext cx="3635375" cy="1685480"/>
          </a:xfrm>
          <a:prstGeom prst="rect">
            <a:avLst/>
          </a:prstGeom>
        </p:spPr>
      </p:pic>
      <p:sp>
        <p:nvSpPr>
          <p:cNvPr id="9" name="Espace réservé du texte 8"/>
          <p:cNvSpPr>
            <a:spLocks noGrp="1"/>
          </p:cNvSpPr>
          <p:nvPr>
            <p:ph type="body" sz="quarter" idx="13" hasCustomPrompt="1"/>
          </p:nvPr>
        </p:nvSpPr>
        <p:spPr bwMode="gray">
          <a:xfrm>
            <a:off x="468000" y="1036800"/>
            <a:ext cx="4824412" cy="2232000"/>
          </a:xfrm>
        </p:spPr>
        <p:txBody>
          <a:bodyPr anchor="b" anchorCtr="0"/>
          <a:lstStyle>
            <a:lvl1pPr marL="0" indent="0" algn="l">
              <a:lnSpc>
                <a:spcPct val="90000"/>
              </a:lnSpc>
              <a:buNone/>
              <a:defRPr sz="2800" b="1" cap="none" baseline="0">
                <a:solidFill>
                  <a:schemeClr val="bg1"/>
                </a:solidFill>
              </a:defRPr>
            </a:lvl1pPr>
            <a:lvl2pPr marL="0" algn="ctr">
              <a:lnSpc>
                <a:spcPct val="100000"/>
              </a:lnSpc>
              <a:spcBef>
                <a:spcPts val="6900"/>
              </a:spcBef>
              <a:defRPr sz="2000" b="1">
                <a:solidFill>
                  <a:schemeClr val="bg1"/>
                </a:solidFill>
              </a:defRPr>
            </a:lvl2pPr>
          </a:lstStyle>
          <a:p>
            <a:pPr lvl="0"/>
            <a:r>
              <a:rPr lang="en-US" noProof="0"/>
              <a:t>TITLE</a:t>
            </a:r>
          </a:p>
        </p:txBody>
      </p:sp>
      <p:sp>
        <p:nvSpPr>
          <p:cNvPr id="10" name="Espace réservé de la date 9"/>
          <p:cNvSpPr>
            <a:spLocks noGrp="1"/>
          </p:cNvSpPr>
          <p:nvPr>
            <p:ph type="dt" sz="half" idx="15"/>
          </p:nvPr>
        </p:nvSpPr>
        <p:spPr bwMode="gray"/>
        <p:txBody>
          <a:bodyPr/>
          <a:lstStyle/>
          <a:p>
            <a:r>
              <a:rPr lang="en-US">
                <a:solidFill>
                  <a:prstClr val="white">
                    <a:alpha val="0"/>
                  </a:prstClr>
                </a:solidFill>
              </a:rPr>
              <a:t>Date</a:t>
            </a:r>
          </a:p>
        </p:txBody>
      </p:sp>
      <p:sp>
        <p:nvSpPr>
          <p:cNvPr id="11" name="Espace réservé du numéro de diapositive 10"/>
          <p:cNvSpPr>
            <a:spLocks noGrp="1"/>
          </p:cNvSpPr>
          <p:nvPr>
            <p:ph type="sldNum" sz="quarter" idx="16"/>
          </p:nvPr>
        </p:nvSpPr>
        <p:spPr bwMode="gray"/>
        <p:txBody>
          <a:bodyPr/>
          <a:lstStyle>
            <a:lvl1pPr>
              <a:defRPr sz="100">
                <a:solidFill>
                  <a:schemeClr val="bg1">
                    <a:alpha val="0"/>
                  </a:schemeClr>
                </a:solidFill>
              </a:defRPr>
            </a:lvl1pPr>
          </a:lstStyle>
          <a:p>
            <a:r>
              <a:rPr lang="en-US">
                <a:solidFill>
                  <a:prstClr val="white">
                    <a:alpha val="0"/>
                  </a:prstClr>
                </a:solidFill>
              </a:rPr>
              <a:t>Page: </a:t>
            </a:r>
            <a:fld id="{733122C9-A0B9-462F-8757-0847AD287B63}" type="slidenum">
              <a:rPr lang="en-US" smtClean="0">
                <a:solidFill>
                  <a:prstClr val="white">
                    <a:alpha val="0"/>
                  </a:prstClr>
                </a:solidFill>
              </a:rPr>
              <a:pPr/>
              <a:t>‹#›</a:t>
            </a:fld>
            <a:endParaRPr lang="en-US">
              <a:solidFill>
                <a:prstClr val="white">
                  <a:alpha val="0"/>
                </a:prstClr>
              </a:solidFill>
            </a:endParaRPr>
          </a:p>
        </p:txBody>
      </p:sp>
      <p:sp>
        <p:nvSpPr>
          <p:cNvPr id="12" name="Espace réservé du pied de page 11"/>
          <p:cNvSpPr>
            <a:spLocks noGrp="1"/>
          </p:cNvSpPr>
          <p:nvPr>
            <p:ph type="ftr" sz="quarter" idx="17"/>
          </p:nvPr>
        </p:nvSpPr>
        <p:spPr bwMode="gray">
          <a:xfrm>
            <a:off x="468312" y="524188"/>
            <a:ext cx="4824413" cy="360000"/>
          </a:xfrm>
        </p:spPr>
        <p:txBody>
          <a:bodyPr/>
          <a:lstStyle>
            <a:lvl1pPr algn="l">
              <a:defRPr sz="1800" b="0">
                <a:solidFill>
                  <a:schemeClr val="bg1"/>
                </a:solidFill>
              </a:defRPr>
            </a:lvl1pPr>
          </a:lstStyle>
          <a:p>
            <a:r>
              <a:rPr lang="en-US">
                <a:solidFill>
                  <a:prstClr val="white"/>
                </a:solidFill>
              </a:rPr>
              <a:t>#add your hashtag</a:t>
            </a:r>
          </a:p>
        </p:txBody>
      </p:sp>
      <p:sp>
        <p:nvSpPr>
          <p:cNvPr id="15" name="Espace réservé du texte 14"/>
          <p:cNvSpPr>
            <a:spLocks noGrp="1"/>
          </p:cNvSpPr>
          <p:nvPr>
            <p:ph type="body" sz="quarter" idx="19" hasCustomPrompt="1"/>
          </p:nvPr>
        </p:nvSpPr>
        <p:spPr bwMode="gray">
          <a:xfrm>
            <a:off x="3635376" y="6021388"/>
            <a:ext cx="5113338" cy="324000"/>
          </a:xfrm>
        </p:spPr>
        <p:txBody>
          <a:bodyPr anchor="b" anchorCtr="0"/>
          <a:lstStyle>
            <a:lvl1pPr algn="r">
              <a:lnSpc>
                <a:spcPct val="100000"/>
              </a:lnSpc>
              <a:defRPr sz="1000" b="1">
                <a:solidFill>
                  <a:schemeClr val="accent2"/>
                </a:solidFill>
              </a:defRPr>
            </a:lvl1pPr>
          </a:lstStyle>
          <a:p>
            <a:pPr lvl="0"/>
            <a:r>
              <a:rPr lang="en-US" noProof="0"/>
              <a:t>Write your claim here</a:t>
            </a:r>
          </a:p>
        </p:txBody>
      </p:sp>
      <p:sp>
        <p:nvSpPr>
          <p:cNvPr id="16" name="Rectangle 15"/>
          <p:cNvSpPr/>
          <p:nvPr userDrawn="1"/>
        </p:nvSpPr>
        <p:spPr bwMode="gray">
          <a:xfrm>
            <a:off x="3635375" y="6354202"/>
            <a:ext cx="5113338" cy="2872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r"/>
            <a:r>
              <a:rPr lang="en-US" sz="1000">
                <a:solidFill>
                  <a:srgbClr val="95D600"/>
                </a:solidFill>
              </a:rPr>
              <a:t>www.gavi.org</a:t>
            </a:r>
          </a:p>
        </p:txBody>
      </p:sp>
      <p:sp>
        <p:nvSpPr>
          <p:cNvPr id="19" name="Rectangle 18"/>
          <p:cNvSpPr/>
          <p:nvPr userDrawn="1"/>
        </p:nvSpPr>
        <p:spPr bwMode="gray">
          <a:xfrm>
            <a:off x="468313" y="3391895"/>
            <a:ext cx="2448000" cy="252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7" name="Espace réservé du texte 16"/>
          <p:cNvSpPr>
            <a:spLocks noGrp="1"/>
          </p:cNvSpPr>
          <p:nvPr>
            <p:ph type="body" sz="quarter" idx="20" hasCustomPrompt="1"/>
          </p:nvPr>
        </p:nvSpPr>
        <p:spPr bwMode="gray">
          <a:xfrm>
            <a:off x="0" y="5157788"/>
            <a:ext cx="9144000" cy="287337"/>
          </a:xfrm>
          <a:solidFill>
            <a:schemeClr val="bg1"/>
          </a:solidFill>
        </p:spPr>
        <p:txBody>
          <a:bodyPr/>
          <a:lstStyle>
            <a:lvl1pPr>
              <a:defRPr sz="100" b="0">
                <a:solidFill>
                  <a:schemeClr val="bg1">
                    <a:alpha val="0"/>
                  </a:schemeClr>
                </a:solidFill>
              </a:defRPr>
            </a:lvl1pPr>
          </a:lstStyle>
          <a:p>
            <a:pPr lvl="0"/>
            <a:r>
              <a:rPr lang="en-US" noProof="0"/>
              <a:t> </a:t>
            </a:r>
          </a:p>
        </p:txBody>
      </p:sp>
    </p:spTree>
    <p:extLst>
      <p:ext uri="{BB962C8B-B14F-4D97-AF65-F5344CB8AC3E}">
        <p14:creationId xmlns:p14="http://schemas.microsoft.com/office/powerpoint/2010/main" val="2987113000"/>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pic>
        <p:nvPicPr>
          <p:cNvPr id="6" name="Image 18" descr="FD_02.pn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gray">
          <a:xfrm>
            <a:off x="0" y="0"/>
            <a:ext cx="9144000" cy="51577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7" name="Rectangle 6"/>
          <p:cNvSpPr/>
          <p:nvPr userDrawn="1"/>
        </p:nvSpPr>
        <p:spPr bwMode="gray">
          <a:xfrm>
            <a:off x="3635375" y="5265738"/>
            <a:ext cx="5508625" cy="15922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prstClr val="white"/>
              </a:solidFill>
            </a:endParaRPr>
          </a:p>
        </p:txBody>
      </p:sp>
      <p:pic>
        <p:nvPicPr>
          <p:cNvPr id="10" name="Image 19" descr="Bas_couv.png"/>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gray">
          <a:xfrm>
            <a:off x="0" y="5172075"/>
            <a:ext cx="3635375" cy="16859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1" name="Rectangle 10"/>
          <p:cNvSpPr/>
          <p:nvPr userDrawn="1"/>
        </p:nvSpPr>
        <p:spPr bwMode="gray">
          <a:xfrm>
            <a:off x="3635375" y="6354763"/>
            <a:ext cx="5113338" cy="2873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p>
            <a:pPr algn="r">
              <a:defRPr/>
            </a:pPr>
            <a:r>
              <a:rPr lang="en-US" sz="1000" err="1">
                <a:solidFill>
                  <a:srgbClr val="95D600"/>
                </a:solidFill>
              </a:rPr>
              <a:t>www.gavi.org</a:t>
            </a:r>
            <a:endParaRPr lang="en-US" sz="1000">
              <a:solidFill>
                <a:srgbClr val="95D600"/>
              </a:solidFill>
            </a:endParaRPr>
          </a:p>
        </p:txBody>
      </p:sp>
      <p:cxnSp>
        <p:nvCxnSpPr>
          <p:cNvPr id="12" name="Connecteur droit 22"/>
          <p:cNvCxnSpPr/>
          <p:nvPr userDrawn="1"/>
        </p:nvCxnSpPr>
        <p:spPr bwMode="gray">
          <a:xfrm flipH="1">
            <a:off x="468313" y="3402013"/>
            <a:ext cx="2447925" cy="0"/>
          </a:xfrm>
          <a:prstGeom prst="line">
            <a:avLst/>
          </a:prstGeom>
          <a:ln w="24130">
            <a:solidFill>
              <a:schemeClr val="accent1"/>
            </a:solidFill>
          </a:ln>
        </p:spPr>
        <p:style>
          <a:lnRef idx="1">
            <a:schemeClr val="accent1"/>
          </a:lnRef>
          <a:fillRef idx="0">
            <a:schemeClr val="accent1"/>
          </a:fillRef>
          <a:effectRef idx="0">
            <a:schemeClr val="accent1"/>
          </a:effectRef>
          <a:fontRef idx="minor">
            <a:schemeClr val="tx1"/>
          </a:fontRef>
        </p:style>
      </p:cxnSp>
      <p:sp>
        <p:nvSpPr>
          <p:cNvPr id="9" name="Espace réservé du texte 8"/>
          <p:cNvSpPr>
            <a:spLocks noGrp="1"/>
          </p:cNvSpPr>
          <p:nvPr>
            <p:ph type="body" sz="quarter" idx="13"/>
          </p:nvPr>
        </p:nvSpPr>
        <p:spPr bwMode="gray">
          <a:xfrm>
            <a:off x="468314" y="1036800"/>
            <a:ext cx="4824412" cy="2232000"/>
          </a:xfrm>
        </p:spPr>
        <p:txBody>
          <a:bodyPr anchor="b"/>
          <a:lstStyle>
            <a:lvl1pPr marL="0" indent="0" algn="l">
              <a:lnSpc>
                <a:spcPct val="90000"/>
              </a:lnSpc>
              <a:buNone/>
              <a:defRPr sz="2800" b="1" cap="none" baseline="0">
                <a:solidFill>
                  <a:schemeClr val="bg1"/>
                </a:solidFill>
              </a:defRPr>
            </a:lvl1pPr>
            <a:lvl2pPr marL="0" algn="ctr">
              <a:lnSpc>
                <a:spcPct val="100000"/>
              </a:lnSpc>
              <a:spcBef>
                <a:spcPts val="6900"/>
              </a:spcBef>
              <a:defRPr sz="2000" b="1">
                <a:solidFill>
                  <a:schemeClr val="bg1"/>
                </a:solidFill>
              </a:defRPr>
            </a:lvl2pPr>
          </a:lstStyle>
          <a:p>
            <a:pPr lvl="0"/>
            <a:r>
              <a:rPr lang="en-US" noProof="0"/>
              <a:t>Click to edit Master text styles</a:t>
            </a:r>
          </a:p>
        </p:txBody>
      </p:sp>
      <p:sp>
        <p:nvSpPr>
          <p:cNvPr id="8" name="Espace réservé du texte 8"/>
          <p:cNvSpPr>
            <a:spLocks noGrp="1"/>
          </p:cNvSpPr>
          <p:nvPr>
            <p:ph type="body" sz="quarter" idx="14"/>
          </p:nvPr>
        </p:nvSpPr>
        <p:spPr bwMode="gray">
          <a:xfrm>
            <a:off x="468314" y="3585600"/>
            <a:ext cx="4824411" cy="1479600"/>
          </a:xfrm>
        </p:spPr>
        <p:txBody>
          <a:bodyPr/>
          <a:lstStyle>
            <a:lvl1pPr marL="0" indent="0" algn="l">
              <a:lnSpc>
                <a:spcPct val="90000"/>
              </a:lnSpc>
              <a:buNone/>
              <a:defRPr sz="2000" b="0" baseline="0">
                <a:solidFill>
                  <a:schemeClr val="bg1"/>
                </a:solidFill>
              </a:defRPr>
            </a:lvl1pPr>
            <a:lvl2pPr marL="0" algn="ctr">
              <a:lnSpc>
                <a:spcPct val="100000"/>
              </a:lnSpc>
              <a:spcBef>
                <a:spcPts val="6900"/>
              </a:spcBef>
              <a:defRPr sz="2000" b="1">
                <a:solidFill>
                  <a:schemeClr val="bg1"/>
                </a:solidFill>
              </a:defRPr>
            </a:lvl2pPr>
          </a:lstStyle>
          <a:p>
            <a:pPr lvl="0"/>
            <a:r>
              <a:rPr lang="en-US" noProof="0"/>
              <a:t>Click to edit Master text styles</a:t>
            </a:r>
          </a:p>
        </p:txBody>
      </p:sp>
      <p:sp>
        <p:nvSpPr>
          <p:cNvPr id="15" name="Espace réservé du texte 14"/>
          <p:cNvSpPr>
            <a:spLocks noGrp="1"/>
          </p:cNvSpPr>
          <p:nvPr>
            <p:ph type="body" sz="quarter" idx="19"/>
          </p:nvPr>
        </p:nvSpPr>
        <p:spPr bwMode="gray">
          <a:xfrm>
            <a:off x="3635376" y="6021388"/>
            <a:ext cx="5113338" cy="324000"/>
          </a:xfrm>
        </p:spPr>
        <p:txBody>
          <a:bodyPr anchor="b"/>
          <a:lstStyle>
            <a:lvl1pPr algn="r">
              <a:lnSpc>
                <a:spcPct val="100000"/>
              </a:lnSpc>
              <a:defRPr sz="1000" b="1">
                <a:solidFill>
                  <a:schemeClr val="accent3"/>
                </a:solidFill>
              </a:defRPr>
            </a:lvl1pPr>
          </a:lstStyle>
          <a:p>
            <a:pPr lvl="0"/>
            <a:r>
              <a:rPr lang="en-US" noProof="0"/>
              <a:t>Click to edit Master text styles</a:t>
            </a:r>
          </a:p>
        </p:txBody>
      </p:sp>
      <p:sp>
        <p:nvSpPr>
          <p:cNvPr id="17" name="Espace réservé du texte 16"/>
          <p:cNvSpPr>
            <a:spLocks noGrp="1"/>
          </p:cNvSpPr>
          <p:nvPr>
            <p:ph type="body" sz="quarter" idx="20"/>
          </p:nvPr>
        </p:nvSpPr>
        <p:spPr bwMode="gray">
          <a:xfrm>
            <a:off x="0" y="5157788"/>
            <a:ext cx="9144000" cy="287337"/>
          </a:xfrm>
          <a:solidFill>
            <a:schemeClr val="bg1"/>
          </a:solidFill>
        </p:spPr>
        <p:txBody>
          <a:bodyPr/>
          <a:lstStyle>
            <a:lvl1pPr>
              <a:defRPr sz="100" b="0">
                <a:solidFill>
                  <a:schemeClr val="bg1">
                    <a:alpha val="0"/>
                  </a:schemeClr>
                </a:solidFill>
              </a:defRPr>
            </a:lvl1pPr>
          </a:lstStyle>
          <a:p>
            <a:pPr lvl="0"/>
            <a:r>
              <a:rPr lang="en-US" noProof="0"/>
              <a:t>Click to edit Master text styles</a:t>
            </a:r>
          </a:p>
        </p:txBody>
      </p:sp>
      <p:sp>
        <p:nvSpPr>
          <p:cNvPr id="13" name="Espace réservé de la date 9"/>
          <p:cNvSpPr>
            <a:spLocks noGrp="1"/>
          </p:cNvSpPr>
          <p:nvPr>
            <p:ph type="dt" sz="half" idx="21"/>
          </p:nvPr>
        </p:nvSpPr>
        <p:spPr/>
        <p:txBody>
          <a:bodyPr/>
          <a:lstStyle>
            <a:lvl1pPr>
              <a:defRPr/>
            </a:lvl1pPr>
          </a:lstStyle>
          <a:p>
            <a:pPr>
              <a:defRPr/>
            </a:pPr>
            <a:r>
              <a:rPr lang="en-US">
                <a:solidFill>
                  <a:prstClr val="white">
                    <a:alpha val="0"/>
                  </a:prstClr>
                </a:solidFill>
              </a:rPr>
              <a:t>Date</a:t>
            </a:r>
          </a:p>
        </p:txBody>
      </p:sp>
      <p:sp>
        <p:nvSpPr>
          <p:cNvPr id="14" name="Espace réservé du numéro de diapositive 10"/>
          <p:cNvSpPr>
            <a:spLocks noGrp="1"/>
          </p:cNvSpPr>
          <p:nvPr>
            <p:ph type="sldNum" sz="quarter" idx="22"/>
          </p:nvPr>
        </p:nvSpPr>
        <p:spPr/>
        <p:txBody>
          <a:bodyPr/>
          <a:lstStyle>
            <a:lvl1pPr>
              <a:defRPr sz="100">
                <a:solidFill>
                  <a:schemeClr val="bg1">
                    <a:alpha val="0"/>
                  </a:schemeClr>
                </a:solidFill>
              </a:defRPr>
            </a:lvl1pPr>
          </a:lstStyle>
          <a:p>
            <a:pPr>
              <a:defRPr/>
            </a:pPr>
            <a:r>
              <a:rPr lang="en-US">
                <a:solidFill>
                  <a:prstClr val="white">
                    <a:alpha val="0"/>
                  </a:prstClr>
                </a:solidFill>
              </a:rPr>
              <a:t>Page: </a:t>
            </a:r>
            <a:fld id="{541ADD26-9626-44B7-849C-716E619042DF}" type="slidenum">
              <a:rPr lang="en-US">
                <a:solidFill>
                  <a:prstClr val="white">
                    <a:alpha val="0"/>
                  </a:prstClr>
                </a:solidFill>
              </a:rPr>
              <a:pPr>
                <a:defRPr/>
              </a:pPr>
              <a:t>‹#›</a:t>
            </a:fld>
            <a:endParaRPr lang="en-US">
              <a:solidFill>
                <a:prstClr val="white">
                  <a:alpha val="0"/>
                </a:prstClr>
              </a:solidFill>
            </a:endParaRPr>
          </a:p>
        </p:txBody>
      </p:sp>
      <p:sp>
        <p:nvSpPr>
          <p:cNvPr id="16" name="Espace réservé du pied de page 11"/>
          <p:cNvSpPr>
            <a:spLocks noGrp="1"/>
          </p:cNvSpPr>
          <p:nvPr>
            <p:ph type="ftr" sz="quarter" idx="23"/>
          </p:nvPr>
        </p:nvSpPr>
        <p:spPr>
          <a:xfrm>
            <a:off x="468313" y="523875"/>
            <a:ext cx="4824412" cy="360363"/>
          </a:xfrm>
        </p:spPr>
        <p:txBody>
          <a:bodyPr/>
          <a:lstStyle>
            <a:lvl1pPr algn="l">
              <a:defRPr sz="1800" b="0">
                <a:solidFill>
                  <a:schemeClr val="bg1"/>
                </a:solidFill>
              </a:defRPr>
            </a:lvl1pPr>
          </a:lstStyle>
          <a:p>
            <a:pPr>
              <a:defRPr/>
            </a:pPr>
            <a:r>
              <a:rPr lang="en-US">
                <a:solidFill>
                  <a:prstClr val="white"/>
                </a:solidFill>
              </a:rPr>
              <a:t>#vaccelerate</a:t>
            </a:r>
          </a:p>
        </p:txBody>
      </p:sp>
    </p:spTree>
    <p:extLst>
      <p:ext uri="{BB962C8B-B14F-4D97-AF65-F5344CB8AC3E}">
        <p14:creationId xmlns:p14="http://schemas.microsoft.com/office/powerpoint/2010/main" val="12644644"/>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Cover_Picture_1">
    <p:spTree>
      <p:nvGrpSpPr>
        <p:cNvPr id="1" name=""/>
        <p:cNvGrpSpPr/>
        <p:nvPr/>
      </p:nvGrpSpPr>
      <p:grpSpPr>
        <a:xfrm>
          <a:off x="0" y="0"/>
          <a:ext cx="0" cy="0"/>
          <a:chOff x="0" y="0"/>
          <a:chExt cx="0" cy="0"/>
        </a:xfrm>
      </p:grpSpPr>
      <p:pic>
        <p:nvPicPr>
          <p:cNvPr id="7" name="Image 20" descr="FD_1_L254.png"/>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gray">
          <a:xfrm>
            <a:off x="0" y="0"/>
            <a:ext cx="9144000" cy="51577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0" name="Rectangle 9"/>
          <p:cNvSpPr/>
          <p:nvPr userDrawn="1"/>
        </p:nvSpPr>
        <p:spPr bwMode="gray">
          <a:xfrm>
            <a:off x="3635375" y="5265738"/>
            <a:ext cx="5508625" cy="15922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prstClr val="white"/>
              </a:solidFill>
            </a:endParaRPr>
          </a:p>
        </p:txBody>
      </p:sp>
      <p:pic>
        <p:nvPicPr>
          <p:cNvPr id="11" name="Image 19" descr="Bas_couv.png"/>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gray">
          <a:xfrm>
            <a:off x="0" y="5172075"/>
            <a:ext cx="3635375" cy="16859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2" name="Rectangle 11"/>
          <p:cNvSpPr/>
          <p:nvPr userDrawn="1"/>
        </p:nvSpPr>
        <p:spPr bwMode="gray">
          <a:xfrm>
            <a:off x="3635375" y="6354763"/>
            <a:ext cx="5113338" cy="2873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p>
            <a:pPr algn="r">
              <a:defRPr/>
            </a:pPr>
            <a:r>
              <a:rPr lang="en-US" sz="1000" err="1">
                <a:solidFill>
                  <a:srgbClr val="95D600"/>
                </a:solidFill>
              </a:rPr>
              <a:t>www.gavi.org</a:t>
            </a:r>
            <a:endParaRPr lang="en-US" sz="1000">
              <a:solidFill>
                <a:srgbClr val="95D600"/>
              </a:solidFill>
            </a:endParaRPr>
          </a:p>
        </p:txBody>
      </p:sp>
      <p:cxnSp>
        <p:nvCxnSpPr>
          <p:cNvPr id="13" name="Connecteur droit 22"/>
          <p:cNvCxnSpPr/>
          <p:nvPr userDrawn="1"/>
        </p:nvCxnSpPr>
        <p:spPr bwMode="gray">
          <a:xfrm flipH="1">
            <a:off x="468313" y="3402013"/>
            <a:ext cx="2447925" cy="0"/>
          </a:xfrm>
          <a:prstGeom prst="line">
            <a:avLst/>
          </a:prstGeom>
          <a:ln w="24130">
            <a:solidFill>
              <a:schemeClr val="accent1"/>
            </a:solidFill>
          </a:ln>
        </p:spPr>
        <p:style>
          <a:lnRef idx="1">
            <a:schemeClr val="accent1"/>
          </a:lnRef>
          <a:fillRef idx="0">
            <a:schemeClr val="accent1"/>
          </a:fillRef>
          <a:effectRef idx="0">
            <a:schemeClr val="accent1"/>
          </a:effectRef>
          <a:fontRef idx="minor">
            <a:schemeClr val="tx1"/>
          </a:fontRef>
        </p:style>
      </p:cxnSp>
      <p:sp>
        <p:nvSpPr>
          <p:cNvPr id="9" name="Espace réservé du texte 8"/>
          <p:cNvSpPr>
            <a:spLocks noGrp="1"/>
          </p:cNvSpPr>
          <p:nvPr>
            <p:ph type="body" sz="quarter" idx="13"/>
          </p:nvPr>
        </p:nvSpPr>
        <p:spPr bwMode="gray">
          <a:xfrm>
            <a:off x="468314" y="1036638"/>
            <a:ext cx="4824412" cy="2231392"/>
          </a:xfrm>
        </p:spPr>
        <p:txBody>
          <a:bodyPr anchor="b"/>
          <a:lstStyle>
            <a:lvl1pPr marL="0" indent="0" algn="l">
              <a:lnSpc>
                <a:spcPct val="90000"/>
              </a:lnSpc>
              <a:buNone/>
              <a:defRPr sz="2800" b="1" cap="none" baseline="0">
                <a:solidFill>
                  <a:schemeClr val="bg1"/>
                </a:solidFill>
              </a:defRPr>
            </a:lvl1pPr>
            <a:lvl2pPr marL="0" algn="ctr">
              <a:lnSpc>
                <a:spcPct val="100000"/>
              </a:lnSpc>
              <a:spcBef>
                <a:spcPts val="6900"/>
              </a:spcBef>
              <a:defRPr sz="2000" b="1">
                <a:solidFill>
                  <a:schemeClr val="bg1"/>
                </a:solidFill>
              </a:defRPr>
            </a:lvl2pPr>
          </a:lstStyle>
          <a:p>
            <a:pPr lvl="0"/>
            <a:r>
              <a:rPr lang="en-US" noProof="0"/>
              <a:t>Click to edit Master text styles</a:t>
            </a:r>
          </a:p>
        </p:txBody>
      </p:sp>
      <p:sp>
        <p:nvSpPr>
          <p:cNvPr id="8" name="Espace réservé du texte 8"/>
          <p:cNvSpPr>
            <a:spLocks noGrp="1"/>
          </p:cNvSpPr>
          <p:nvPr>
            <p:ph type="body" sz="quarter" idx="14"/>
          </p:nvPr>
        </p:nvSpPr>
        <p:spPr bwMode="gray">
          <a:xfrm>
            <a:off x="468314" y="3584637"/>
            <a:ext cx="3592800" cy="1477788"/>
          </a:xfrm>
        </p:spPr>
        <p:txBody>
          <a:bodyPr/>
          <a:lstStyle>
            <a:lvl1pPr marL="0" indent="0" algn="l">
              <a:lnSpc>
                <a:spcPct val="90000"/>
              </a:lnSpc>
              <a:buNone/>
              <a:defRPr sz="2000" b="0" baseline="0">
                <a:solidFill>
                  <a:schemeClr val="bg1"/>
                </a:solidFill>
              </a:defRPr>
            </a:lvl1pPr>
            <a:lvl2pPr marL="0" algn="ctr">
              <a:lnSpc>
                <a:spcPct val="100000"/>
              </a:lnSpc>
              <a:spcBef>
                <a:spcPts val="6900"/>
              </a:spcBef>
              <a:defRPr sz="2000" b="1">
                <a:solidFill>
                  <a:schemeClr val="bg1"/>
                </a:solidFill>
              </a:defRPr>
            </a:lvl2pPr>
          </a:lstStyle>
          <a:p>
            <a:pPr lvl="0"/>
            <a:r>
              <a:rPr lang="en-US" noProof="0"/>
              <a:t>Click to edit Master text styles</a:t>
            </a:r>
          </a:p>
        </p:txBody>
      </p:sp>
      <p:sp>
        <p:nvSpPr>
          <p:cNvPr id="15" name="Espace réservé du texte 14"/>
          <p:cNvSpPr>
            <a:spLocks noGrp="1"/>
          </p:cNvSpPr>
          <p:nvPr>
            <p:ph type="body" sz="quarter" idx="19"/>
          </p:nvPr>
        </p:nvSpPr>
        <p:spPr bwMode="gray">
          <a:xfrm>
            <a:off x="3635376" y="6021388"/>
            <a:ext cx="5113338" cy="324000"/>
          </a:xfrm>
        </p:spPr>
        <p:txBody>
          <a:bodyPr anchor="b"/>
          <a:lstStyle>
            <a:lvl1pPr algn="r">
              <a:lnSpc>
                <a:spcPct val="100000"/>
              </a:lnSpc>
              <a:defRPr sz="1000" b="1">
                <a:solidFill>
                  <a:schemeClr val="accent3"/>
                </a:solidFill>
              </a:defRPr>
            </a:lvl1pPr>
          </a:lstStyle>
          <a:p>
            <a:pPr lvl="0"/>
            <a:r>
              <a:rPr lang="en-US" noProof="0"/>
              <a:t>Click to edit Master text styles</a:t>
            </a:r>
          </a:p>
        </p:txBody>
      </p:sp>
      <p:sp>
        <p:nvSpPr>
          <p:cNvPr id="17" name="Espace réservé du texte 16"/>
          <p:cNvSpPr>
            <a:spLocks noGrp="1"/>
          </p:cNvSpPr>
          <p:nvPr>
            <p:ph type="body" sz="quarter" idx="20"/>
          </p:nvPr>
        </p:nvSpPr>
        <p:spPr bwMode="gray">
          <a:xfrm>
            <a:off x="0" y="5157788"/>
            <a:ext cx="9144000" cy="287337"/>
          </a:xfrm>
          <a:solidFill>
            <a:schemeClr val="bg1"/>
          </a:solidFill>
        </p:spPr>
        <p:txBody>
          <a:bodyPr/>
          <a:lstStyle>
            <a:lvl1pPr>
              <a:defRPr sz="100" b="0">
                <a:solidFill>
                  <a:schemeClr val="bg1">
                    <a:alpha val="0"/>
                  </a:schemeClr>
                </a:solidFill>
              </a:defRPr>
            </a:lvl1pPr>
          </a:lstStyle>
          <a:p>
            <a:pPr lvl="0"/>
            <a:r>
              <a:rPr lang="en-US" noProof="0"/>
              <a:t>Click to edit Master text styles</a:t>
            </a:r>
          </a:p>
        </p:txBody>
      </p:sp>
      <p:sp>
        <p:nvSpPr>
          <p:cNvPr id="24" name="Espace réservé pour une image  17"/>
          <p:cNvSpPr>
            <a:spLocks noGrp="1"/>
          </p:cNvSpPr>
          <p:nvPr>
            <p:ph type="pic" sz="quarter" idx="18"/>
          </p:nvPr>
        </p:nvSpPr>
        <p:spPr bwMode="gray">
          <a:xfrm>
            <a:off x="4192588" y="0"/>
            <a:ext cx="4951412" cy="5162400"/>
          </a:xfrm>
          <a:custGeom>
            <a:avLst/>
            <a:gdLst>
              <a:gd name="connsiteX0" fmla="*/ 0 w 3851275"/>
              <a:gd name="connsiteY0" fmla="*/ 0 h 5157788"/>
              <a:gd name="connsiteX1" fmla="*/ 3851275 w 3851275"/>
              <a:gd name="connsiteY1" fmla="*/ 0 h 5157788"/>
              <a:gd name="connsiteX2" fmla="*/ 3851275 w 3851275"/>
              <a:gd name="connsiteY2" fmla="*/ 5157788 h 5157788"/>
              <a:gd name="connsiteX3" fmla="*/ 0 w 3851275"/>
              <a:gd name="connsiteY3" fmla="*/ 5157788 h 5157788"/>
              <a:gd name="connsiteX4" fmla="*/ 0 w 3851275"/>
              <a:gd name="connsiteY4"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0 w 3851275"/>
              <a:gd name="connsiteY3" fmla="*/ 5157788 h 5157788"/>
              <a:gd name="connsiteX4" fmla="*/ 1692275 w 3851275"/>
              <a:gd name="connsiteY4" fmla="*/ 0 h 5157788"/>
              <a:gd name="connsiteX0" fmla="*/ 0 w 2159000"/>
              <a:gd name="connsiteY0" fmla="*/ 0 h 5157788"/>
              <a:gd name="connsiteX1" fmla="*/ 2159000 w 2159000"/>
              <a:gd name="connsiteY1" fmla="*/ 0 h 5157788"/>
              <a:gd name="connsiteX2" fmla="*/ 2159000 w 2159000"/>
              <a:gd name="connsiteY2" fmla="*/ 5157788 h 5157788"/>
              <a:gd name="connsiteX3" fmla="*/ 0 w 2159000"/>
              <a:gd name="connsiteY3" fmla="*/ 5157788 h 5157788"/>
              <a:gd name="connsiteX4" fmla="*/ 0 w 2159000"/>
              <a:gd name="connsiteY4" fmla="*/ 0 h 5157788"/>
              <a:gd name="connsiteX0" fmla="*/ 2625271 w 4784271"/>
              <a:gd name="connsiteY0" fmla="*/ 0 h 5157788"/>
              <a:gd name="connsiteX1" fmla="*/ 4784271 w 4784271"/>
              <a:gd name="connsiteY1" fmla="*/ 0 h 5157788"/>
              <a:gd name="connsiteX2" fmla="*/ 4784271 w 4784271"/>
              <a:gd name="connsiteY2" fmla="*/ 5157788 h 5157788"/>
              <a:gd name="connsiteX3" fmla="*/ 2625271 w 4784271"/>
              <a:gd name="connsiteY3" fmla="*/ 5157788 h 5157788"/>
              <a:gd name="connsiteX4" fmla="*/ 2625271 w 4784271"/>
              <a:gd name="connsiteY4" fmla="*/ 0 h 5157788"/>
              <a:gd name="connsiteX0" fmla="*/ 2625271 w 4784271"/>
              <a:gd name="connsiteY0" fmla="*/ 0 h 5157788"/>
              <a:gd name="connsiteX1" fmla="*/ 4784271 w 4784271"/>
              <a:gd name="connsiteY1" fmla="*/ 0 h 5157788"/>
              <a:gd name="connsiteX2" fmla="*/ 4784271 w 4784271"/>
              <a:gd name="connsiteY2" fmla="*/ 5157788 h 5157788"/>
              <a:gd name="connsiteX3" fmla="*/ 2625271 w 4784271"/>
              <a:gd name="connsiteY3" fmla="*/ 5157788 h 5157788"/>
              <a:gd name="connsiteX4" fmla="*/ 2625271 w 4784271"/>
              <a:gd name="connsiteY4" fmla="*/ 0 h 5157788"/>
              <a:gd name="connsiteX0" fmla="*/ 3568576 w 5727576"/>
              <a:gd name="connsiteY0" fmla="*/ 0 h 5157788"/>
              <a:gd name="connsiteX1" fmla="*/ 5727576 w 5727576"/>
              <a:gd name="connsiteY1" fmla="*/ 0 h 5157788"/>
              <a:gd name="connsiteX2" fmla="*/ 5727576 w 5727576"/>
              <a:gd name="connsiteY2" fmla="*/ 5157788 h 5157788"/>
              <a:gd name="connsiteX3" fmla="*/ 3568576 w 5727576"/>
              <a:gd name="connsiteY3" fmla="*/ 5157788 h 5157788"/>
              <a:gd name="connsiteX4" fmla="*/ 3568576 w 5727576"/>
              <a:gd name="connsiteY4" fmla="*/ 0 h 5157788"/>
              <a:gd name="connsiteX0" fmla="*/ 3306355 w 5465355"/>
              <a:gd name="connsiteY0" fmla="*/ 0 h 5157788"/>
              <a:gd name="connsiteX1" fmla="*/ 5465355 w 5465355"/>
              <a:gd name="connsiteY1" fmla="*/ 0 h 5157788"/>
              <a:gd name="connsiteX2" fmla="*/ 5465355 w 5465355"/>
              <a:gd name="connsiteY2" fmla="*/ 5157788 h 5157788"/>
              <a:gd name="connsiteX3" fmla="*/ 3306355 w 5465355"/>
              <a:gd name="connsiteY3" fmla="*/ 5157788 h 5157788"/>
              <a:gd name="connsiteX4" fmla="*/ 3306355 w 5465355"/>
              <a:gd name="connsiteY4" fmla="*/ 0 h 5157788"/>
              <a:gd name="connsiteX0" fmla="*/ 1416957 w 3575957"/>
              <a:gd name="connsiteY0" fmla="*/ 0 h 5157788"/>
              <a:gd name="connsiteX1" fmla="*/ 3575957 w 3575957"/>
              <a:gd name="connsiteY1" fmla="*/ 0 h 5157788"/>
              <a:gd name="connsiteX2" fmla="*/ 3575957 w 3575957"/>
              <a:gd name="connsiteY2" fmla="*/ 5157788 h 5157788"/>
              <a:gd name="connsiteX3" fmla="*/ 1416957 w 3575957"/>
              <a:gd name="connsiteY3" fmla="*/ 5157788 h 5157788"/>
              <a:gd name="connsiteX4" fmla="*/ 0 w 3575957"/>
              <a:gd name="connsiteY4" fmla="*/ 3339193 h 5157788"/>
              <a:gd name="connsiteX5" fmla="*/ 1416957 w 3575957"/>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6017419"/>
              <a:gd name="connsiteX1" fmla="*/ 3851275 w 3851275"/>
              <a:gd name="connsiteY1" fmla="*/ 0 h 6017419"/>
              <a:gd name="connsiteX2" fmla="*/ 3851275 w 3851275"/>
              <a:gd name="connsiteY2" fmla="*/ 5157788 h 6017419"/>
              <a:gd name="connsiteX3" fmla="*/ 1692275 w 3851275"/>
              <a:gd name="connsiteY3" fmla="*/ 5157788 h 6017419"/>
              <a:gd name="connsiteX4" fmla="*/ 0 w 3851275"/>
              <a:gd name="connsiteY4" fmla="*/ 3284984 h 6017419"/>
              <a:gd name="connsiteX5" fmla="*/ 1692275 w 3851275"/>
              <a:gd name="connsiteY5" fmla="*/ 0 h 6017419"/>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429000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429000 h 5157788"/>
              <a:gd name="connsiteX5" fmla="*/ 1710871 w 3869871"/>
              <a:gd name="connsiteY5" fmla="*/ 0 h 5157788"/>
              <a:gd name="connsiteX0" fmla="*/ 1704975 w 3863975"/>
              <a:gd name="connsiteY0" fmla="*/ 0 h 5157788"/>
              <a:gd name="connsiteX1" fmla="*/ 3863975 w 3863975"/>
              <a:gd name="connsiteY1" fmla="*/ 0 h 5157788"/>
              <a:gd name="connsiteX2" fmla="*/ 3863975 w 3863975"/>
              <a:gd name="connsiteY2" fmla="*/ 5157788 h 5157788"/>
              <a:gd name="connsiteX3" fmla="*/ 1704975 w 3863975"/>
              <a:gd name="connsiteY3" fmla="*/ 5157788 h 5157788"/>
              <a:gd name="connsiteX4" fmla="*/ 12700 w 3863975"/>
              <a:gd name="connsiteY4" fmla="*/ 3429000 h 5157788"/>
              <a:gd name="connsiteX5" fmla="*/ 1704975 w 3863975"/>
              <a:gd name="connsiteY5" fmla="*/ 0 h 5157788"/>
              <a:gd name="connsiteX0" fmla="*/ 1707243 w 3866243"/>
              <a:gd name="connsiteY0" fmla="*/ 0 h 5157788"/>
              <a:gd name="connsiteX1" fmla="*/ 3866243 w 3866243"/>
              <a:gd name="connsiteY1" fmla="*/ 0 h 5157788"/>
              <a:gd name="connsiteX2" fmla="*/ 3866243 w 3866243"/>
              <a:gd name="connsiteY2" fmla="*/ 5157788 h 5157788"/>
              <a:gd name="connsiteX3" fmla="*/ 1707243 w 3866243"/>
              <a:gd name="connsiteY3" fmla="*/ 5157788 h 5157788"/>
              <a:gd name="connsiteX4" fmla="*/ 14968 w 3866243"/>
              <a:gd name="connsiteY4" fmla="*/ 3429000 h 5157788"/>
              <a:gd name="connsiteX5" fmla="*/ 1707243 w 3866243"/>
              <a:gd name="connsiteY5" fmla="*/ 0 h 5157788"/>
              <a:gd name="connsiteX0" fmla="*/ 1130447 w 3866243"/>
              <a:gd name="connsiteY0" fmla="*/ 0 h 5157788"/>
              <a:gd name="connsiteX1" fmla="*/ 3866243 w 3866243"/>
              <a:gd name="connsiteY1" fmla="*/ 0 h 5157788"/>
              <a:gd name="connsiteX2" fmla="*/ 3866243 w 3866243"/>
              <a:gd name="connsiteY2" fmla="*/ 5157788 h 5157788"/>
              <a:gd name="connsiteX3" fmla="*/ 1707243 w 3866243"/>
              <a:gd name="connsiteY3" fmla="*/ 5157788 h 5157788"/>
              <a:gd name="connsiteX4" fmla="*/ 14968 w 3866243"/>
              <a:gd name="connsiteY4" fmla="*/ 3429000 h 5157788"/>
              <a:gd name="connsiteX5" fmla="*/ 1130447 w 3866243"/>
              <a:gd name="connsiteY5" fmla="*/ 0 h 5157788"/>
              <a:gd name="connsiteX0" fmla="*/ 2746143 w 5481939"/>
              <a:gd name="connsiteY0" fmla="*/ 0 h 5157788"/>
              <a:gd name="connsiteX1" fmla="*/ 5481939 w 5481939"/>
              <a:gd name="connsiteY1" fmla="*/ 0 h 5157788"/>
              <a:gd name="connsiteX2" fmla="*/ 5481939 w 5481939"/>
              <a:gd name="connsiteY2" fmla="*/ 5157788 h 5157788"/>
              <a:gd name="connsiteX3" fmla="*/ 585903 w 5481939"/>
              <a:gd name="connsiteY3" fmla="*/ 5153180 h 5157788"/>
              <a:gd name="connsiteX4" fmla="*/ 1630664 w 5481939"/>
              <a:gd name="connsiteY4" fmla="*/ 3429000 h 5157788"/>
              <a:gd name="connsiteX5" fmla="*/ 2746143 w 5481939"/>
              <a:gd name="connsiteY5" fmla="*/ 0 h 5157788"/>
              <a:gd name="connsiteX0" fmla="*/ 2746143 w 5481939"/>
              <a:gd name="connsiteY0" fmla="*/ 0 h 5157788"/>
              <a:gd name="connsiteX1" fmla="*/ 5481939 w 5481939"/>
              <a:gd name="connsiteY1" fmla="*/ 0 h 5157788"/>
              <a:gd name="connsiteX2" fmla="*/ 5481939 w 5481939"/>
              <a:gd name="connsiteY2" fmla="*/ 5157788 h 5157788"/>
              <a:gd name="connsiteX3" fmla="*/ 585903 w 5481939"/>
              <a:gd name="connsiteY3" fmla="*/ 5153180 h 5157788"/>
              <a:gd name="connsiteX4" fmla="*/ 1630664 w 5481939"/>
              <a:gd name="connsiteY4" fmla="*/ 3429000 h 5157788"/>
              <a:gd name="connsiteX5" fmla="*/ 2746143 w 548193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3574235 w 6310031"/>
              <a:gd name="connsiteY0" fmla="*/ 0 h 5157788"/>
              <a:gd name="connsiteX1" fmla="*/ 6310031 w 6310031"/>
              <a:gd name="connsiteY1" fmla="*/ 0 h 5157788"/>
              <a:gd name="connsiteX2" fmla="*/ 6310031 w 6310031"/>
              <a:gd name="connsiteY2" fmla="*/ 5157788 h 5157788"/>
              <a:gd name="connsiteX3" fmla="*/ 585903 w 6310031"/>
              <a:gd name="connsiteY3" fmla="*/ 5153180 h 5157788"/>
              <a:gd name="connsiteX4" fmla="*/ 1738031 w 6310031"/>
              <a:gd name="connsiteY4" fmla="*/ 3389965 h 5157788"/>
              <a:gd name="connsiteX5" fmla="*/ 3574235 w 6310031"/>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296143 w 5724128"/>
              <a:gd name="connsiteY4" fmla="*/ 3461908 h 5157788"/>
              <a:gd name="connsiteX5" fmla="*/ 2988332 w 5724128"/>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1188132 w 5760132"/>
              <a:gd name="connsiteY4" fmla="*/ 3425937 h 5157788"/>
              <a:gd name="connsiteX5" fmla="*/ 3024336 w 5760132"/>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2736304 w 5760132"/>
              <a:gd name="connsiteY4" fmla="*/ 3461908 h 5157788"/>
              <a:gd name="connsiteX5" fmla="*/ 3024336 w 5760132"/>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2736304 w 5760132"/>
              <a:gd name="connsiteY4" fmla="*/ 3461908 h 5157788"/>
              <a:gd name="connsiteX5" fmla="*/ 3024336 w 5760132"/>
              <a:gd name="connsiteY5" fmla="*/ 0 h 5157788"/>
              <a:gd name="connsiteX0" fmla="*/ 2160240 w 4896036"/>
              <a:gd name="connsiteY0" fmla="*/ 0 h 5157788"/>
              <a:gd name="connsiteX1" fmla="*/ 4896036 w 4896036"/>
              <a:gd name="connsiteY1" fmla="*/ 0 h 5157788"/>
              <a:gd name="connsiteX2" fmla="*/ 4896036 w 4896036"/>
              <a:gd name="connsiteY2" fmla="*/ 5157788 h 5157788"/>
              <a:gd name="connsiteX3" fmla="*/ 0 w 4896036"/>
              <a:gd name="connsiteY3" fmla="*/ 5153180 h 5157788"/>
              <a:gd name="connsiteX4" fmla="*/ 1872208 w 4896036"/>
              <a:gd name="connsiteY4" fmla="*/ 3461908 h 5157788"/>
              <a:gd name="connsiteX5" fmla="*/ 2160240 w 4896036"/>
              <a:gd name="connsiteY5" fmla="*/ 0 h 5157788"/>
              <a:gd name="connsiteX0" fmla="*/ 2232248 w 4968044"/>
              <a:gd name="connsiteY0" fmla="*/ 0 h 5157788"/>
              <a:gd name="connsiteX1" fmla="*/ 4968044 w 4968044"/>
              <a:gd name="connsiteY1" fmla="*/ 0 h 5157788"/>
              <a:gd name="connsiteX2" fmla="*/ 4968044 w 4968044"/>
              <a:gd name="connsiteY2" fmla="*/ 5157788 h 5157788"/>
              <a:gd name="connsiteX3" fmla="*/ 0 w 4968044"/>
              <a:gd name="connsiteY3" fmla="*/ 5153180 h 5157788"/>
              <a:gd name="connsiteX4" fmla="*/ 1944216 w 4968044"/>
              <a:gd name="connsiteY4" fmla="*/ 3461908 h 5157788"/>
              <a:gd name="connsiteX5" fmla="*/ 2232248 w 4968044"/>
              <a:gd name="connsiteY5" fmla="*/ 0 h 5157788"/>
              <a:gd name="connsiteX0" fmla="*/ 2207679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207679 w 4943475"/>
              <a:gd name="connsiteY5" fmla="*/ 0 h 5157788"/>
              <a:gd name="connsiteX0" fmla="*/ 2963763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963763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092200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71575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343583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675731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675731 w 4943475"/>
              <a:gd name="connsiteY5" fmla="*/ 0 h 5157788"/>
              <a:gd name="connsiteX0" fmla="*/ 2675731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675731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9672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19672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51412" h="5157788">
                <a:moveTo>
                  <a:pt x="2706687" y="0"/>
                </a:moveTo>
                <a:lnTo>
                  <a:pt x="4951412" y="0"/>
                </a:lnTo>
                <a:lnTo>
                  <a:pt x="4951412" y="5157788"/>
                </a:lnTo>
                <a:lnTo>
                  <a:pt x="0" y="5153180"/>
                </a:lnTo>
                <a:cubicBezTo>
                  <a:pt x="84411" y="4542509"/>
                  <a:pt x="183041" y="4024723"/>
                  <a:pt x="1243508" y="2562613"/>
                </a:cubicBezTo>
                <a:cubicBezTo>
                  <a:pt x="1867447" y="1704780"/>
                  <a:pt x="2665955" y="709265"/>
                  <a:pt x="2706687" y="0"/>
                </a:cubicBezTo>
                <a:close/>
              </a:path>
            </a:pathLst>
          </a:custGeom>
          <a:solidFill>
            <a:schemeClr val="bg2"/>
          </a:solidFill>
          <a:ln w="3175">
            <a:noFill/>
          </a:ln>
        </p:spPr>
        <p:txBody>
          <a:bodyPr tIns="720000" rtlCol="0" anchor="ctr">
            <a:noAutofit/>
          </a:bodyPr>
          <a:lstStyle>
            <a:lvl1pPr algn="ctr">
              <a:defRPr sz="1500">
                <a:solidFill>
                  <a:schemeClr val="bg1"/>
                </a:solidFill>
              </a:defRPr>
            </a:lvl1pPr>
          </a:lstStyle>
          <a:p>
            <a:pPr lvl="0"/>
            <a:r>
              <a:rPr lang="en-US" noProof="0"/>
              <a:t>Click icon to add picture</a:t>
            </a:r>
          </a:p>
        </p:txBody>
      </p:sp>
      <p:sp>
        <p:nvSpPr>
          <p:cNvPr id="14" name="Espace réservé de la date 9"/>
          <p:cNvSpPr>
            <a:spLocks noGrp="1"/>
          </p:cNvSpPr>
          <p:nvPr>
            <p:ph type="dt" sz="half" idx="21"/>
          </p:nvPr>
        </p:nvSpPr>
        <p:spPr/>
        <p:txBody>
          <a:bodyPr/>
          <a:lstStyle>
            <a:lvl1pPr>
              <a:defRPr/>
            </a:lvl1pPr>
          </a:lstStyle>
          <a:p>
            <a:pPr>
              <a:defRPr/>
            </a:pPr>
            <a:r>
              <a:rPr lang="en-US">
                <a:solidFill>
                  <a:prstClr val="white">
                    <a:alpha val="0"/>
                  </a:prstClr>
                </a:solidFill>
              </a:rPr>
              <a:t>Date</a:t>
            </a:r>
          </a:p>
        </p:txBody>
      </p:sp>
      <p:sp>
        <p:nvSpPr>
          <p:cNvPr id="16" name="Espace réservé du numéro de diapositive 10"/>
          <p:cNvSpPr>
            <a:spLocks noGrp="1"/>
          </p:cNvSpPr>
          <p:nvPr>
            <p:ph type="sldNum" sz="quarter" idx="22"/>
          </p:nvPr>
        </p:nvSpPr>
        <p:spPr/>
        <p:txBody>
          <a:bodyPr/>
          <a:lstStyle>
            <a:lvl1pPr>
              <a:defRPr sz="100">
                <a:solidFill>
                  <a:schemeClr val="bg1">
                    <a:alpha val="0"/>
                  </a:schemeClr>
                </a:solidFill>
              </a:defRPr>
            </a:lvl1pPr>
          </a:lstStyle>
          <a:p>
            <a:pPr>
              <a:defRPr/>
            </a:pPr>
            <a:r>
              <a:rPr lang="en-US">
                <a:solidFill>
                  <a:prstClr val="white">
                    <a:alpha val="0"/>
                  </a:prstClr>
                </a:solidFill>
              </a:rPr>
              <a:t>Page: </a:t>
            </a:r>
            <a:fld id="{FBC781E1-DB0D-44EA-942B-52789A2EA6EC}" type="slidenum">
              <a:rPr lang="en-US">
                <a:solidFill>
                  <a:prstClr val="white">
                    <a:alpha val="0"/>
                  </a:prstClr>
                </a:solidFill>
              </a:rPr>
              <a:pPr>
                <a:defRPr/>
              </a:pPr>
              <a:t>‹#›</a:t>
            </a:fld>
            <a:endParaRPr lang="en-US">
              <a:solidFill>
                <a:prstClr val="white">
                  <a:alpha val="0"/>
                </a:prstClr>
              </a:solidFill>
            </a:endParaRPr>
          </a:p>
        </p:txBody>
      </p:sp>
      <p:sp>
        <p:nvSpPr>
          <p:cNvPr id="18" name="Espace réservé du pied de page 11"/>
          <p:cNvSpPr>
            <a:spLocks noGrp="1"/>
          </p:cNvSpPr>
          <p:nvPr>
            <p:ph type="ftr" sz="quarter" idx="23"/>
          </p:nvPr>
        </p:nvSpPr>
        <p:spPr>
          <a:xfrm>
            <a:off x="468313" y="523875"/>
            <a:ext cx="4824412" cy="360363"/>
          </a:xfrm>
        </p:spPr>
        <p:txBody>
          <a:bodyPr/>
          <a:lstStyle>
            <a:lvl1pPr algn="l">
              <a:defRPr sz="1800" b="0">
                <a:solidFill>
                  <a:schemeClr val="bg1"/>
                </a:solidFill>
              </a:defRPr>
            </a:lvl1pPr>
          </a:lstStyle>
          <a:p>
            <a:pPr>
              <a:defRPr/>
            </a:pPr>
            <a:r>
              <a:rPr lang="en-US">
                <a:solidFill>
                  <a:prstClr val="white"/>
                </a:solidFill>
              </a:rPr>
              <a:t>#</a:t>
            </a:r>
            <a:r>
              <a:rPr lang="en-US" err="1">
                <a:solidFill>
                  <a:prstClr val="white"/>
                </a:solidFill>
              </a:rPr>
              <a:t>vaccineswork</a:t>
            </a:r>
            <a:endParaRPr lang="en-US">
              <a:solidFill>
                <a:prstClr val="white"/>
              </a:solidFill>
            </a:endParaRPr>
          </a:p>
          <a:p>
            <a:pPr>
              <a:defRPr/>
            </a:pPr>
            <a:endParaRPr lang="en-US">
              <a:solidFill>
                <a:prstClr val="white"/>
              </a:solidFill>
            </a:endParaRPr>
          </a:p>
        </p:txBody>
      </p:sp>
    </p:spTree>
    <p:extLst>
      <p:ext uri="{BB962C8B-B14F-4D97-AF65-F5344CB8AC3E}">
        <p14:creationId xmlns:p14="http://schemas.microsoft.com/office/powerpoint/2010/main" val="2232207149"/>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Cover_Picture_2">
    <p:spTree>
      <p:nvGrpSpPr>
        <p:cNvPr id="1" name=""/>
        <p:cNvGrpSpPr/>
        <p:nvPr/>
      </p:nvGrpSpPr>
      <p:grpSpPr>
        <a:xfrm>
          <a:off x="0" y="0"/>
          <a:ext cx="0" cy="0"/>
          <a:chOff x="0" y="0"/>
          <a:chExt cx="0" cy="0"/>
        </a:xfrm>
      </p:grpSpPr>
      <p:pic>
        <p:nvPicPr>
          <p:cNvPr id="7" name="Image 20" descr="FD_1_L254.png"/>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gray">
          <a:xfrm>
            <a:off x="0" y="0"/>
            <a:ext cx="9144000" cy="51577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0" name="Rectangle 9"/>
          <p:cNvSpPr/>
          <p:nvPr userDrawn="1"/>
        </p:nvSpPr>
        <p:spPr bwMode="gray">
          <a:xfrm>
            <a:off x="3635375" y="5265738"/>
            <a:ext cx="5508625" cy="15922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prstClr val="white"/>
              </a:solidFill>
            </a:endParaRPr>
          </a:p>
        </p:txBody>
      </p:sp>
      <p:pic>
        <p:nvPicPr>
          <p:cNvPr id="11" name="Image 19" descr="Bas_couv.png"/>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gray">
          <a:xfrm>
            <a:off x="0" y="5172075"/>
            <a:ext cx="3635375" cy="16859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2" name="Rectangle 11"/>
          <p:cNvSpPr/>
          <p:nvPr userDrawn="1"/>
        </p:nvSpPr>
        <p:spPr bwMode="gray">
          <a:xfrm>
            <a:off x="3635375" y="6354763"/>
            <a:ext cx="5113338" cy="2873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p>
            <a:pPr algn="r">
              <a:defRPr/>
            </a:pPr>
            <a:r>
              <a:rPr lang="en-US" sz="1000" err="1">
                <a:solidFill>
                  <a:srgbClr val="95D600"/>
                </a:solidFill>
              </a:rPr>
              <a:t>www.gavi.org</a:t>
            </a:r>
            <a:endParaRPr lang="en-US" sz="1000">
              <a:solidFill>
                <a:srgbClr val="95D600"/>
              </a:solidFill>
            </a:endParaRPr>
          </a:p>
        </p:txBody>
      </p:sp>
      <p:cxnSp>
        <p:nvCxnSpPr>
          <p:cNvPr id="13" name="Connecteur droit 13"/>
          <p:cNvCxnSpPr/>
          <p:nvPr userDrawn="1"/>
        </p:nvCxnSpPr>
        <p:spPr bwMode="gray">
          <a:xfrm flipH="1">
            <a:off x="468313" y="3402013"/>
            <a:ext cx="2447925" cy="0"/>
          </a:xfrm>
          <a:prstGeom prst="line">
            <a:avLst/>
          </a:prstGeom>
          <a:ln w="24130">
            <a:solidFill>
              <a:schemeClr val="accent1"/>
            </a:solidFill>
          </a:ln>
        </p:spPr>
        <p:style>
          <a:lnRef idx="1">
            <a:schemeClr val="accent1"/>
          </a:lnRef>
          <a:fillRef idx="0">
            <a:schemeClr val="accent1"/>
          </a:fillRef>
          <a:effectRef idx="0">
            <a:schemeClr val="accent1"/>
          </a:effectRef>
          <a:fontRef idx="minor">
            <a:schemeClr val="tx1"/>
          </a:fontRef>
        </p:style>
      </p:cxnSp>
      <p:sp>
        <p:nvSpPr>
          <p:cNvPr id="9" name="Espace réservé du texte 8"/>
          <p:cNvSpPr>
            <a:spLocks noGrp="1"/>
          </p:cNvSpPr>
          <p:nvPr>
            <p:ph type="body" sz="quarter" idx="13"/>
          </p:nvPr>
        </p:nvSpPr>
        <p:spPr bwMode="gray">
          <a:xfrm>
            <a:off x="468000" y="1036800"/>
            <a:ext cx="4824412" cy="2232000"/>
          </a:xfrm>
        </p:spPr>
        <p:txBody>
          <a:bodyPr anchor="b"/>
          <a:lstStyle>
            <a:lvl1pPr marL="0" indent="0" algn="l">
              <a:lnSpc>
                <a:spcPct val="90000"/>
              </a:lnSpc>
              <a:buNone/>
              <a:defRPr sz="2800" b="1" cap="none" baseline="0">
                <a:solidFill>
                  <a:schemeClr val="bg1"/>
                </a:solidFill>
              </a:defRPr>
            </a:lvl1pPr>
            <a:lvl2pPr marL="0" algn="ctr">
              <a:lnSpc>
                <a:spcPct val="100000"/>
              </a:lnSpc>
              <a:spcBef>
                <a:spcPts val="6900"/>
              </a:spcBef>
              <a:defRPr sz="2000" b="1">
                <a:solidFill>
                  <a:schemeClr val="bg1"/>
                </a:solidFill>
              </a:defRPr>
            </a:lvl2pPr>
          </a:lstStyle>
          <a:p>
            <a:pPr lvl="0"/>
            <a:r>
              <a:rPr lang="en-US" noProof="0"/>
              <a:t>Click to edit Master text styles</a:t>
            </a:r>
          </a:p>
        </p:txBody>
      </p:sp>
      <p:sp>
        <p:nvSpPr>
          <p:cNvPr id="8" name="Espace réservé du texte 8"/>
          <p:cNvSpPr>
            <a:spLocks noGrp="1"/>
          </p:cNvSpPr>
          <p:nvPr>
            <p:ph type="body" sz="quarter" idx="14"/>
          </p:nvPr>
        </p:nvSpPr>
        <p:spPr bwMode="gray">
          <a:xfrm>
            <a:off x="468314" y="3585600"/>
            <a:ext cx="3592800" cy="1479600"/>
          </a:xfrm>
        </p:spPr>
        <p:txBody>
          <a:bodyPr/>
          <a:lstStyle>
            <a:lvl1pPr marL="0" indent="0" algn="l">
              <a:lnSpc>
                <a:spcPct val="90000"/>
              </a:lnSpc>
              <a:buNone/>
              <a:defRPr sz="2000" b="0" baseline="0">
                <a:solidFill>
                  <a:schemeClr val="bg1"/>
                </a:solidFill>
              </a:defRPr>
            </a:lvl1pPr>
            <a:lvl2pPr marL="0" algn="ctr">
              <a:lnSpc>
                <a:spcPct val="100000"/>
              </a:lnSpc>
              <a:spcBef>
                <a:spcPts val="6900"/>
              </a:spcBef>
              <a:defRPr sz="2000" b="1">
                <a:solidFill>
                  <a:schemeClr val="bg1"/>
                </a:solidFill>
              </a:defRPr>
            </a:lvl2pPr>
          </a:lstStyle>
          <a:p>
            <a:pPr lvl="0"/>
            <a:r>
              <a:rPr lang="en-US" noProof="0"/>
              <a:t>Click to edit Master text styles</a:t>
            </a:r>
          </a:p>
        </p:txBody>
      </p:sp>
      <p:sp>
        <p:nvSpPr>
          <p:cNvPr id="15" name="Espace réservé du texte 14"/>
          <p:cNvSpPr>
            <a:spLocks noGrp="1"/>
          </p:cNvSpPr>
          <p:nvPr>
            <p:ph type="body" sz="quarter" idx="19"/>
          </p:nvPr>
        </p:nvSpPr>
        <p:spPr bwMode="gray">
          <a:xfrm>
            <a:off x="3635376" y="6021388"/>
            <a:ext cx="5113338" cy="324000"/>
          </a:xfrm>
        </p:spPr>
        <p:txBody>
          <a:bodyPr anchor="b"/>
          <a:lstStyle>
            <a:lvl1pPr algn="r">
              <a:lnSpc>
                <a:spcPct val="100000"/>
              </a:lnSpc>
              <a:defRPr sz="1000" b="1">
                <a:solidFill>
                  <a:schemeClr val="accent3"/>
                </a:solidFill>
              </a:defRPr>
            </a:lvl1pPr>
          </a:lstStyle>
          <a:p>
            <a:pPr lvl="0"/>
            <a:r>
              <a:rPr lang="en-US" noProof="0"/>
              <a:t>Click to edit Master text styles</a:t>
            </a:r>
          </a:p>
        </p:txBody>
      </p:sp>
      <p:sp>
        <p:nvSpPr>
          <p:cNvPr id="17" name="Espace réservé du texte 16"/>
          <p:cNvSpPr>
            <a:spLocks noGrp="1"/>
          </p:cNvSpPr>
          <p:nvPr>
            <p:ph type="body" sz="quarter" idx="20"/>
          </p:nvPr>
        </p:nvSpPr>
        <p:spPr bwMode="gray">
          <a:xfrm>
            <a:off x="0" y="5157788"/>
            <a:ext cx="9144000" cy="287337"/>
          </a:xfrm>
          <a:solidFill>
            <a:schemeClr val="bg1"/>
          </a:solidFill>
        </p:spPr>
        <p:txBody>
          <a:bodyPr/>
          <a:lstStyle>
            <a:lvl1pPr>
              <a:defRPr sz="100" b="0">
                <a:solidFill>
                  <a:schemeClr val="bg1">
                    <a:alpha val="0"/>
                  </a:schemeClr>
                </a:solidFill>
              </a:defRPr>
            </a:lvl1pPr>
          </a:lstStyle>
          <a:p>
            <a:pPr lvl="0"/>
            <a:r>
              <a:rPr lang="en-US" noProof="0"/>
              <a:t>Click to edit Master text styles</a:t>
            </a:r>
          </a:p>
        </p:txBody>
      </p:sp>
      <p:sp>
        <p:nvSpPr>
          <p:cNvPr id="18" name="Espace réservé pour une image  17"/>
          <p:cNvSpPr>
            <a:spLocks noGrp="1"/>
          </p:cNvSpPr>
          <p:nvPr>
            <p:ph type="pic" sz="quarter" idx="18"/>
          </p:nvPr>
        </p:nvSpPr>
        <p:spPr bwMode="gray">
          <a:xfrm>
            <a:off x="4192588" y="0"/>
            <a:ext cx="4951412" cy="5162400"/>
          </a:xfrm>
          <a:custGeom>
            <a:avLst/>
            <a:gdLst>
              <a:gd name="connsiteX0" fmla="*/ 0 w 3851275"/>
              <a:gd name="connsiteY0" fmla="*/ 0 h 5157788"/>
              <a:gd name="connsiteX1" fmla="*/ 3851275 w 3851275"/>
              <a:gd name="connsiteY1" fmla="*/ 0 h 5157788"/>
              <a:gd name="connsiteX2" fmla="*/ 3851275 w 3851275"/>
              <a:gd name="connsiteY2" fmla="*/ 5157788 h 5157788"/>
              <a:gd name="connsiteX3" fmla="*/ 0 w 3851275"/>
              <a:gd name="connsiteY3" fmla="*/ 5157788 h 5157788"/>
              <a:gd name="connsiteX4" fmla="*/ 0 w 3851275"/>
              <a:gd name="connsiteY4"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0 w 3851275"/>
              <a:gd name="connsiteY3" fmla="*/ 5157788 h 5157788"/>
              <a:gd name="connsiteX4" fmla="*/ 1692275 w 3851275"/>
              <a:gd name="connsiteY4" fmla="*/ 0 h 5157788"/>
              <a:gd name="connsiteX0" fmla="*/ 0 w 2159000"/>
              <a:gd name="connsiteY0" fmla="*/ 0 h 5157788"/>
              <a:gd name="connsiteX1" fmla="*/ 2159000 w 2159000"/>
              <a:gd name="connsiteY1" fmla="*/ 0 h 5157788"/>
              <a:gd name="connsiteX2" fmla="*/ 2159000 w 2159000"/>
              <a:gd name="connsiteY2" fmla="*/ 5157788 h 5157788"/>
              <a:gd name="connsiteX3" fmla="*/ 0 w 2159000"/>
              <a:gd name="connsiteY3" fmla="*/ 5157788 h 5157788"/>
              <a:gd name="connsiteX4" fmla="*/ 0 w 2159000"/>
              <a:gd name="connsiteY4" fmla="*/ 0 h 5157788"/>
              <a:gd name="connsiteX0" fmla="*/ 2625271 w 4784271"/>
              <a:gd name="connsiteY0" fmla="*/ 0 h 5157788"/>
              <a:gd name="connsiteX1" fmla="*/ 4784271 w 4784271"/>
              <a:gd name="connsiteY1" fmla="*/ 0 h 5157788"/>
              <a:gd name="connsiteX2" fmla="*/ 4784271 w 4784271"/>
              <a:gd name="connsiteY2" fmla="*/ 5157788 h 5157788"/>
              <a:gd name="connsiteX3" fmla="*/ 2625271 w 4784271"/>
              <a:gd name="connsiteY3" fmla="*/ 5157788 h 5157788"/>
              <a:gd name="connsiteX4" fmla="*/ 2625271 w 4784271"/>
              <a:gd name="connsiteY4" fmla="*/ 0 h 5157788"/>
              <a:gd name="connsiteX0" fmla="*/ 2625271 w 4784271"/>
              <a:gd name="connsiteY0" fmla="*/ 0 h 5157788"/>
              <a:gd name="connsiteX1" fmla="*/ 4784271 w 4784271"/>
              <a:gd name="connsiteY1" fmla="*/ 0 h 5157788"/>
              <a:gd name="connsiteX2" fmla="*/ 4784271 w 4784271"/>
              <a:gd name="connsiteY2" fmla="*/ 5157788 h 5157788"/>
              <a:gd name="connsiteX3" fmla="*/ 2625271 w 4784271"/>
              <a:gd name="connsiteY3" fmla="*/ 5157788 h 5157788"/>
              <a:gd name="connsiteX4" fmla="*/ 2625271 w 4784271"/>
              <a:gd name="connsiteY4" fmla="*/ 0 h 5157788"/>
              <a:gd name="connsiteX0" fmla="*/ 3568576 w 5727576"/>
              <a:gd name="connsiteY0" fmla="*/ 0 h 5157788"/>
              <a:gd name="connsiteX1" fmla="*/ 5727576 w 5727576"/>
              <a:gd name="connsiteY1" fmla="*/ 0 h 5157788"/>
              <a:gd name="connsiteX2" fmla="*/ 5727576 w 5727576"/>
              <a:gd name="connsiteY2" fmla="*/ 5157788 h 5157788"/>
              <a:gd name="connsiteX3" fmla="*/ 3568576 w 5727576"/>
              <a:gd name="connsiteY3" fmla="*/ 5157788 h 5157788"/>
              <a:gd name="connsiteX4" fmla="*/ 3568576 w 5727576"/>
              <a:gd name="connsiteY4" fmla="*/ 0 h 5157788"/>
              <a:gd name="connsiteX0" fmla="*/ 3306355 w 5465355"/>
              <a:gd name="connsiteY0" fmla="*/ 0 h 5157788"/>
              <a:gd name="connsiteX1" fmla="*/ 5465355 w 5465355"/>
              <a:gd name="connsiteY1" fmla="*/ 0 h 5157788"/>
              <a:gd name="connsiteX2" fmla="*/ 5465355 w 5465355"/>
              <a:gd name="connsiteY2" fmla="*/ 5157788 h 5157788"/>
              <a:gd name="connsiteX3" fmla="*/ 3306355 w 5465355"/>
              <a:gd name="connsiteY3" fmla="*/ 5157788 h 5157788"/>
              <a:gd name="connsiteX4" fmla="*/ 3306355 w 5465355"/>
              <a:gd name="connsiteY4" fmla="*/ 0 h 5157788"/>
              <a:gd name="connsiteX0" fmla="*/ 1416957 w 3575957"/>
              <a:gd name="connsiteY0" fmla="*/ 0 h 5157788"/>
              <a:gd name="connsiteX1" fmla="*/ 3575957 w 3575957"/>
              <a:gd name="connsiteY1" fmla="*/ 0 h 5157788"/>
              <a:gd name="connsiteX2" fmla="*/ 3575957 w 3575957"/>
              <a:gd name="connsiteY2" fmla="*/ 5157788 h 5157788"/>
              <a:gd name="connsiteX3" fmla="*/ 1416957 w 3575957"/>
              <a:gd name="connsiteY3" fmla="*/ 5157788 h 5157788"/>
              <a:gd name="connsiteX4" fmla="*/ 0 w 3575957"/>
              <a:gd name="connsiteY4" fmla="*/ 3339193 h 5157788"/>
              <a:gd name="connsiteX5" fmla="*/ 1416957 w 3575957"/>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6017419"/>
              <a:gd name="connsiteX1" fmla="*/ 3851275 w 3851275"/>
              <a:gd name="connsiteY1" fmla="*/ 0 h 6017419"/>
              <a:gd name="connsiteX2" fmla="*/ 3851275 w 3851275"/>
              <a:gd name="connsiteY2" fmla="*/ 5157788 h 6017419"/>
              <a:gd name="connsiteX3" fmla="*/ 1692275 w 3851275"/>
              <a:gd name="connsiteY3" fmla="*/ 5157788 h 6017419"/>
              <a:gd name="connsiteX4" fmla="*/ 0 w 3851275"/>
              <a:gd name="connsiteY4" fmla="*/ 3284984 h 6017419"/>
              <a:gd name="connsiteX5" fmla="*/ 1692275 w 3851275"/>
              <a:gd name="connsiteY5" fmla="*/ 0 h 6017419"/>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429000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429000 h 5157788"/>
              <a:gd name="connsiteX5" fmla="*/ 1710871 w 3869871"/>
              <a:gd name="connsiteY5" fmla="*/ 0 h 5157788"/>
              <a:gd name="connsiteX0" fmla="*/ 1704975 w 3863975"/>
              <a:gd name="connsiteY0" fmla="*/ 0 h 5157788"/>
              <a:gd name="connsiteX1" fmla="*/ 3863975 w 3863975"/>
              <a:gd name="connsiteY1" fmla="*/ 0 h 5157788"/>
              <a:gd name="connsiteX2" fmla="*/ 3863975 w 3863975"/>
              <a:gd name="connsiteY2" fmla="*/ 5157788 h 5157788"/>
              <a:gd name="connsiteX3" fmla="*/ 1704975 w 3863975"/>
              <a:gd name="connsiteY3" fmla="*/ 5157788 h 5157788"/>
              <a:gd name="connsiteX4" fmla="*/ 12700 w 3863975"/>
              <a:gd name="connsiteY4" fmla="*/ 3429000 h 5157788"/>
              <a:gd name="connsiteX5" fmla="*/ 1704975 w 3863975"/>
              <a:gd name="connsiteY5" fmla="*/ 0 h 5157788"/>
              <a:gd name="connsiteX0" fmla="*/ 1707243 w 3866243"/>
              <a:gd name="connsiteY0" fmla="*/ 0 h 5157788"/>
              <a:gd name="connsiteX1" fmla="*/ 3866243 w 3866243"/>
              <a:gd name="connsiteY1" fmla="*/ 0 h 5157788"/>
              <a:gd name="connsiteX2" fmla="*/ 3866243 w 3866243"/>
              <a:gd name="connsiteY2" fmla="*/ 5157788 h 5157788"/>
              <a:gd name="connsiteX3" fmla="*/ 1707243 w 3866243"/>
              <a:gd name="connsiteY3" fmla="*/ 5157788 h 5157788"/>
              <a:gd name="connsiteX4" fmla="*/ 14968 w 3866243"/>
              <a:gd name="connsiteY4" fmla="*/ 3429000 h 5157788"/>
              <a:gd name="connsiteX5" fmla="*/ 1707243 w 3866243"/>
              <a:gd name="connsiteY5" fmla="*/ 0 h 5157788"/>
              <a:gd name="connsiteX0" fmla="*/ 1130447 w 3866243"/>
              <a:gd name="connsiteY0" fmla="*/ 0 h 5157788"/>
              <a:gd name="connsiteX1" fmla="*/ 3866243 w 3866243"/>
              <a:gd name="connsiteY1" fmla="*/ 0 h 5157788"/>
              <a:gd name="connsiteX2" fmla="*/ 3866243 w 3866243"/>
              <a:gd name="connsiteY2" fmla="*/ 5157788 h 5157788"/>
              <a:gd name="connsiteX3" fmla="*/ 1707243 w 3866243"/>
              <a:gd name="connsiteY3" fmla="*/ 5157788 h 5157788"/>
              <a:gd name="connsiteX4" fmla="*/ 14968 w 3866243"/>
              <a:gd name="connsiteY4" fmla="*/ 3429000 h 5157788"/>
              <a:gd name="connsiteX5" fmla="*/ 1130447 w 3866243"/>
              <a:gd name="connsiteY5" fmla="*/ 0 h 5157788"/>
              <a:gd name="connsiteX0" fmla="*/ 2746143 w 5481939"/>
              <a:gd name="connsiteY0" fmla="*/ 0 h 5157788"/>
              <a:gd name="connsiteX1" fmla="*/ 5481939 w 5481939"/>
              <a:gd name="connsiteY1" fmla="*/ 0 h 5157788"/>
              <a:gd name="connsiteX2" fmla="*/ 5481939 w 5481939"/>
              <a:gd name="connsiteY2" fmla="*/ 5157788 h 5157788"/>
              <a:gd name="connsiteX3" fmla="*/ 585903 w 5481939"/>
              <a:gd name="connsiteY3" fmla="*/ 5153180 h 5157788"/>
              <a:gd name="connsiteX4" fmla="*/ 1630664 w 5481939"/>
              <a:gd name="connsiteY4" fmla="*/ 3429000 h 5157788"/>
              <a:gd name="connsiteX5" fmla="*/ 2746143 w 5481939"/>
              <a:gd name="connsiteY5" fmla="*/ 0 h 5157788"/>
              <a:gd name="connsiteX0" fmla="*/ 2746143 w 5481939"/>
              <a:gd name="connsiteY0" fmla="*/ 0 h 5157788"/>
              <a:gd name="connsiteX1" fmla="*/ 5481939 w 5481939"/>
              <a:gd name="connsiteY1" fmla="*/ 0 h 5157788"/>
              <a:gd name="connsiteX2" fmla="*/ 5481939 w 5481939"/>
              <a:gd name="connsiteY2" fmla="*/ 5157788 h 5157788"/>
              <a:gd name="connsiteX3" fmla="*/ 585903 w 5481939"/>
              <a:gd name="connsiteY3" fmla="*/ 5153180 h 5157788"/>
              <a:gd name="connsiteX4" fmla="*/ 1630664 w 5481939"/>
              <a:gd name="connsiteY4" fmla="*/ 3429000 h 5157788"/>
              <a:gd name="connsiteX5" fmla="*/ 2746143 w 548193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3574235 w 6310031"/>
              <a:gd name="connsiteY0" fmla="*/ 0 h 5157788"/>
              <a:gd name="connsiteX1" fmla="*/ 6310031 w 6310031"/>
              <a:gd name="connsiteY1" fmla="*/ 0 h 5157788"/>
              <a:gd name="connsiteX2" fmla="*/ 6310031 w 6310031"/>
              <a:gd name="connsiteY2" fmla="*/ 5157788 h 5157788"/>
              <a:gd name="connsiteX3" fmla="*/ 585903 w 6310031"/>
              <a:gd name="connsiteY3" fmla="*/ 5153180 h 5157788"/>
              <a:gd name="connsiteX4" fmla="*/ 1738031 w 6310031"/>
              <a:gd name="connsiteY4" fmla="*/ 3389965 h 5157788"/>
              <a:gd name="connsiteX5" fmla="*/ 3574235 w 6310031"/>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296143 w 5724128"/>
              <a:gd name="connsiteY4" fmla="*/ 3461908 h 5157788"/>
              <a:gd name="connsiteX5" fmla="*/ 2988332 w 5724128"/>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1188132 w 5760132"/>
              <a:gd name="connsiteY4" fmla="*/ 3425937 h 5157788"/>
              <a:gd name="connsiteX5" fmla="*/ 3024336 w 5760132"/>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2736304 w 5760132"/>
              <a:gd name="connsiteY4" fmla="*/ 3461908 h 5157788"/>
              <a:gd name="connsiteX5" fmla="*/ 3024336 w 5760132"/>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2736304 w 5760132"/>
              <a:gd name="connsiteY4" fmla="*/ 3461908 h 5157788"/>
              <a:gd name="connsiteX5" fmla="*/ 3024336 w 5760132"/>
              <a:gd name="connsiteY5" fmla="*/ 0 h 5157788"/>
              <a:gd name="connsiteX0" fmla="*/ 2160240 w 4896036"/>
              <a:gd name="connsiteY0" fmla="*/ 0 h 5157788"/>
              <a:gd name="connsiteX1" fmla="*/ 4896036 w 4896036"/>
              <a:gd name="connsiteY1" fmla="*/ 0 h 5157788"/>
              <a:gd name="connsiteX2" fmla="*/ 4896036 w 4896036"/>
              <a:gd name="connsiteY2" fmla="*/ 5157788 h 5157788"/>
              <a:gd name="connsiteX3" fmla="*/ 0 w 4896036"/>
              <a:gd name="connsiteY3" fmla="*/ 5153180 h 5157788"/>
              <a:gd name="connsiteX4" fmla="*/ 1872208 w 4896036"/>
              <a:gd name="connsiteY4" fmla="*/ 3461908 h 5157788"/>
              <a:gd name="connsiteX5" fmla="*/ 2160240 w 4896036"/>
              <a:gd name="connsiteY5" fmla="*/ 0 h 5157788"/>
              <a:gd name="connsiteX0" fmla="*/ 2232248 w 4968044"/>
              <a:gd name="connsiteY0" fmla="*/ 0 h 5157788"/>
              <a:gd name="connsiteX1" fmla="*/ 4968044 w 4968044"/>
              <a:gd name="connsiteY1" fmla="*/ 0 h 5157788"/>
              <a:gd name="connsiteX2" fmla="*/ 4968044 w 4968044"/>
              <a:gd name="connsiteY2" fmla="*/ 5157788 h 5157788"/>
              <a:gd name="connsiteX3" fmla="*/ 0 w 4968044"/>
              <a:gd name="connsiteY3" fmla="*/ 5153180 h 5157788"/>
              <a:gd name="connsiteX4" fmla="*/ 1944216 w 4968044"/>
              <a:gd name="connsiteY4" fmla="*/ 3461908 h 5157788"/>
              <a:gd name="connsiteX5" fmla="*/ 2232248 w 4968044"/>
              <a:gd name="connsiteY5" fmla="*/ 0 h 5157788"/>
              <a:gd name="connsiteX0" fmla="*/ 2207679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207679 w 4943475"/>
              <a:gd name="connsiteY5" fmla="*/ 0 h 5157788"/>
              <a:gd name="connsiteX0" fmla="*/ 2963763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963763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092200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71575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343583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675731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675731 w 4943475"/>
              <a:gd name="connsiteY5" fmla="*/ 0 h 5157788"/>
              <a:gd name="connsiteX0" fmla="*/ 2675731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675731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9672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19672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51412" h="5157788">
                <a:moveTo>
                  <a:pt x="2706687" y="0"/>
                </a:moveTo>
                <a:lnTo>
                  <a:pt x="4951412" y="0"/>
                </a:lnTo>
                <a:lnTo>
                  <a:pt x="4951412" y="5157788"/>
                </a:lnTo>
                <a:lnTo>
                  <a:pt x="0" y="5153180"/>
                </a:lnTo>
                <a:cubicBezTo>
                  <a:pt x="84411" y="4542509"/>
                  <a:pt x="183041" y="4024723"/>
                  <a:pt x="1243508" y="2562613"/>
                </a:cubicBezTo>
                <a:cubicBezTo>
                  <a:pt x="1867447" y="1704780"/>
                  <a:pt x="2665955" y="709265"/>
                  <a:pt x="2706687" y="0"/>
                </a:cubicBezTo>
                <a:close/>
              </a:path>
            </a:pathLst>
          </a:custGeom>
          <a:solidFill>
            <a:schemeClr val="bg2"/>
          </a:solidFill>
          <a:ln w="3175">
            <a:noFill/>
          </a:ln>
        </p:spPr>
        <p:txBody>
          <a:bodyPr tIns="720000" rtlCol="0" anchor="ctr">
            <a:noAutofit/>
          </a:bodyPr>
          <a:lstStyle>
            <a:lvl1pPr algn="ctr">
              <a:defRPr sz="1500">
                <a:solidFill>
                  <a:schemeClr val="bg1"/>
                </a:solidFill>
              </a:defRPr>
            </a:lvl1pPr>
          </a:lstStyle>
          <a:p>
            <a:pPr lvl="0"/>
            <a:r>
              <a:rPr lang="en-US" noProof="0"/>
              <a:t>Click icon to add picture</a:t>
            </a:r>
          </a:p>
        </p:txBody>
      </p:sp>
      <p:sp>
        <p:nvSpPr>
          <p:cNvPr id="14" name="Espace réservé de la date 9"/>
          <p:cNvSpPr>
            <a:spLocks noGrp="1"/>
          </p:cNvSpPr>
          <p:nvPr>
            <p:ph type="dt" sz="half" idx="21"/>
          </p:nvPr>
        </p:nvSpPr>
        <p:spPr/>
        <p:txBody>
          <a:bodyPr/>
          <a:lstStyle>
            <a:lvl1pPr>
              <a:defRPr/>
            </a:lvl1pPr>
          </a:lstStyle>
          <a:p>
            <a:pPr>
              <a:defRPr/>
            </a:pPr>
            <a:r>
              <a:rPr lang="en-US">
                <a:solidFill>
                  <a:prstClr val="white">
                    <a:alpha val="0"/>
                  </a:prstClr>
                </a:solidFill>
              </a:rPr>
              <a:t>Date</a:t>
            </a:r>
          </a:p>
        </p:txBody>
      </p:sp>
      <p:sp>
        <p:nvSpPr>
          <p:cNvPr id="16" name="Espace réservé du numéro de diapositive 10"/>
          <p:cNvSpPr>
            <a:spLocks noGrp="1"/>
          </p:cNvSpPr>
          <p:nvPr>
            <p:ph type="sldNum" sz="quarter" idx="22"/>
          </p:nvPr>
        </p:nvSpPr>
        <p:spPr/>
        <p:txBody>
          <a:bodyPr/>
          <a:lstStyle>
            <a:lvl1pPr>
              <a:defRPr sz="100">
                <a:solidFill>
                  <a:schemeClr val="bg1">
                    <a:alpha val="0"/>
                  </a:schemeClr>
                </a:solidFill>
              </a:defRPr>
            </a:lvl1pPr>
          </a:lstStyle>
          <a:p>
            <a:pPr>
              <a:defRPr/>
            </a:pPr>
            <a:r>
              <a:rPr lang="en-US">
                <a:solidFill>
                  <a:prstClr val="white">
                    <a:alpha val="0"/>
                  </a:prstClr>
                </a:solidFill>
              </a:rPr>
              <a:t>Page: </a:t>
            </a:r>
            <a:fld id="{A170035D-6B8C-439A-85EA-19B5ADE5A975}" type="slidenum">
              <a:rPr lang="en-US">
                <a:solidFill>
                  <a:prstClr val="white">
                    <a:alpha val="0"/>
                  </a:prstClr>
                </a:solidFill>
              </a:rPr>
              <a:pPr>
                <a:defRPr/>
              </a:pPr>
              <a:t>‹#›</a:t>
            </a:fld>
            <a:endParaRPr lang="en-US">
              <a:solidFill>
                <a:prstClr val="white">
                  <a:alpha val="0"/>
                </a:prstClr>
              </a:solidFill>
            </a:endParaRPr>
          </a:p>
        </p:txBody>
      </p:sp>
      <p:sp>
        <p:nvSpPr>
          <p:cNvPr id="19" name="Espace réservé du pied de page 11"/>
          <p:cNvSpPr>
            <a:spLocks noGrp="1"/>
          </p:cNvSpPr>
          <p:nvPr>
            <p:ph type="ftr" sz="quarter" idx="23"/>
          </p:nvPr>
        </p:nvSpPr>
        <p:spPr>
          <a:xfrm>
            <a:off x="468313" y="523875"/>
            <a:ext cx="4824412" cy="360363"/>
          </a:xfrm>
        </p:spPr>
        <p:txBody>
          <a:bodyPr/>
          <a:lstStyle>
            <a:lvl1pPr algn="l">
              <a:defRPr sz="1800" b="0">
                <a:solidFill>
                  <a:schemeClr val="bg1"/>
                </a:solidFill>
              </a:defRPr>
            </a:lvl1pPr>
          </a:lstStyle>
          <a:p>
            <a:pPr>
              <a:defRPr/>
            </a:pPr>
            <a:r>
              <a:rPr lang="en-US">
                <a:solidFill>
                  <a:prstClr val="white"/>
                </a:solidFill>
              </a:rPr>
              <a:t>#</a:t>
            </a:r>
            <a:r>
              <a:rPr lang="en-US" err="1">
                <a:solidFill>
                  <a:prstClr val="white"/>
                </a:solidFill>
              </a:rPr>
              <a:t>vaccineswork</a:t>
            </a:r>
            <a:endParaRPr lang="en-US">
              <a:solidFill>
                <a:prstClr val="white"/>
              </a:solidFill>
            </a:endParaRPr>
          </a:p>
        </p:txBody>
      </p:sp>
    </p:spTree>
    <p:extLst>
      <p:ext uri="{BB962C8B-B14F-4D97-AF65-F5344CB8AC3E}">
        <p14:creationId xmlns:p14="http://schemas.microsoft.com/office/powerpoint/2010/main" val="141698364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25.xml"/><Relationship Id="rId13" Type="http://schemas.openxmlformats.org/officeDocument/2006/relationships/image" Target="../media/image11.png"/><Relationship Id="rId3" Type="http://schemas.openxmlformats.org/officeDocument/2006/relationships/slideLayout" Target="../slideLayouts/slideLayout120.xml"/><Relationship Id="rId7" Type="http://schemas.openxmlformats.org/officeDocument/2006/relationships/slideLayout" Target="../slideLayouts/slideLayout124.xml"/><Relationship Id="rId12" Type="http://schemas.openxmlformats.org/officeDocument/2006/relationships/theme" Target="../theme/theme10.xml"/><Relationship Id="rId2" Type="http://schemas.openxmlformats.org/officeDocument/2006/relationships/slideLayout" Target="../slideLayouts/slideLayout119.xml"/><Relationship Id="rId1" Type="http://schemas.openxmlformats.org/officeDocument/2006/relationships/slideLayout" Target="../slideLayouts/slideLayout118.xml"/><Relationship Id="rId6" Type="http://schemas.openxmlformats.org/officeDocument/2006/relationships/slideLayout" Target="../slideLayouts/slideLayout123.xml"/><Relationship Id="rId11" Type="http://schemas.openxmlformats.org/officeDocument/2006/relationships/slideLayout" Target="../slideLayouts/slideLayout128.xml"/><Relationship Id="rId5" Type="http://schemas.openxmlformats.org/officeDocument/2006/relationships/slideLayout" Target="../slideLayouts/slideLayout122.xml"/><Relationship Id="rId10" Type="http://schemas.openxmlformats.org/officeDocument/2006/relationships/slideLayout" Target="../slideLayouts/slideLayout127.xml"/><Relationship Id="rId4" Type="http://schemas.openxmlformats.org/officeDocument/2006/relationships/slideLayout" Target="../slideLayouts/slideLayout121.xml"/><Relationship Id="rId9" Type="http://schemas.openxmlformats.org/officeDocument/2006/relationships/slideLayout" Target="../slideLayouts/slideLayout126.xml"/></Relationships>
</file>

<file path=ppt/slideMasters/_rels/slideMaster11.xml.rels><?xml version="1.0" encoding="UTF-8" standalone="yes"?>
<Relationships xmlns="http://schemas.openxmlformats.org/package/2006/relationships"><Relationship Id="rId8" Type="http://schemas.openxmlformats.org/officeDocument/2006/relationships/vmlDrawing" Target="../drawings/vmlDrawing1.vml"/><Relationship Id="rId13" Type="http://schemas.openxmlformats.org/officeDocument/2006/relationships/tags" Target="../tags/tag5.xml"/><Relationship Id="rId18" Type="http://schemas.openxmlformats.org/officeDocument/2006/relationships/tags" Target="../tags/tag10.xml"/><Relationship Id="rId26" Type="http://schemas.openxmlformats.org/officeDocument/2006/relationships/tags" Target="../tags/tag18.xml"/><Relationship Id="rId3" Type="http://schemas.openxmlformats.org/officeDocument/2006/relationships/slideLayout" Target="../slideLayouts/slideLayout131.xml"/><Relationship Id="rId21" Type="http://schemas.openxmlformats.org/officeDocument/2006/relationships/tags" Target="../tags/tag13.xml"/><Relationship Id="rId7" Type="http://schemas.openxmlformats.org/officeDocument/2006/relationships/theme" Target="../theme/theme11.xml"/><Relationship Id="rId12" Type="http://schemas.openxmlformats.org/officeDocument/2006/relationships/tags" Target="../tags/tag4.xml"/><Relationship Id="rId17" Type="http://schemas.openxmlformats.org/officeDocument/2006/relationships/tags" Target="../tags/tag9.xml"/><Relationship Id="rId25" Type="http://schemas.openxmlformats.org/officeDocument/2006/relationships/tags" Target="../tags/tag17.xml"/><Relationship Id="rId2" Type="http://schemas.openxmlformats.org/officeDocument/2006/relationships/slideLayout" Target="../slideLayouts/slideLayout130.xml"/><Relationship Id="rId16" Type="http://schemas.openxmlformats.org/officeDocument/2006/relationships/tags" Target="../tags/tag8.xml"/><Relationship Id="rId20" Type="http://schemas.openxmlformats.org/officeDocument/2006/relationships/tags" Target="../tags/tag12.xml"/><Relationship Id="rId29" Type="http://schemas.openxmlformats.org/officeDocument/2006/relationships/image" Target="../media/image15.emf"/><Relationship Id="rId1" Type="http://schemas.openxmlformats.org/officeDocument/2006/relationships/slideLayout" Target="../slideLayouts/slideLayout129.xml"/><Relationship Id="rId6" Type="http://schemas.openxmlformats.org/officeDocument/2006/relationships/slideLayout" Target="../slideLayouts/slideLayout134.xml"/><Relationship Id="rId11" Type="http://schemas.openxmlformats.org/officeDocument/2006/relationships/tags" Target="../tags/tag3.xml"/><Relationship Id="rId24" Type="http://schemas.openxmlformats.org/officeDocument/2006/relationships/tags" Target="../tags/tag16.xml"/><Relationship Id="rId5" Type="http://schemas.openxmlformats.org/officeDocument/2006/relationships/slideLayout" Target="../slideLayouts/slideLayout133.xml"/><Relationship Id="rId15" Type="http://schemas.openxmlformats.org/officeDocument/2006/relationships/tags" Target="../tags/tag7.xml"/><Relationship Id="rId23" Type="http://schemas.openxmlformats.org/officeDocument/2006/relationships/tags" Target="../tags/tag15.xml"/><Relationship Id="rId28" Type="http://schemas.openxmlformats.org/officeDocument/2006/relationships/oleObject" Target="../embeddings/oleObject1.bin"/><Relationship Id="rId10" Type="http://schemas.openxmlformats.org/officeDocument/2006/relationships/tags" Target="../tags/tag2.xml"/><Relationship Id="rId19" Type="http://schemas.openxmlformats.org/officeDocument/2006/relationships/tags" Target="../tags/tag11.xml"/><Relationship Id="rId4" Type="http://schemas.openxmlformats.org/officeDocument/2006/relationships/slideLayout" Target="../slideLayouts/slideLayout132.xml"/><Relationship Id="rId9" Type="http://schemas.openxmlformats.org/officeDocument/2006/relationships/tags" Target="../tags/tag1.xml"/><Relationship Id="rId14" Type="http://schemas.openxmlformats.org/officeDocument/2006/relationships/tags" Target="../tags/tag6.xml"/><Relationship Id="rId22" Type="http://schemas.openxmlformats.org/officeDocument/2006/relationships/tags" Target="../tags/tag14.xml"/><Relationship Id="rId27" Type="http://schemas.openxmlformats.org/officeDocument/2006/relationships/tags" Target="../tags/tag19.xml"/><Relationship Id="rId30" Type="http://schemas.openxmlformats.org/officeDocument/2006/relationships/image" Target="../media/image1.png"/></Relationships>
</file>

<file path=ppt/slideMasters/_rels/slideMaster12.xml.rels><?xml version="1.0" encoding="UTF-8" standalone="yes"?>
<Relationships xmlns="http://schemas.openxmlformats.org/package/2006/relationships"><Relationship Id="rId8" Type="http://schemas.openxmlformats.org/officeDocument/2006/relationships/vmlDrawing" Target="../drawings/vmlDrawing6.vml"/><Relationship Id="rId13" Type="http://schemas.openxmlformats.org/officeDocument/2006/relationships/tags" Target="../tags/tag28.xml"/><Relationship Id="rId18" Type="http://schemas.openxmlformats.org/officeDocument/2006/relationships/tags" Target="../tags/tag33.xml"/><Relationship Id="rId26" Type="http://schemas.openxmlformats.org/officeDocument/2006/relationships/tags" Target="../tags/tag41.xml"/><Relationship Id="rId3" Type="http://schemas.openxmlformats.org/officeDocument/2006/relationships/slideLayout" Target="../slideLayouts/slideLayout137.xml"/><Relationship Id="rId21" Type="http://schemas.openxmlformats.org/officeDocument/2006/relationships/tags" Target="../tags/tag36.xml"/><Relationship Id="rId7" Type="http://schemas.openxmlformats.org/officeDocument/2006/relationships/theme" Target="../theme/theme12.xml"/><Relationship Id="rId12" Type="http://schemas.openxmlformats.org/officeDocument/2006/relationships/tags" Target="../tags/tag27.xml"/><Relationship Id="rId17" Type="http://schemas.openxmlformats.org/officeDocument/2006/relationships/tags" Target="../tags/tag32.xml"/><Relationship Id="rId25" Type="http://schemas.openxmlformats.org/officeDocument/2006/relationships/tags" Target="../tags/tag40.xml"/><Relationship Id="rId2" Type="http://schemas.openxmlformats.org/officeDocument/2006/relationships/slideLayout" Target="../slideLayouts/slideLayout136.xml"/><Relationship Id="rId16" Type="http://schemas.openxmlformats.org/officeDocument/2006/relationships/tags" Target="../tags/tag31.xml"/><Relationship Id="rId20" Type="http://schemas.openxmlformats.org/officeDocument/2006/relationships/tags" Target="../tags/tag35.xml"/><Relationship Id="rId29" Type="http://schemas.openxmlformats.org/officeDocument/2006/relationships/image" Target="../media/image15.emf"/><Relationship Id="rId1" Type="http://schemas.openxmlformats.org/officeDocument/2006/relationships/slideLayout" Target="../slideLayouts/slideLayout135.xml"/><Relationship Id="rId6" Type="http://schemas.openxmlformats.org/officeDocument/2006/relationships/slideLayout" Target="../slideLayouts/slideLayout140.xml"/><Relationship Id="rId11" Type="http://schemas.openxmlformats.org/officeDocument/2006/relationships/tags" Target="../tags/tag26.xml"/><Relationship Id="rId24" Type="http://schemas.openxmlformats.org/officeDocument/2006/relationships/tags" Target="../tags/tag39.xml"/><Relationship Id="rId5" Type="http://schemas.openxmlformats.org/officeDocument/2006/relationships/slideLayout" Target="../slideLayouts/slideLayout139.xml"/><Relationship Id="rId15" Type="http://schemas.openxmlformats.org/officeDocument/2006/relationships/tags" Target="../tags/tag30.xml"/><Relationship Id="rId23" Type="http://schemas.openxmlformats.org/officeDocument/2006/relationships/tags" Target="../tags/tag38.xml"/><Relationship Id="rId28" Type="http://schemas.openxmlformats.org/officeDocument/2006/relationships/oleObject" Target="../embeddings/oleObject6.bin"/><Relationship Id="rId10" Type="http://schemas.openxmlformats.org/officeDocument/2006/relationships/tags" Target="../tags/tag25.xml"/><Relationship Id="rId19" Type="http://schemas.openxmlformats.org/officeDocument/2006/relationships/tags" Target="../tags/tag34.xml"/><Relationship Id="rId4" Type="http://schemas.openxmlformats.org/officeDocument/2006/relationships/slideLayout" Target="../slideLayouts/slideLayout138.xml"/><Relationship Id="rId9" Type="http://schemas.openxmlformats.org/officeDocument/2006/relationships/tags" Target="../tags/tag24.xml"/><Relationship Id="rId14" Type="http://schemas.openxmlformats.org/officeDocument/2006/relationships/tags" Target="../tags/tag29.xml"/><Relationship Id="rId22" Type="http://schemas.openxmlformats.org/officeDocument/2006/relationships/tags" Target="../tags/tag37.xml"/><Relationship Id="rId27" Type="http://schemas.openxmlformats.org/officeDocument/2006/relationships/tags" Target="../tags/tag42.xml"/><Relationship Id="rId30" Type="http://schemas.openxmlformats.org/officeDocument/2006/relationships/image" Target="../media/image1.png"/></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48.xml"/><Relationship Id="rId3" Type="http://schemas.openxmlformats.org/officeDocument/2006/relationships/slideLayout" Target="../slideLayouts/slideLayout143.xml"/><Relationship Id="rId7" Type="http://schemas.openxmlformats.org/officeDocument/2006/relationships/slideLayout" Target="../slideLayouts/slideLayout147.xml"/><Relationship Id="rId12" Type="http://schemas.openxmlformats.org/officeDocument/2006/relationships/image" Target="../media/image11.png"/><Relationship Id="rId2" Type="http://schemas.openxmlformats.org/officeDocument/2006/relationships/slideLayout" Target="../slideLayouts/slideLayout142.xml"/><Relationship Id="rId1" Type="http://schemas.openxmlformats.org/officeDocument/2006/relationships/slideLayout" Target="../slideLayouts/slideLayout141.xml"/><Relationship Id="rId6" Type="http://schemas.openxmlformats.org/officeDocument/2006/relationships/slideLayout" Target="../slideLayouts/slideLayout146.xml"/><Relationship Id="rId11" Type="http://schemas.openxmlformats.org/officeDocument/2006/relationships/theme" Target="../theme/theme13.xml"/><Relationship Id="rId5" Type="http://schemas.openxmlformats.org/officeDocument/2006/relationships/slideLayout" Target="../slideLayouts/slideLayout145.xml"/><Relationship Id="rId10" Type="http://schemas.openxmlformats.org/officeDocument/2006/relationships/slideLayout" Target="../slideLayouts/slideLayout150.xml"/><Relationship Id="rId4" Type="http://schemas.openxmlformats.org/officeDocument/2006/relationships/slideLayout" Target="../slideLayouts/slideLayout144.xml"/><Relationship Id="rId9" Type="http://schemas.openxmlformats.org/officeDocument/2006/relationships/slideLayout" Target="../slideLayouts/slideLayout149.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158.xml"/><Relationship Id="rId3" Type="http://schemas.openxmlformats.org/officeDocument/2006/relationships/slideLayout" Target="../slideLayouts/slideLayout153.xml"/><Relationship Id="rId7" Type="http://schemas.openxmlformats.org/officeDocument/2006/relationships/slideLayout" Target="../slideLayouts/slideLayout157.xml"/><Relationship Id="rId12" Type="http://schemas.openxmlformats.org/officeDocument/2006/relationships/image" Target="../media/image11.png"/><Relationship Id="rId2" Type="http://schemas.openxmlformats.org/officeDocument/2006/relationships/slideLayout" Target="../slideLayouts/slideLayout152.xml"/><Relationship Id="rId1" Type="http://schemas.openxmlformats.org/officeDocument/2006/relationships/slideLayout" Target="../slideLayouts/slideLayout151.xml"/><Relationship Id="rId6" Type="http://schemas.openxmlformats.org/officeDocument/2006/relationships/slideLayout" Target="../slideLayouts/slideLayout156.xml"/><Relationship Id="rId11" Type="http://schemas.openxmlformats.org/officeDocument/2006/relationships/theme" Target="../theme/theme14.xml"/><Relationship Id="rId5" Type="http://schemas.openxmlformats.org/officeDocument/2006/relationships/slideLayout" Target="../slideLayouts/slideLayout155.xml"/><Relationship Id="rId10" Type="http://schemas.openxmlformats.org/officeDocument/2006/relationships/slideLayout" Target="../slideLayouts/slideLayout160.xml"/><Relationship Id="rId4" Type="http://schemas.openxmlformats.org/officeDocument/2006/relationships/slideLayout" Target="../slideLayouts/slideLayout154.xml"/><Relationship Id="rId9" Type="http://schemas.openxmlformats.org/officeDocument/2006/relationships/slideLayout" Target="../slideLayouts/slideLayout159.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168.xml"/><Relationship Id="rId3" Type="http://schemas.openxmlformats.org/officeDocument/2006/relationships/slideLayout" Target="../slideLayouts/slideLayout163.xml"/><Relationship Id="rId7" Type="http://schemas.openxmlformats.org/officeDocument/2006/relationships/slideLayout" Target="../slideLayouts/slideLayout167.xml"/><Relationship Id="rId12" Type="http://schemas.openxmlformats.org/officeDocument/2006/relationships/image" Target="../media/image11.png"/><Relationship Id="rId2" Type="http://schemas.openxmlformats.org/officeDocument/2006/relationships/slideLayout" Target="../slideLayouts/slideLayout162.xml"/><Relationship Id="rId1" Type="http://schemas.openxmlformats.org/officeDocument/2006/relationships/slideLayout" Target="../slideLayouts/slideLayout161.xml"/><Relationship Id="rId6" Type="http://schemas.openxmlformats.org/officeDocument/2006/relationships/slideLayout" Target="../slideLayouts/slideLayout166.xml"/><Relationship Id="rId11" Type="http://schemas.openxmlformats.org/officeDocument/2006/relationships/theme" Target="../theme/theme15.xml"/><Relationship Id="rId5" Type="http://schemas.openxmlformats.org/officeDocument/2006/relationships/slideLayout" Target="../slideLayouts/slideLayout165.xml"/><Relationship Id="rId10" Type="http://schemas.openxmlformats.org/officeDocument/2006/relationships/slideLayout" Target="../slideLayouts/slideLayout170.xml"/><Relationship Id="rId4" Type="http://schemas.openxmlformats.org/officeDocument/2006/relationships/slideLayout" Target="../slideLayouts/slideLayout164.xml"/><Relationship Id="rId9" Type="http://schemas.openxmlformats.org/officeDocument/2006/relationships/slideLayout" Target="../slideLayouts/slideLayout169.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178.xml"/><Relationship Id="rId13" Type="http://schemas.openxmlformats.org/officeDocument/2006/relationships/image" Target="../media/image11.png"/><Relationship Id="rId3" Type="http://schemas.openxmlformats.org/officeDocument/2006/relationships/slideLayout" Target="../slideLayouts/slideLayout173.xml"/><Relationship Id="rId7" Type="http://schemas.openxmlformats.org/officeDocument/2006/relationships/slideLayout" Target="../slideLayouts/slideLayout177.xml"/><Relationship Id="rId12" Type="http://schemas.openxmlformats.org/officeDocument/2006/relationships/theme" Target="../theme/theme16.xml"/><Relationship Id="rId2" Type="http://schemas.openxmlformats.org/officeDocument/2006/relationships/slideLayout" Target="../slideLayouts/slideLayout172.xml"/><Relationship Id="rId1" Type="http://schemas.openxmlformats.org/officeDocument/2006/relationships/slideLayout" Target="../slideLayouts/slideLayout171.xml"/><Relationship Id="rId6" Type="http://schemas.openxmlformats.org/officeDocument/2006/relationships/slideLayout" Target="../slideLayouts/slideLayout176.xml"/><Relationship Id="rId11" Type="http://schemas.openxmlformats.org/officeDocument/2006/relationships/slideLayout" Target="../slideLayouts/slideLayout181.xml"/><Relationship Id="rId5" Type="http://schemas.openxmlformats.org/officeDocument/2006/relationships/slideLayout" Target="../slideLayouts/slideLayout175.xml"/><Relationship Id="rId10" Type="http://schemas.openxmlformats.org/officeDocument/2006/relationships/slideLayout" Target="../slideLayouts/slideLayout180.xml"/><Relationship Id="rId4" Type="http://schemas.openxmlformats.org/officeDocument/2006/relationships/slideLayout" Target="../slideLayouts/slideLayout174.xml"/><Relationship Id="rId9" Type="http://schemas.openxmlformats.org/officeDocument/2006/relationships/slideLayout" Target="../slideLayouts/slideLayout179.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189.xml"/><Relationship Id="rId3" Type="http://schemas.openxmlformats.org/officeDocument/2006/relationships/slideLayout" Target="../slideLayouts/slideLayout184.xml"/><Relationship Id="rId7" Type="http://schemas.openxmlformats.org/officeDocument/2006/relationships/slideLayout" Target="../slideLayouts/slideLayout188.xml"/><Relationship Id="rId12" Type="http://schemas.openxmlformats.org/officeDocument/2006/relationships/image" Target="../media/image11.png"/><Relationship Id="rId2" Type="http://schemas.openxmlformats.org/officeDocument/2006/relationships/slideLayout" Target="../slideLayouts/slideLayout183.xml"/><Relationship Id="rId1" Type="http://schemas.openxmlformats.org/officeDocument/2006/relationships/slideLayout" Target="../slideLayouts/slideLayout182.xml"/><Relationship Id="rId6" Type="http://schemas.openxmlformats.org/officeDocument/2006/relationships/slideLayout" Target="../slideLayouts/slideLayout187.xml"/><Relationship Id="rId11" Type="http://schemas.openxmlformats.org/officeDocument/2006/relationships/theme" Target="../theme/theme17.xml"/><Relationship Id="rId5" Type="http://schemas.openxmlformats.org/officeDocument/2006/relationships/slideLayout" Target="../slideLayouts/slideLayout186.xml"/><Relationship Id="rId10" Type="http://schemas.openxmlformats.org/officeDocument/2006/relationships/slideLayout" Target="../slideLayouts/slideLayout191.xml"/><Relationship Id="rId4" Type="http://schemas.openxmlformats.org/officeDocument/2006/relationships/slideLayout" Target="../slideLayouts/slideLayout185.xml"/><Relationship Id="rId9" Type="http://schemas.openxmlformats.org/officeDocument/2006/relationships/slideLayout" Target="../slideLayouts/slideLayout190.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199.xml"/><Relationship Id="rId3" Type="http://schemas.openxmlformats.org/officeDocument/2006/relationships/slideLayout" Target="../slideLayouts/slideLayout194.xml"/><Relationship Id="rId7" Type="http://schemas.openxmlformats.org/officeDocument/2006/relationships/slideLayout" Target="../slideLayouts/slideLayout198.xml"/><Relationship Id="rId12" Type="http://schemas.openxmlformats.org/officeDocument/2006/relationships/image" Target="../media/image11.png"/><Relationship Id="rId2" Type="http://schemas.openxmlformats.org/officeDocument/2006/relationships/slideLayout" Target="../slideLayouts/slideLayout193.xml"/><Relationship Id="rId1" Type="http://schemas.openxmlformats.org/officeDocument/2006/relationships/slideLayout" Target="../slideLayouts/slideLayout192.xml"/><Relationship Id="rId6" Type="http://schemas.openxmlformats.org/officeDocument/2006/relationships/slideLayout" Target="../slideLayouts/slideLayout197.xml"/><Relationship Id="rId11" Type="http://schemas.openxmlformats.org/officeDocument/2006/relationships/theme" Target="../theme/theme18.xml"/><Relationship Id="rId5" Type="http://schemas.openxmlformats.org/officeDocument/2006/relationships/slideLayout" Target="../slideLayouts/slideLayout196.xml"/><Relationship Id="rId10" Type="http://schemas.openxmlformats.org/officeDocument/2006/relationships/slideLayout" Target="../slideLayouts/slideLayout201.xml"/><Relationship Id="rId4" Type="http://schemas.openxmlformats.org/officeDocument/2006/relationships/slideLayout" Target="../slideLayouts/slideLayout195.xml"/><Relationship Id="rId9" Type="http://schemas.openxmlformats.org/officeDocument/2006/relationships/slideLayout" Target="../slideLayouts/slideLayout200.xml"/></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209.xml"/><Relationship Id="rId13" Type="http://schemas.openxmlformats.org/officeDocument/2006/relationships/slideLayout" Target="../slideLayouts/slideLayout214.xml"/><Relationship Id="rId18" Type="http://schemas.openxmlformats.org/officeDocument/2006/relationships/slideLayout" Target="../slideLayouts/slideLayout219.xml"/><Relationship Id="rId3" Type="http://schemas.openxmlformats.org/officeDocument/2006/relationships/slideLayout" Target="../slideLayouts/slideLayout204.xml"/><Relationship Id="rId21" Type="http://schemas.openxmlformats.org/officeDocument/2006/relationships/image" Target="../media/image21.png"/><Relationship Id="rId7" Type="http://schemas.openxmlformats.org/officeDocument/2006/relationships/slideLayout" Target="../slideLayouts/slideLayout208.xml"/><Relationship Id="rId12" Type="http://schemas.openxmlformats.org/officeDocument/2006/relationships/slideLayout" Target="../slideLayouts/slideLayout213.xml"/><Relationship Id="rId17" Type="http://schemas.openxmlformats.org/officeDocument/2006/relationships/slideLayout" Target="../slideLayouts/slideLayout218.xml"/><Relationship Id="rId2" Type="http://schemas.openxmlformats.org/officeDocument/2006/relationships/slideLayout" Target="../slideLayouts/slideLayout203.xml"/><Relationship Id="rId16" Type="http://schemas.openxmlformats.org/officeDocument/2006/relationships/slideLayout" Target="../slideLayouts/slideLayout217.xml"/><Relationship Id="rId20" Type="http://schemas.openxmlformats.org/officeDocument/2006/relationships/theme" Target="../theme/theme19.xml"/><Relationship Id="rId1" Type="http://schemas.openxmlformats.org/officeDocument/2006/relationships/slideLayout" Target="../slideLayouts/slideLayout202.xml"/><Relationship Id="rId6" Type="http://schemas.openxmlformats.org/officeDocument/2006/relationships/slideLayout" Target="../slideLayouts/slideLayout207.xml"/><Relationship Id="rId11" Type="http://schemas.openxmlformats.org/officeDocument/2006/relationships/slideLayout" Target="../slideLayouts/slideLayout212.xml"/><Relationship Id="rId5" Type="http://schemas.openxmlformats.org/officeDocument/2006/relationships/slideLayout" Target="../slideLayouts/slideLayout206.xml"/><Relationship Id="rId15" Type="http://schemas.openxmlformats.org/officeDocument/2006/relationships/slideLayout" Target="../slideLayouts/slideLayout216.xml"/><Relationship Id="rId10" Type="http://schemas.openxmlformats.org/officeDocument/2006/relationships/slideLayout" Target="../slideLayouts/slideLayout211.xml"/><Relationship Id="rId19" Type="http://schemas.openxmlformats.org/officeDocument/2006/relationships/slideLayout" Target="../slideLayouts/slideLayout220.xml"/><Relationship Id="rId4" Type="http://schemas.openxmlformats.org/officeDocument/2006/relationships/slideLayout" Target="../slideLayouts/slideLayout205.xml"/><Relationship Id="rId9" Type="http://schemas.openxmlformats.org/officeDocument/2006/relationships/slideLayout" Target="../slideLayouts/slideLayout210.xml"/><Relationship Id="rId14" Type="http://schemas.openxmlformats.org/officeDocument/2006/relationships/slideLayout" Target="../slideLayouts/slideLayout21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9.xml"/><Relationship Id="rId3" Type="http://schemas.openxmlformats.org/officeDocument/2006/relationships/slideLayout" Target="../slideLayouts/slideLayout24.xml"/><Relationship Id="rId7" Type="http://schemas.openxmlformats.org/officeDocument/2006/relationships/slideLayout" Target="../slideLayouts/slideLayout28.xml"/><Relationship Id="rId12" Type="http://schemas.openxmlformats.org/officeDocument/2006/relationships/image" Target="../media/image11.png"/><Relationship Id="rId2" Type="http://schemas.openxmlformats.org/officeDocument/2006/relationships/slideLayout" Target="../slideLayouts/slideLayout23.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theme" Target="../theme/theme2.xml"/><Relationship Id="rId5" Type="http://schemas.openxmlformats.org/officeDocument/2006/relationships/slideLayout" Target="../slideLayouts/slideLayout26.xml"/><Relationship Id="rId10" Type="http://schemas.openxmlformats.org/officeDocument/2006/relationships/slideLayout" Target="../slideLayouts/slideLayout31.xml"/><Relationship Id="rId4" Type="http://schemas.openxmlformats.org/officeDocument/2006/relationships/slideLayout" Target="../slideLayouts/slideLayout25.xml"/><Relationship Id="rId9" Type="http://schemas.openxmlformats.org/officeDocument/2006/relationships/slideLayout" Target="../slideLayouts/slideLayout30.xml"/></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228.xml"/><Relationship Id="rId3" Type="http://schemas.openxmlformats.org/officeDocument/2006/relationships/slideLayout" Target="../slideLayouts/slideLayout223.xml"/><Relationship Id="rId7" Type="http://schemas.openxmlformats.org/officeDocument/2006/relationships/slideLayout" Target="../slideLayouts/slideLayout227.xml"/><Relationship Id="rId12" Type="http://schemas.openxmlformats.org/officeDocument/2006/relationships/image" Target="../media/image11.png"/><Relationship Id="rId2" Type="http://schemas.openxmlformats.org/officeDocument/2006/relationships/slideLayout" Target="../slideLayouts/slideLayout222.xml"/><Relationship Id="rId1" Type="http://schemas.openxmlformats.org/officeDocument/2006/relationships/slideLayout" Target="../slideLayouts/slideLayout221.xml"/><Relationship Id="rId6" Type="http://schemas.openxmlformats.org/officeDocument/2006/relationships/slideLayout" Target="../slideLayouts/slideLayout226.xml"/><Relationship Id="rId11" Type="http://schemas.openxmlformats.org/officeDocument/2006/relationships/theme" Target="../theme/theme20.xml"/><Relationship Id="rId5" Type="http://schemas.openxmlformats.org/officeDocument/2006/relationships/slideLayout" Target="../slideLayouts/slideLayout225.xml"/><Relationship Id="rId10" Type="http://schemas.openxmlformats.org/officeDocument/2006/relationships/slideLayout" Target="../slideLayouts/slideLayout230.xml"/><Relationship Id="rId4" Type="http://schemas.openxmlformats.org/officeDocument/2006/relationships/slideLayout" Target="../slideLayouts/slideLayout224.xml"/><Relationship Id="rId9" Type="http://schemas.openxmlformats.org/officeDocument/2006/relationships/slideLayout" Target="../slideLayouts/slideLayout229.xml"/></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238.xml"/><Relationship Id="rId3" Type="http://schemas.openxmlformats.org/officeDocument/2006/relationships/slideLayout" Target="../slideLayouts/slideLayout233.xml"/><Relationship Id="rId7" Type="http://schemas.openxmlformats.org/officeDocument/2006/relationships/slideLayout" Target="../slideLayouts/slideLayout237.xml"/><Relationship Id="rId12" Type="http://schemas.openxmlformats.org/officeDocument/2006/relationships/image" Target="../media/image11.png"/><Relationship Id="rId2" Type="http://schemas.openxmlformats.org/officeDocument/2006/relationships/slideLayout" Target="../slideLayouts/slideLayout232.xml"/><Relationship Id="rId1" Type="http://schemas.openxmlformats.org/officeDocument/2006/relationships/slideLayout" Target="../slideLayouts/slideLayout231.xml"/><Relationship Id="rId6" Type="http://schemas.openxmlformats.org/officeDocument/2006/relationships/slideLayout" Target="../slideLayouts/slideLayout236.xml"/><Relationship Id="rId11" Type="http://schemas.openxmlformats.org/officeDocument/2006/relationships/theme" Target="../theme/theme21.xml"/><Relationship Id="rId5" Type="http://schemas.openxmlformats.org/officeDocument/2006/relationships/slideLayout" Target="../slideLayouts/slideLayout235.xml"/><Relationship Id="rId10" Type="http://schemas.openxmlformats.org/officeDocument/2006/relationships/slideLayout" Target="../slideLayouts/slideLayout240.xml"/><Relationship Id="rId4" Type="http://schemas.openxmlformats.org/officeDocument/2006/relationships/slideLayout" Target="../slideLayouts/slideLayout234.xml"/><Relationship Id="rId9" Type="http://schemas.openxmlformats.org/officeDocument/2006/relationships/slideLayout" Target="../slideLayouts/slideLayout239.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9.xml"/><Relationship Id="rId3" Type="http://schemas.openxmlformats.org/officeDocument/2006/relationships/slideLayout" Target="../slideLayouts/slideLayout34.xml"/><Relationship Id="rId7" Type="http://schemas.openxmlformats.org/officeDocument/2006/relationships/slideLayout" Target="../slideLayouts/slideLayout38.xml"/><Relationship Id="rId12" Type="http://schemas.openxmlformats.org/officeDocument/2006/relationships/image" Target="../media/image11.png"/><Relationship Id="rId2" Type="http://schemas.openxmlformats.org/officeDocument/2006/relationships/slideLayout" Target="../slideLayouts/slideLayout33.xml"/><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theme" Target="../theme/theme3.xml"/><Relationship Id="rId5" Type="http://schemas.openxmlformats.org/officeDocument/2006/relationships/slideLayout" Target="../slideLayouts/slideLayout36.xml"/><Relationship Id="rId10" Type="http://schemas.openxmlformats.org/officeDocument/2006/relationships/slideLayout" Target="../slideLayouts/slideLayout41.xml"/><Relationship Id="rId4" Type="http://schemas.openxmlformats.org/officeDocument/2006/relationships/slideLayout" Target="../slideLayouts/slideLayout35.xml"/><Relationship Id="rId9" Type="http://schemas.openxmlformats.org/officeDocument/2006/relationships/slideLayout" Target="../slideLayouts/slideLayout40.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9.xml"/><Relationship Id="rId13" Type="http://schemas.openxmlformats.org/officeDocument/2006/relationships/theme" Target="../theme/theme4.xml"/><Relationship Id="rId3" Type="http://schemas.openxmlformats.org/officeDocument/2006/relationships/slideLayout" Target="../slideLayouts/slideLayout44.xml"/><Relationship Id="rId7" Type="http://schemas.openxmlformats.org/officeDocument/2006/relationships/slideLayout" Target="../slideLayouts/slideLayout48.xml"/><Relationship Id="rId12" Type="http://schemas.openxmlformats.org/officeDocument/2006/relationships/slideLayout" Target="../slideLayouts/slideLayout53.xml"/><Relationship Id="rId2" Type="http://schemas.openxmlformats.org/officeDocument/2006/relationships/slideLayout" Target="../slideLayouts/slideLayout43.xml"/><Relationship Id="rId1" Type="http://schemas.openxmlformats.org/officeDocument/2006/relationships/slideLayout" Target="../slideLayouts/slideLayout42.xml"/><Relationship Id="rId6" Type="http://schemas.openxmlformats.org/officeDocument/2006/relationships/slideLayout" Target="../slideLayouts/slideLayout47.xml"/><Relationship Id="rId11" Type="http://schemas.openxmlformats.org/officeDocument/2006/relationships/slideLayout" Target="../slideLayouts/slideLayout52.xml"/><Relationship Id="rId5" Type="http://schemas.openxmlformats.org/officeDocument/2006/relationships/slideLayout" Target="../slideLayouts/slideLayout46.xml"/><Relationship Id="rId10" Type="http://schemas.openxmlformats.org/officeDocument/2006/relationships/slideLayout" Target="../slideLayouts/slideLayout51.xml"/><Relationship Id="rId4" Type="http://schemas.openxmlformats.org/officeDocument/2006/relationships/slideLayout" Target="../slideLayouts/slideLayout45.xml"/><Relationship Id="rId9" Type="http://schemas.openxmlformats.org/officeDocument/2006/relationships/slideLayout" Target="../slideLayouts/slideLayout50.xml"/><Relationship Id="rId14" Type="http://schemas.openxmlformats.org/officeDocument/2006/relationships/image" Target="../media/image11.pn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1.xml"/><Relationship Id="rId3" Type="http://schemas.openxmlformats.org/officeDocument/2006/relationships/slideLayout" Target="../slideLayouts/slideLayout56.xml"/><Relationship Id="rId7" Type="http://schemas.openxmlformats.org/officeDocument/2006/relationships/slideLayout" Target="../slideLayouts/slideLayout60.xml"/><Relationship Id="rId12" Type="http://schemas.openxmlformats.org/officeDocument/2006/relationships/image" Target="../media/image11.png"/><Relationship Id="rId2" Type="http://schemas.openxmlformats.org/officeDocument/2006/relationships/slideLayout" Target="../slideLayouts/slideLayout55.xml"/><Relationship Id="rId1" Type="http://schemas.openxmlformats.org/officeDocument/2006/relationships/slideLayout" Target="../slideLayouts/slideLayout54.xml"/><Relationship Id="rId6" Type="http://schemas.openxmlformats.org/officeDocument/2006/relationships/slideLayout" Target="../slideLayouts/slideLayout59.xml"/><Relationship Id="rId11" Type="http://schemas.openxmlformats.org/officeDocument/2006/relationships/theme" Target="../theme/theme5.xml"/><Relationship Id="rId5" Type="http://schemas.openxmlformats.org/officeDocument/2006/relationships/slideLayout" Target="../slideLayouts/slideLayout58.xml"/><Relationship Id="rId10" Type="http://schemas.openxmlformats.org/officeDocument/2006/relationships/slideLayout" Target="../slideLayouts/slideLayout63.xml"/><Relationship Id="rId4" Type="http://schemas.openxmlformats.org/officeDocument/2006/relationships/slideLayout" Target="../slideLayouts/slideLayout57.xml"/><Relationship Id="rId9" Type="http://schemas.openxmlformats.org/officeDocument/2006/relationships/slideLayout" Target="../slideLayouts/slideLayout62.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71.xml"/><Relationship Id="rId13" Type="http://schemas.openxmlformats.org/officeDocument/2006/relationships/slideLayout" Target="../slideLayouts/slideLayout76.xml"/><Relationship Id="rId3" Type="http://schemas.openxmlformats.org/officeDocument/2006/relationships/slideLayout" Target="../slideLayouts/slideLayout66.xml"/><Relationship Id="rId7" Type="http://schemas.openxmlformats.org/officeDocument/2006/relationships/slideLayout" Target="../slideLayouts/slideLayout70.xml"/><Relationship Id="rId12" Type="http://schemas.openxmlformats.org/officeDocument/2006/relationships/slideLayout" Target="../slideLayouts/slideLayout75.xml"/><Relationship Id="rId2" Type="http://schemas.openxmlformats.org/officeDocument/2006/relationships/slideLayout" Target="../slideLayouts/slideLayout65.xml"/><Relationship Id="rId1" Type="http://schemas.openxmlformats.org/officeDocument/2006/relationships/slideLayout" Target="../slideLayouts/slideLayout64.xml"/><Relationship Id="rId6" Type="http://schemas.openxmlformats.org/officeDocument/2006/relationships/slideLayout" Target="../slideLayouts/slideLayout69.xml"/><Relationship Id="rId11" Type="http://schemas.openxmlformats.org/officeDocument/2006/relationships/slideLayout" Target="../slideLayouts/slideLayout74.xml"/><Relationship Id="rId5" Type="http://schemas.openxmlformats.org/officeDocument/2006/relationships/slideLayout" Target="../slideLayouts/slideLayout68.xml"/><Relationship Id="rId15" Type="http://schemas.openxmlformats.org/officeDocument/2006/relationships/image" Target="../media/image11.png"/><Relationship Id="rId10" Type="http://schemas.openxmlformats.org/officeDocument/2006/relationships/slideLayout" Target="../slideLayouts/slideLayout73.xml"/><Relationship Id="rId4" Type="http://schemas.openxmlformats.org/officeDocument/2006/relationships/slideLayout" Target="../slideLayouts/slideLayout67.xml"/><Relationship Id="rId9" Type="http://schemas.openxmlformats.org/officeDocument/2006/relationships/slideLayout" Target="../slideLayouts/slideLayout72.xml"/><Relationship Id="rId14"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84.xml"/><Relationship Id="rId13" Type="http://schemas.openxmlformats.org/officeDocument/2006/relationships/slideLayout" Target="../slideLayouts/slideLayout89.xml"/><Relationship Id="rId18" Type="http://schemas.openxmlformats.org/officeDocument/2006/relationships/slideLayout" Target="../slideLayouts/slideLayout94.xml"/><Relationship Id="rId3" Type="http://schemas.openxmlformats.org/officeDocument/2006/relationships/slideLayout" Target="../slideLayouts/slideLayout79.xml"/><Relationship Id="rId21" Type="http://schemas.openxmlformats.org/officeDocument/2006/relationships/theme" Target="../theme/theme7.xml"/><Relationship Id="rId7" Type="http://schemas.openxmlformats.org/officeDocument/2006/relationships/slideLayout" Target="../slideLayouts/slideLayout83.xml"/><Relationship Id="rId12" Type="http://schemas.openxmlformats.org/officeDocument/2006/relationships/slideLayout" Target="../slideLayouts/slideLayout88.xml"/><Relationship Id="rId17" Type="http://schemas.openxmlformats.org/officeDocument/2006/relationships/slideLayout" Target="../slideLayouts/slideLayout93.xml"/><Relationship Id="rId2" Type="http://schemas.openxmlformats.org/officeDocument/2006/relationships/slideLayout" Target="../slideLayouts/slideLayout78.xml"/><Relationship Id="rId16" Type="http://schemas.openxmlformats.org/officeDocument/2006/relationships/slideLayout" Target="../slideLayouts/slideLayout92.xml"/><Relationship Id="rId20" Type="http://schemas.openxmlformats.org/officeDocument/2006/relationships/slideLayout" Target="../slideLayouts/slideLayout96.xml"/><Relationship Id="rId1" Type="http://schemas.openxmlformats.org/officeDocument/2006/relationships/slideLayout" Target="../slideLayouts/slideLayout77.xml"/><Relationship Id="rId6" Type="http://schemas.openxmlformats.org/officeDocument/2006/relationships/slideLayout" Target="../slideLayouts/slideLayout82.xml"/><Relationship Id="rId11" Type="http://schemas.openxmlformats.org/officeDocument/2006/relationships/slideLayout" Target="../slideLayouts/slideLayout87.xml"/><Relationship Id="rId5" Type="http://schemas.openxmlformats.org/officeDocument/2006/relationships/slideLayout" Target="../slideLayouts/slideLayout81.xml"/><Relationship Id="rId15" Type="http://schemas.openxmlformats.org/officeDocument/2006/relationships/slideLayout" Target="../slideLayouts/slideLayout91.xml"/><Relationship Id="rId10" Type="http://schemas.openxmlformats.org/officeDocument/2006/relationships/slideLayout" Target="../slideLayouts/slideLayout86.xml"/><Relationship Id="rId19" Type="http://schemas.openxmlformats.org/officeDocument/2006/relationships/slideLayout" Target="../slideLayouts/slideLayout95.xml"/><Relationship Id="rId4" Type="http://schemas.openxmlformats.org/officeDocument/2006/relationships/slideLayout" Target="../slideLayouts/slideLayout80.xml"/><Relationship Id="rId9" Type="http://schemas.openxmlformats.org/officeDocument/2006/relationships/slideLayout" Target="../slideLayouts/slideLayout85.xml"/><Relationship Id="rId14" Type="http://schemas.openxmlformats.org/officeDocument/2006/relationships/slideLayout" Target="../slideLayouts/slideLayout90.xml"/><Relationship Id="rId22" Type="http://schemas.openxmlformats.org/officeDocument/2006/relationships/image" Target="../media/image1.png"/></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04.xml"/><Relationship Id="rId13" Type="http://schemas.openxmlformats.org/officeDocument/2006/relationships/image" Target="../media/image11.png"/><Relationship Id="rId3" Type="http://schemas.openxmlformats.org/officeDocument/2006/relationships/slideLayout" Target="../slideLayouts/slideLayout99.xml"/><Relationship Id="rId7" Type="http://schemas.openxmlformats.org/officeDocument/2006/relationships/slideLayout" Target="../slideLayouts/slideLayout103.xml"/><Relationship Id="rId12" Type="http://schemas.openxmlformats.org/officeDocument/2006/relationships/theme" Target="../theme/theme8.xml"/><Relationship Id="rId2" Type="http://schemas.openxmlformats.org/officeDocument/2006/relationships/slideLayout" Target="../slideLayouts/slideLayout98.xml"/><Relationship Id="rId1" Type="http://schemas.openxmlformats.org/officeDocument/2006/relationships/slideLayout" Target="../slideLayouts/slideLayout97.xml"/><Relationship Id="rId6" Type="http://schemas.openxmlformats.org/officeDocument/2006/relationships/slideLayout" Target="../slideLayouts/slideLayout102.xml"/><Relationship Id="rId11" Type="http://schemas.openxmlformats.org/officeDocument/2006/relationships/slideLayout" Target="../slideLayouts/slideLayout107.xml"/><Relationship Id="rId5" Type="http://schemas.openxmlformats.org/officeDocument/2006/relationships/slideLayout" Target="../slideLayouts/slideLayout101.xml"/><Relationship Id="rId10" Type="http://schemas.openxmlformats.org/officeDocument/2006/relationships/slideLayout" Target="../slideLayouts/slideLayout106.xml"/><Relationship Id="rId4" Type="http://schemas.openxmlformats.org/officeDocument/2006/relationships/slideLayout" Target="../slideLayouts/slideLayout100.xml"/><Relationship Id="rId9" Type="http://schemas.openxmlformats.org/officeDocument/2006/relationships/slideLayout" Target="../slideLayouts/slideLayout105.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15.xml"/><Relationship Id="rId3" Type="http://schemas.openxmlformats.org/officeDocument/2006/relationships/slideLayout" Target="../slideLayouts/slideLayout110.xml"/><Relationship Id="rId7" Type="http://schemas.openxmlformats.org/officeDocument/2006/relationships/slideLayout" Target="../slideLayouts/slideLayout114.xml"/><Relationship Id="rId12" Type="http://schemas.openxmlformats.org/officeDocument/2006/relationships/image" Target="../media/image11.png"/><Relationship Id="rId2" Type="http://schemas.openxmlformats.org/officeDocument/2006/relationships/slideLayout" Target="../slideLayouts/slideLayout109.xml"/><Relationship Id="rId1" Type="http://schemas.openxmlformats.org/officeDocument/2006/relationships/slideLayout" Target="../slideLayouts/slideLayout108.xml"/><Relationship Id="rId6" Type="http://schemas.openxmlformats.org/officeDocument/2006/relationships/slideLayout" Target="../slideLayouts/slideLayout113.xml"/><Relationship Id="rId11" Type="http://schemas.openxmlformats.org/officeDocument/2006/relationships/theme" Target="../theme/theme9.xml"/><Relationship Id="rId5" Type="http://schemas.openxmlformats.org/officeDocument/2006/relationships/slideLayout" Target="../slideLayouts/slideLayout112.xml"/><Relationship Id="rId10" Type="http://schemas.openxmlformats.org/officeDocument/2006/relationships/slideLayout" Target="../slideLayouts/slideLayout117.xml"/><Relationship Id="rId4" Type="http://schemas.openxmlformats.org/officeDocument/2006/relationships/slideLayout" Target="../slideLayouts/slideLayout111.xml"/><Relationship Id="rId9" Type="http://schemas.openxmlformats.org/officeDocument/2006/relationships/slideLayout" Target="../slideLayouts/slideLayout11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4" name="Rectangle 13"/>
          <p:cNvSpPr/>
          <p:nvPr/>
        </p:nvSpPr>
        <p:spPr bwMode="gray">
          <a:xfrm>
            <a:off x="935038" y="1100645"/>
            <a:ext cx="1583668" cy="252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pic>
        <p:nvPicPr>
          <p:cNvPr id="13" name="Image 12" descr="Logo_suite_50x30.png"/>
          <p:cNvPicPr>
            <a:picLocks noChangeAspect="1"/>
          </p:cNvPicPr>
          <p:nvPr/>
        </p:nvPicPr>
        <p:blipFill>
          <a:blip r:embed="rId23" cstate="print"/>
          <a:stretch>
            <a:fillRect/>
          </a:stretch>
        </p:blipFill>
        <p:spPr bwMode="gray">
          <a:xfrm>
            <a:off x="7344000" y="5779827"/>
            <a:ext cx="1800000" cy="1078173"/>
          </a:xfrm>
          <a:prstGeom prst="rect">
            <a:avLst/>
          </a:prstGeom>
        </p:spPr>
      </p:pic>
      <p:sp>
        <p:nvSpPr>
          <p:cNvPr id="2" name="Espace réservé du titre 1"/>
          <p:cNvSpPr>
            <a:spLocks noGrp="1"/>
          </p:cNvSpPr>
          <p:nvPr>
            <p:ph type="title"/>
          </p:nvPr>
        </p:nvSpPr>
        <p:spPr bwMode="gray">
          <a:xfrm>
            <a:off x="935038" y="1"/>
            <a:ext cx="7345362" cy="1036637"/>
          </a:xfrm>
          <a:prstGeom prst="rect">
            <a:avLst/>
          </a:prstGeom>
        </p:spPr>
        <p:txBody>
          <a:bodyPr vert="horz" lIns="0" tIns="0" rIns="0" bIns="0" rtlCol="0" anchor="b" anchorCtr="0">
            <a:noAutofit/>
          </a:bodyPr>
          <a:lstStyle/>
          <a:p>
            <a:r>
              <a:rPr lang="en-US" noProof="0"/>
              <a:t>TITLE</a:t>
            </a:r>
          </a:p>
        </p:txBody>
      </p:sp>
      <p:sp>
        <p:nvSpPr>
          <p:cNvPr id="3" name="Espace réservé du texte 2"/>
          <p:cNvSpPr>
            <a:spLocks noGrp="1"/>
          </p:cNvSpPr>
          <p:nvPr>
            <p:ph type="body" idx="1"/>
          </p:nvPr>
        </p:nvSpPr>
        <p:spPr bwMode="gray">
          <a:xfrm>
            <a:off x="935038" y="1304925"/>
            <a:ext cx="7345362" cy="4716463"/>
          </a:xfrm>
          <a:prstGeom prst="rect">
            <a:avLst/>
          </a:prstGeom>
        </p:spPr>
        <p:txBody>
          <a:bodyPr vert="horz" lIns="0" tIns="0" rIns="0" bIns="0" rtlCol="0" anchor="t" anchorCtr="0">
            <a:noAutofit/>
          </a:bodyPr>
          <a:lstStyle/>
          <a:p>
            <a:pPr lvl="0"/>
            <a:r>
              <a:rPr lang="en-US" noProof="0"/>
              <a:t>Text level 1</a:t>
            </a:r>
          </a:p>
          <a:p>
            <a:pPr lvl="1"/>
            <a:r>
              <a:rPr lang="en-US" noProof="0"/>
              <a:t>Text level 2</a:t>
            </a:r>
          </a:p>
          <a:p>
            <a:pPr lvl="2"/>
            <a:r>
              <a:rPr lang="en-US" noProof="0"/>
              <a:t>Text level 3</a:t>
            </a:r>
          </a:p>
          <a:p>
            <a:pPr lvl="3"/>
            <a:r>
              <a:rPr lang="en-US" noProof="0"/>
              <a:t>Text level 4</a:t>
            </a:r>
          </a:p>
          <a:p>
            <a:pPr lvl="4"/>
            <a:r>
              <a:rPr lang="en-US" noProof="0"/>
              <a:t>Text level 5</a:t>
            </a:r>
          </a:p>
        </p:txBody>
      </p:sp>
      <p:sp>
        <p:nvSpPr>
          <p:cNvPr id="4" name="Espace réservé de la date 3"/>
          <p:cNvSpPr>
            <a:spLocks noGrp="1"/>
          </p:cNvSpPr>
          <p:nvPr>
            <p:ph type="dt" sz="half" idx="2"/>
          </p:nvPr>
        </p:nvSpPr>
        <p:spPr bwMode="gray">
          <a:xfrm>
            <a:off x="-1" y="6498000"/>
            <a:ext cx="935039" cy="360000"/>
          </a:xfrm>
          <a:prstGeom prst="rect">
            <a:avLst/>
          </a:prstGeom>
        </p:spPr>
        <p:txBody>
          <a:bodyPr vert="horz" lIns="0" tIns="0" rIns="0" bIns="0" rtlCol="0" anchor="t" anchorCtr="0">
            <a:noAutofit/>
          </a:bodyPr>
          <a:lstStyle>
            <a:lvl1pPr algn="l">
              <a:defRPr sz="100">
                <a:solidFill>
                  <a:schemeClr val="bg1">
                    <a:alpha val="0"/>
                  </a:schemeClr>
                </a:solidFill>
              </a:defRPr>
            </a:lvl1pPr>
          </a:lstStyle>
          <a:p>
            <a:r>
              <a:rPr lang="en-US" noProof="0"/>
              <a:t>Date</a:t>
            </a:r>
          </a:p>
        </p:txBody>
      </p:sp>
      <p:sp>
        <p:nvSpPr>
          <p:cNvPr id="5" name="Espace réservé du pied de page 4"/>
          <p:cNvSpPr>
            <a:spLocks noGrp="1"/>
          </p:cNvSpPr>
          <p:nvPr>
            <p:ph type="ftr" sz="quarter" idx="3"/>
          </p:nvPr>
        </p:nvSpPr>
        <p:spPr bwMode="gray">
          <a:xfrm>
            <a:off x="2412000" y="6498000"/>
            <a:ext cx="4320000" cy="360000"/>
          </a:xfrm>
          <a:prstGeom prst="rect">
            <a:avLst/>
          </a:prstGeom>
        </p:spPr>
        <p:txBody>
          <a:bodyPr vert="horz" lIns="0" tIns="7200" rIns="0" bIns="0" rtlCol="0" anchor="t" anchorCtr="0">
            <a:noAutofit/>
          </a:bodyPr>
          <a:lstStyle>
            <a:lvl1pPr algn="ctr">
              <a:defRPr sz="1000" b="1">
                <a:solidFill>
                  <a:schemeClr val="accent1"/>
                </a:solidFill>
              </a:defRPr>
            </a:lvl1pPr>
          </a:lstStyle>
          <a:p>
            <a:r>
              <a:rPr lang="en-US" noProof="0"/>
              <a:t>#add your hashtag</a:t>
            </a:r>
          </a:p>
        </p:txBody>
      </p:sp>
      <p:sp>
        <p:nvSpPr>
          <p:cNvPr id="6" name="Espace réservé du numéro de diapositive 5"/>
          <p:cNvSpPr>
            <a:spLocks noGrp="1"/>
          </p:cNvSpPr>
          <p:nvPr>
            <p:ph type="sldNum" sz="quarter" idx="4"/>
          </p:nvPr>
        </p:nvSpPr>
        <p:spPr bwMode="gray">
          <a:xfrm>
            <a:off x="935038" y="6498000"/>
            <a:ext cx="900112" cy="360000"/>
          </a:xfrm>
          <a:prstGeom prst="rect">
            <a:avLst/>
          </a:prstGeom>
        </p:spPr>
        <p:txBody>
          <a:bodyPr vert="horz" lIns="0" tIns="21600" rIns="0" bIns="0" rtlCol="0" anchor="t" anchorCtr="0">
            <a:noAutofit/>
          </a:bodyPr>
          <a:lstStyle>
            <a:lvl1pPr algn="l">
              <a:defRPr sz="900" b="1">
                <a:solidFill>
                  <a:schemeClr val="tx1"/>
                </a:solidFill>
              </a:defRPr>
            </a:lvl1pPr>
          </a:lstStyle>
          <a:p>
            <a:fld id="{733122C9-A0B9-462F-8757-0847AD287B63}" type="slidenum">
              <a:rPr lang="en-US" noProof="0" smtClean="0"/>
              <a:pPr/>
              <a:t>‹#›</a:t>
            </a:fld>
            <a:endParaRPr lang="en-US" noProof="0"/>
          </a:p>
        </p:txBody>
      </p:sp>
      <p:sp>
        <p:nvSpPr>
          <p:cNvPr id="10" name="Rectangle 9"/>
          <p:cNvSpPr/>
          <p:nvPr/>
        </p:nvSpPr>
        <p:spPr bwMode="gray">
          <a:xfrm>
            <a:off x="7560332" y="6021388"/>
            <a:ext cx="1583668" cy="252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Tree>
  </p:cSld>
  <p:clrMap bg1="lt1" tx1="dk1" bg2="lt2" tx2="dk2" accent1="accent1" accent2="accent2" accent3="accent3" accent4="accent4" accent5="accent5" accent6="accent6" hlink="hlink" folHlink="folHlink"/>
  <p:sldLayoutIdLst>
    <p:sldLayoutId id="2147483816" r:id="rId1"/>
    <p:sldLayoutId id="2147483668" r:id="rId2"/>
    <p:sldLayoutId id="2147483817" r:id="rId3"/>
    <p:sldLayoutId id="2147483813" r:id="rId4"/>
    <p:sldLayoutId id="2147483812" r:id="rId5"/>
    <p:sldLayoutId id="2147483798" r:id="rId6"/>
    <p:sldLayoutId id="2147483809" r:id="rId7"/>
    <p:sldLayoutId id="2147483822" r:id="rId8"/>
    <p:sldLayoutId id="2147483810" r:id="rId9"/>
    <p:sldLayoutId id="2147483819" r:id="rId10"/>
    <p:sldLayoutId id="2147483820" r:id="rId11"/>
    <p:sldLayoutId id="2147483821" r:id="rId12"/>
    <p:sldLayoutId id="2147483823" r:id="rId13"/>
    <p:sldLayoutId id="2147483827" r:id="rId14"/>
    <p:sldLayoutId id="2147483824" r:id="rId15"/>
    <p:sldLayoutId id="2147483825" r:id="rId16"/>
    <p:sldLayoutId id="2147483826" r:id="rId17"/>
    <p:sldLayoutId id="2147483832" r:id="rId18"/>
    <p:sldLayoutId id="2147483831" r:id="rId19"/>
    <p:sldLayoutId id="2147483833" r:id="rId20"/>
    <p:sldLayoutId id="2147483828" r:id="rId21"/>
  </p:sldLayoutIdLst>
  <p:hf hdr="0" dt="0"/>
  <p:txStyles>
    <p:titleStyle>
      <a:lvl1pPr algn="l" defTabSz="914400" rtl="0" eaLnBrk="1" latinLnBrk="0" hangingPunct="1">
        <a:lnSpc>
          <a:spcPct val="90000"/>
        </a:lnSpc>
        <a:spcBef>
          <a:spcPct val="0"/>
        </a:spcBef>
        <a:buNone/>
        <a:defRPr sz="2800" b="0" kern="1200" cap="none" baseline="0">
          <a:solidFill>
            <a:schemeClr val="accent1"/>
          </a:solidFill>
          <a:latin typeface="+mj-lt"/>
          <a:ea typeface="+mj-ea"/>
          <a:cs typeface="+mj-cs"/>
        </a:defRPr>
      </a:lvl1pPr>
    </p:titleStyle>
    <p:bodyStyle>
      <a:lvl1pPr marL="0" indent="0" algn="l" defTabSz="914400" rtl="0" eaLnBrk="1" latinLnBrk="0" hangingPunct="1">
        <a:lnSpc>
          <a:spcPct val="110000"/>
        </a:lnSpc>
        <a:spcBef>
          <a:spcPts val="0"/>
        </a:spcBef>
        <a:buFont typeface="Arial" pitchFamily="34" charset="0"/>
        <a:buNone/>
        <a:defRPr sz="2000" b="1" kern="1200">
          <a:solidFill>
            <a:schemeClr val="accent1"/>
          </a:solidFill>
          <a:latin typeface="+mn-lt"/>
          <a:ea typeface="+mn-ea"/>
          <a:cs typeface="+mn-cs"/>
        </a:defRPr>
      </a:lvl1pPr>
      <a:lvl2pPr marL="324000" indent="-180000" algn="l" defTabSz="914400" rtl="0" eaLnBrk="1" latinLnBrk="0" hangingPunct="1">
        <a:lnSpc>
          <a:spcPct val="100000"/>
        </a:lnSpc>
        <a:spcBef>
          <a:spcPts val="300"/>
        </a:spcBef>
        <a:buClr>
          <a:schemeClr val="accent3"/>
        </a:buClr>
        <a:buFont typeface="Arial" pitchFamily="34" charset="0"/>
        <a:buChar char="•"/>
        <a:defRPr sz="1800" b="1" kern="1200">
          <a:solidFill>
            <a:schemeClr val="tx1"/>
          </a:solidFill>
          <a:latin typeface="+mn-lt"/>
          <a:ea typeface="+mn-ea"/>
          <a:cs typeface="+mn-cs"/>
        </a:defRPr>
      </a:lvl2pPr>
      <a:lvl3pPr marL="504000" indent="-180000" algn="l" defTabSz="914400" rtl="0" eaLnBrk="1" latinLnBrk="0" hangingPunct="1">
        <a:lnSpc>
          <a:spcPct val="100000"/>
        </a:lnSpc>
        <a:spcBef>
          <a:spcPts val="300"/>
        </a:spcBef>
        <a:buSzPct val="100000"/>
        <a:buFont typeface="Arial" pitchFamily="34" charset="0"/>
        <a:buChar char="•"/>
        <a:defRPr sz="1600" b="0" kern="1200">
          <a:solidFill>
            <a:schemeClr val="tx1"/>
          </a:solidFill>
          <a:latin typeface="+mn-lt"/>
          <a:ea typeface="+mn-ea"/>
          <a:cs typeface="+mn-cs"/>
        </a:defRPr>
      </a:lvl3pPr>
      <a:lvl4pPr marL="504000" indent="0" algn="l" defTabSz="914400" rtl="0" eaLnBrk="1" latinLnBrk="0" hangingPunct="1">
        <a:lnSpc>
          <a:spcPct val="100000"/>
        </a:lnSpc>
        <a:spcBef>
          <a:spcPts val="300"/>
        </a:spcBef>
        <a:buSzPct val="100000"/>
        <a:buFont typeface="Arial" pitchFamily="34" charset="0"/>
        <a:buNone/>
        <a:defRPr sz="1600" kern="1200">
          <a:solidFill>
            <a:schemeClr val="tx1"/>
          </a:solidFill>
          <a:latin typeface="+mn-lt"/>
          <a:ea typeface="+mn-ea"/>
          <a:cs typeface="+mn-cs"/>
        </a:defRPr>
      </a:lvl4pPr>
      <a:lvl5pPr marL="684000" indent="-180000" algn="l" defTabSz="914400" rtl="0" eaLnBrk="1" latinLnBrk="0" hangingPunct="1">
        <a:lnSpc>
          <a:spcPct val="100000"/>
        </a:lnSpc>
        <a:spcBef>
          <a:spcPts val="300"/>
        </a:spcBef>
        <a:buSzPct val="100000"/>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cxnSp>
        <p:nvCxnSpPr>
          <p:cNvPr id="11" name="Connecteur droit 10"/>
          <p:cNvCxnSpPr/>
          <p:nvPr/>
        </p:nvCxnSpPr>
        <p:spPr bwMode="gray">
          <a:xfrm flipH="1">
            <a:off x="935038" y="1116013"/>
            <a:ext cx="1584325" cy="0"/>
          </a:xfrm>
          <a:prstGeom prst="line">
            <a:avLst/>
          </a:prstGeom>
          <a:ln w="2413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027" name="Image 12" descr="Logo_suite_50x30.png"/>
          <p:cNvPicPr>
            <a:picLocks noChangeAspect="1"/>
          </p:cNvPicPr>
          <p:nvPr/>
        </p:nvPicPr>
        <p:blipFill>
          <a:blip r:embed="rId13">
            <a:extLst>
              <a:ext uri="{28A0092B-C50C-407E-A947-70E740481C1C}">
                <a14:useLocalDpi xmlns:a14="http://schemas.microsoft.com/office/drawing/2010/main" val="0"/>
              </a:ext>
            </a:extLst>
          </a:blip>
          <a:srcRect/>
          <a:stretch>
            <a:fillRect/>
          </a:stretch>
        </p:blipFill>
        <p:spPr bwMode="gray">
          <a:xfrm>
            <a:off x="7343775" y="5780088"/>
            <a:ext cx="1800225" cy="107791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028" name="Espace réservé du titre 1"/>
          <p:cNvSpPr>
            <a:spLocks noGrp="1"/>
          </p:cNvSpPr>
          <p:nvPr>
            <p:ph type="title"/>
          </p:nvPr>
        </p:nvSpPr>
        <p:spPr bwMode="gray">
          <a:xfrm>
            <a:off x="935038" y="0"/>
            <a:ext cx="7345362" cy="103663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bodyPr>
          <a:lstStyle/>
          <a:p>
            <a:pPr lvl="0"/>
            <a:r>
              <a:rPr lang="en-US" altLang="en-US"/>
              <a:t>TITLE</a:t>
            </a:r>
          </a:p>
        </p:txBody>
      </p:sp>
      <p:sp>
        <p:nvSpPr>
          <p:cNvPr id="1029" name="Espace réservé du texte 2"/>
          <p:cNvSpPr>
            <a:spLocks noGrp="1"/>
          </p:cNvSpPr>
          <p:nvPr>
            <p:ph type="body" idx="1"/>
          </p:nvPr>
        </p:nvSpPr>
        <p:spPr bwMode="gray">
          <a:xfrm>
            <a:off x="935038" y="1304925"/>
            <a:ext cx="7345362" cy="47164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n-US"/>
              <a:t>Text level 1</a:t>
            </a:r>
          </a:p>
          <a:p>
            <a:pPr lvl="1"/>
            <a:r>
              <a:rPr lang="en-US" altLang="en-US"/>
              <a:t>Text level 2</a:t>
            </a:r>
          </a:p>
          <a:p>
            <a:pPr lvl="2"/>
            <a:r>
              <a:rPr lang="en-US" altLang="en-US"/>
              <a:t>Text level 3</a:t>
            </a:r>
          </a:p>
          <a:p>
            <a:pPr lvl="3"/>
            <a:r>
              <a:rPr lang="en-US" altLang="en-US"/>
              <a:t>Text level 4</a:t>
            </a:r>
          </a:p>
          <a:p>
            <a:pPr lvl="4"/>
            <a:r>
              <a:rPr lang="en-US" altLang="en-US"/>
              <a:t>Text level 5</a:t>
            </a:r>
          </a:p>
        </p:txBody>
      </p:sp>
      <p:sp>
        <p:nvSpPr>
          <p:cNvPr id="4" name="Espace réservé de la date 3"/>
          <p:cNvSpPr>
            <a:spLocks noGrp="1"/>
          </p:cNvSpPr>
          <p:nvPr>
            <p:ph type="dt" sz="half" idx="2"/>
          </p:nvPr>
        </p:nvSpPr>
        <p:spPr bwMode="gray">
          <a:xfrm>
            <a:off x="0" y="6497638"/>
            <a:ext cx="935038" cy="360362"/>
          </a:xfrm>
          <a:prstGeom prst="rect">
            <a:avLst/>
          </a:prstGeom>
        </p:spPr>
        <p:txBody>
          <a:bodyPr vert="horz" lIns="0" tIns="0" rIns="0" bIns="0" rtlCol="0" anchor="t" anchorCtr="0">
            <a:noAutofit/>
          </a:bodyPr>
          <a:lstStyle>
            <a:lvl1pPr algn="l" fontAlgn="auto">
              <a:spcBef>
                <a:spcPts val="0"/>
              </a:spcBef>
              <a:spcAft>
                <a:spcPts val="0"/>
              </a:spcAft>
              <a:defRPr sz="100">
                <a:solidFill>
                  <a:schemeClr val="bg1">
                    <a:alpha val="0"/>
                  </a:schemeClr>
                </a:solidFill>
                <a:latin typeface="+mn-lt"/>
                <a:cs typeface="+mn-cs"/>
              </a:defRPr>
            </a:lvl1pPr>
          </a:lstStyle>
          <a:p>
            <a:pPr>
              <a:defRPr/>
            </a:pPr>
            <a:r>
              <a:rPr lang="en-US">
                <a:solidFill>
                  <a:prstClr val="white">
                    <a:alpha val="0"/>
                  </a:prstClr>
                </a:solidFill>
              </a:rPr>
              <a:t>Date</a:t>
            </a:r>
          </a:p>
        </p:txBody>
      </p:sp>
      <p:sp>
        <p:nvSpPr>
          <p:cNvPr id="5" name="Espace réservé du pied de page 4"/>
          <p:cNvSpPr>
            <a:spLocks noGrp="1"/>
          </p:cNvSpPr>
          <p:nvPr>
            <p:ph type="ftr" sz="quarter" idx="3"/>
          </p:nvPr>
        </p:nvSpPr>
        <p:spPr bwMode="gray">
          <a:xfrm>
            <a:off x="2411413" y="6497638"/>
            <a:ext cx="4321175" cy="360362"/>
          </a:xfrm>
          <a:prstGeom prst="rect">
            <a:avLst/>
          </a:prstGeom>
        </p:spPr>
        <p:txBody>
          <a:bodyPr vert="horz" lIns="0" tIns="7200" rIns="0" bIns="0" rtlCol="0" anchor="t" anchorCtr="0">
            <a:noAutofit/>
          </a:bodyPr>
          <a:lstStyle>
            <a:lvl1pPr algn="ctr" fontAlgn="auto">
              <a:spcBef>
                <a:spcPts val="0"/>
              </a:spcBef>
              <a:spcAft>
                <a:spcPts val="0"/>
              </a:spcAft>
              <a:defRPr sz="1000" b="1">
                <a:solidFill>
                  <a:schemeClr val="accent4"/>
                </a:solidFill>
                <a:latin typeface="+mn-lt"/>
                <a:cs typeface="+mn-cs"/>
              </a:defRPr>
            </a:lvl1pPr>
          </a:lstStyle>
          <a:p>
            <a:pPr>
              <a:defRPr/>
            </a:pPr>
            <a:r>
              <a:rPr lang="en-US">
                <a:solidFill>
                  <a:srgbClr val="005CB9"/>
                </a:solidFill>
              </a:rPr>
              <a:t>#</a:t>
            </a:r>
            <a:r>
              <a:rPr lang="en-US" err="1">
                <a:solidFill>
                  <a:srgbClr val="005CB9"/>
                </a:solidFill>
              </a:rPr>
              <a:t>vaccineswork</a:t>
            </a:r>
            <a:endParaRPr lang="en-US">
              <a:solidFill>
                <a:srgbClr val="005CB9"/>
              </a:solidFill>
            </a:endParaRPr>
          </a:p>
        </p:txBody>
      </p:sp>
      <p:sp>
        <p:nvSpPr>
          <p:cNvPr id="6" name="Espace réservé du numéro de diapositive 5"/>
          <p:cNvSpPr>
            <a:spLocks noGrp="1"/>
          </p:cNvSpPr>
          <p:nvPr>
            <p:ph type="sldNum" sz="quarter" idx="4"/>
          </p:nvPr>
        </p:nvSpPr>
        <p:spPr bwMode="gray">
          <a:xfrm>
            <a:off x="935038" y="6497638"/>
            <a:ext cx="900112" cy="360362"/>
          </a:xfrm>
          <a:prstGeom prst="rect">
            <a:avLst/>
          </a:prstGeom>
        </p:spPr>
        <p:txBody>
          <a:bodyPr vert="horz" lIns="0" tIns="21600" rIns="0" bIns="0" rtlCol="0" anchor="t" anchorCtr="0">
            <a:noAutofit/>
          </a:bodyPr>
          <a:lstStyle>
            <a:lvl1pPr algn="l" fontAlgn="auto">
              <a:spcBef>
                <a:spcPts val="0"/>
              </a:spcBef>
              <a:spcAft>
                <a:spcPts val="0"/>
              </a:spcAft>
              <a:defRPr sz="900" b="1">
                <a:solidFill>
                  <a:schemeClr val="tx2"/>
                </a:solidFill>
                <a:latin typeface="+mn-lt"/>
                <a:cs typeface="+mn-cs"/>
              </a:defRPr>
            </a:lvl1pPr>
          </a:lstStyle>
          <a:p>
            <a:pPr>
              <a:defRPr/>
            </a:pPr>
            <a:fld id="{554E5E40-990A-4474-BD97-03BADD847FA0}" type="slidenum">
              <a:rPr lang="en-US">
                <a:solidFill>
                  <a:srgbClr val="343434"/>
                </a:solidFill>
              </a:rPr>
              <a:pPr>
                <a:defRPr/>
              </a:pPr>
              <a:t>‹#›</a:t>
            </a:fld>
            <a:endParaRPr lang="en-US">
              <a:solidFill>
                <a:srgbClr val="343434"/>
              </a:solidFill>
            </a:endParaRPr>
          </a:p>
        </p:txBody>
      </p:sp>
      <p:cxnSp>
        <p:nvCxnSpPr>
          <p:cNvPr id="12" name="Connecteur droit 11"/>
          <p:cNvCxnSpPr/>
          <p:nvPr/>
        </p:nvCxnSpPr>
        <p:spPr bwMode="gray">
          <a:xfrm flipH="1">
            <a:off x="7559675" y="6040438"/>
            <a:ext cx="1584325" cy="0"/>
          </a:xfrm>
          <a:prstGeom prst="line">
            <a:avLst/>
          </a:prstGeom>
          <a:ln w="2413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67614899"/>
      </p:ext>
    </p:extLst>
  </p:cSld>
  <p:clrMap bg1="lt1" tx1="dk1" bg2="lt2" tx2="dk2" accent1="accent1" accent2="accent2" accent3="accent3" accent4="accent4" accent5="accent5" accent6="accent6" hlink="hlink" folHlink="folHlink"/>
  <p:sldLayoutIdLst>
    <p:sldLayoutId id="2147483944" r:id="rId1"/>
    <p:sldLayoutId id="2147483945" r:id="rId2"/>
    <p:sldLayoutId id="2147483946" r:id="rId3"/>
    <p:sldLayoutId id="2147483947" r:id="rId4"/>
    <p:sldLayoutId id="2147483948" r:id="rId5"/>
    <p:sldLayoutId id="2147483949" r:id="rId6"/>
    <p:sldLayoutId id="2147483950" r:id="rId7"/>
    <p:sldLayoutId id="2147483951" r:id="rId8"/>
    <p:sldLayoutId id="2147483952" r:id="rId9"/>
    <p:sldLayoutId id="2147483953" r:id="rId10"/>
    <p:sldLayoutId id="2147483954" r:id="rId11"/>
  </p:sldLayoutIdLst>
  <p:hf hdr="0" dt="0"/>
  <p:txStyles>
    <p:titleStyle>
      <a:lvl1pPr algn="l" rtl="0" eaLnBrk="0" fontAlgn="base" hangingPunct="0">
        <a:lnSpc>
          <a:spcPct val="90000"/>
        </a:lnSpc>
        <a:spcBef>
          <a:spcPct val="0"/>
        </a:spcBef>
        <a:spcAft>
          <a:spcPct val="0"/>
        </a:spcAft>
        <a:defRPr sz="2800" kern="1200">
          <a:solidFill>
            <a:srgbClr val="005CB9"/>
          </a:solidFill>
          <a:latin typeface="+mj-lt"/>
          <a:ea typeface="+mj-ea"/>
          <a:cs typeface="+mj-cs"/>
        </a:defRPr>
      </a:lvl1pPr>
      <a:lvl2pPr algn="l" rtl="0" eaLnBrk="0" fontAlgn="base" hangingPunct="0">
        <a:lnSpc>
          <a:spcPct val="90000"/>
        </a:lnSpc>
        <a:spcBef>
          <a:spcPct val="0"/>
        </a:spcBef>
        <a:spcAft>
          <a:spcPct val="0"/>
        </a:spcAft>
        <a:defRPr sz="2800">
          <a:solidFill>
            <a:srgbClr val="005CB9"/>
          </a:solidFill>
          <a:latin typeface="Arial" charset="0"/>
        </a:defRPr>
      </a:lvl2pPr>
      <a:lvl3pPr algn="l" rtl="0" eaLnBrk="0" fontAlgn="base" hangingPunct="0">
        <a:lnSpc>
          <a:spcPct val="90000"/>
        </a:lnSpc>
        <a:spcBef>
          <a:spcPct val="0"/>
        </a:spcBef>
        <a:spcAft>
          <a:spcPct val="0"/>
        </a:spcAft>
        <a:defRPr sz="2800">
          <a:solidFill>
            <a:srgbClr val="005CB9"/>
          </a:solidFill>
          <a:latin typeface="Arial" charset="0"/>
        </a:defRPr>
      </a:lvl3pPr>
      <a:lvl4pPr algn="l" rtl="0" eaLnBrk="0" fontAlgn="base" hangingPunct="0">
        <a:lnSpc>
          <a:spcPct val="90000"/>
        </a:lnSpc>
        <a:spcBef>
          <a:spcPct val="0"/>
        </a:spcBef>
        <a:spcAft>
          <a:spcPct val="0"/>
        </a:spcAft>
        <a:defRPr sz="2800">
          <a:solidFill>
            <a:srgbClr val="005CB9"/>
          </a:solidFill>
          <a:latin typeface="Arial" charset="0"/>
        </a:defRPr>
      </a:lvl4pPr>
      <a:lvl5pPr algn="l" rtl="0" eaLnBrk="0" fontAlgn="base" hangingPunct="0">
        <a:lnSpc>
          <a:spcPct val="90000"/>
        </a:lnSpc>
        <a:spcBef>
          <a:spcPct val="0"/>
        </a:spcBef>
        <a:spcAft>
          <a:spcPct val="0"/>
        </a:spcAft>
        <a:defRPr sz="2800">
          <a:solidFill>
            <a:srgbClr val="005CB9"/>
          </a:solidFill>
          <a:latin typeface="Arial" charset="0"/>
        </a:defRPr>
      </a:lvl5pPr>
      <a:lvl6pPr marL="457200" algn="l" rtl="0" fontAlgn="base">
        <a:lnSpc>
          <a:spcPct val="90000"/>
        </a:lnSpc>
        <a:spcBef>
          <a:spcPct val="0"/>
        </a:spcBef>
        <a:spcAft>
          <a:spcPct val="0"/>
        </a:spcAft>
        <a:defRPr sz="2800">
          <a:solidFill>
            <a:srgbClr val="005CB9"/>
          </a:solidFill>
          <a:latin typeface="Arial" charset="0"/>
        </a:defRPr>
      </a:lvl6pPr>
      <a:lvl7pPr marL="914400" algn="l" rtl="0" fontAlgn="base">
        <a:lnSpc>
          <a:spcPct val="90000"/>
        </a:lnSpc>
        <a:spcBef>
          <a:spcPct val="0"/>
        </a:spcBef>
        <a:spcAft>
          <a:spcPct val="0"/>
        </a:spcAft>
        <a:defRPr sz="2800">
          <a:solidFill>
            <a:srgbClr val="005CB9"/>
          </a:solidFill>
          <a:latin typeface="Arial" charset="0"/>
        </a:defRPr>
      </a:lvl7pPr>
      <a:lvl8pPr marL="1371600" algn="l" rtl="0" fontAlgn="base">
        <a:lnSpc>
          <a:spcPct val="90000"/>
        </a:lnSpc>
        <a:spcBef>
          <a:spcPct val="0"/>
        </a:spcBef>
        <a:spcAft>
          <a:spcPct val="0"/>
        </a:spcAft>
        <a:defRPr sz="2800">
          <a:solidFill>
            <a:srgbClr val="005CB9"/>
          </a:solidFill>
          <a:latin typeface="Arial" charset="0"/>
        </a:defRPr>
      </a:lvl8pPr>
      <a:lvl9pPr marL="1828800" algn="l" rtl="0" fontAlgn="base">
        <a:lnSpc>
          <a:spcPct val="90000"/>
        </a:lnSpc>
        <a:spcBef>
          <a:spcPct val="0"/>
        </a:spcBef>
        <a:spcAft>
          <a:spcPct val="0"/>
        </a:spcAft>
        <a:defRPr sz="2800">
          <a:solidFill>
            <a:srgbClr val="005CB9"/>
          </a:solidFill>
          <a:latin typeface="Arial" charset="0"/>
        </a:defRPr>
      </a:lvl9pPr>
    </p:titleStyle>
    <p:bodyStyle>
      <a:lvl1pPr algn="l" rtl="0" eaLnBrk="0" fontAlgn="base" hangingPunct="0">
        <a:lnSpc>
          <a:spcPct val="110000"/>
        </a:lnSpc>
        <a:spcBef>
          <a:spcPct val="0"/>
        </a:spcBef>
        <a:spcAft>
          <a:spcPct val="0"/>
        </a:spcAft>
        <a:buFont typeface="Arial" charset="0"/>
        <a:defRPr sz="2000" b="1" kern="1200">
          <a:solidFill>
            <a:srgbClr val="005CB9"/>
          </a:solidFill>
          <a:latin typeface="+mn-lt"/>
          <a:ea typeface="+mn-ea"/>
          <a:cs typeface="+mn-cs"/>
        </a:defRPr>
      </a:lvl1pPr>
      <a:lvl2pPr marL="142875" algn="l" rtl="0" eaLnBrk="0" fontAlgn="base" hangingPunct="0">
        <a:spcBef>
          <a:spcPts val="300"/>
        </a:spcBef>
        <a:spcAft>
          <a:spcPct val="0"/>
        </a:spcAft>
        <a:buFont typeface="Arial" charset="0"/>
        <a:defRPr sz="1600" b="1" kern="1200">
          <a:solidFill>
            <a:schemeClr val="tx2"/>
          </a:solidFill>
          <a:latin typeface="+mn-lt"/>
          <a:ea typeface="+mn-ea"/>
          <a:cs typeface="+mn-cs"/>
        </a:defRPr>
      </a:lvl2pPr>
      <a:lvl3pPr marL="142875" indent="107950" algn="l" rtl="0" eaLnBrk="0" fontAlgn="base" hangingPunct="0">
        <a:spcBef>
          <a:spcPts val="300"/>
        </a:spcBef>
        <a:spcAft>
          <a:spcPct val="0"/>
        </a:spcAft>
        <a:buSzPct val="100000"/>
        <a:buFont typeface="Arial" charset="0"/>
        <a:buChar char="•"/>
        <a:defRPr sz="1400" b="1" kern="1200">
          <a:solidFill>
            <a:schemeClr val="tx2"/>
          </a:solidFill>
          <a:latin typeface="+mn-lt"/>
          <a:ea typeface="+mn-ea"/>
          <a:cs typeface="+mn-cs"/>
        </a:defRPr>
      </a:lvl3pPr>
      <a:lvl4pPr marL="358775" algn="l" rtl="0" eaLnBrk="0" fontAlgn="base" hangingPunct="0">
        <a:spcBef>
          <a:spcPts val="300"/>
        </a:spcBef>
        <a:spcAft>
          <a:spcPct val="0"/>
        </a:spcAft>
        <a:buSzPct val="100000"/>
        <a:buFont typeface="Arial" charset="0"/>
        <a:defRPr sz="1400" kern="1200">
          <a:solidFill>
            <a:schemeClr val="tx2"/>
          </a:solidFill>
          <a:latin typeface="+mn-lt"/>
          <a:ea typeface="+mn-ea"/>
          <a:cs typeface="+mn-cs"/>
        </a:defRPr>
      </a:lvl4pPr>
      <a:lvl5pPr marL="503238" indent="107950" algn="l" rtl="0" eaLnBrk="0" fontAlgn="base" hangingPunct="0">
        <a:spcBef>
          <a:spcPts val="300"/>
        </a:spcBef>
        <a:spcAft>
          <a:spcPct val="0"/>
        </a:spcAft>
        <a:buSzPct val="100000"/>
        <a:buFont typeface="Arial" charset="0"/>
        <a:buChar char="•"/>
        <a:defRPr sz="12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p:custDataLst>
              <p:tags r:id="rId9"/>
            </p:custDataLs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145454" name="think-cell Slide" r:id="rId28" imgW="270" imgH="270" progId="TCLayout.ActiveDocument.1">
                  <p:embed/>
                </p:oleObj>
              </mc:Choice>
              <mc:Fallback>
                <p:oleObj name="think-cell Slide" r:id="rId28" imgW="270" imgH="270" progId="TCLayout.ActiveDocument.1">
                  <p:embed/>
                  <p:pic>
                    <p:nvPicPr>
                      <p:cNvPr id="0" name=""/>
                      <p:cNvPicPr/>
                      <p:nvPr/>
                    </p:nvPicPr>
                    <p:blipFill>
                      <a:blip r:embed="rId29"/>
                      <a:stretch>
                        <a:fillRect/>
                      </a:stretch>
                    </p:blipFill>
                    <p:spPr>
                      <a:xfrm>
                        <a:off x="0" y="0"/>
                        <a:ext cx="161984" cy="161974"/>
                      </a:xfrm>
                      <a:prstGeom prst="rect">
                        <a:avLst/>
                      </a:prstGeom>
                    </p:spPr>
                  </p:pic>
                </p:oleObj>
              </mc:Fallback>
            </mc:AlternateContent>
          </a:graphicData>
        </a:graphic>
      </p:graphicFrame>
      <p:sp>
        <p:nvSpPr>
          <p:cNvPr id="1036" name="Rectangle 286"/>
          <p:cNvSpPr>
            <a:spLocks noGrp="1" noChangeArrowheads="1"/>
          </p:cNvSpPr>
          <p:nvPr>
            <p:ph type="body" idx="1"/>
          </p:nvPr>
        </p:nvSpPr>
        <p:spPr bwMode="auto">
          <a:xfrm>
            <a:off x="2418902" y="2649113"/>
            <a:ext cx="4389768" cy="1256112"/>
          </a:xfrm>
          <a:prstGeom prst="rect">
            <a:avLst/>
          </a:prstGeom>
          <a:noFill/>
          <a:ln w="9525">
            <a:noFill/>
            <a:miter lim="800000"/>
            <a:headEnd/>
            <a:tailEnd/>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9" name="Title Placeholder 2"/>
          <p:cNvSpPr>
            <a:spLocks noGrp="1" noChangeArrowheads="1"/>
          </p:cNvSpPr>
          <p:nvPr>
            <p:ph type="title"/>
          </p:nvPr>
        </p:nvSpPr>
        <p:spPr bwMode="auto">
          <a:xfrm>
            <a:off x="270186" y="447878"/>
            <a:ext cx="8603629" cy="307777"/>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2"/>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lvl="0"/>
            <a:r>
              <a:rPr lang="en-US" noProof="0"/>
              <a:t>Click to edit Master title style</a:t>
            </a:r>
          </a:p>
        </p:txBody>
      </p:sp>
      <p:sp>
        <p:nvSpPr>
          <p:cNvPr id="10" name="McK 1. On-page tracker" hidden="1"/>
          <p:cNvSpPr>
            <a:spLocks noChangeArrowheads="1"/>
          </p:cNvSpPr>
          <p:nvPr/>
        </p:nvSpPr>
        <p:spPr bwMode="auto">
          <a:xfrm>
            <a:off x="270186" y="-1025"/>
            <a:ext cx="734175" cy="18466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pPr>
            <a:r>
              <a:rPr lang="en-US" sz="1200">
                <a:solidFill>
                  <a:srgbClr val="808080"/>
                </a:solidFill>
                <a:cs typeface="Arial" charset="0"/>
              </a:rPr>
              <a:t>TRACKER</a:t>
            </a:r>
          </a:p>
        </p:txBody>
      </p:sp>
      <p:sp>
        <p:nvSpPr>
          <p:cNvPr id="11" name="McK 3. Unit of measure" hidden="1"/>
          <p:cNvSpPr txBox="1">
            <a:spLocks noChangeArrowheads="1"/>
          </p:cNvSpPr>
          <p:nvPr/>
        </p:nvSpPr>
        <p:spPr bwMode="auto">
          <a:xfrm>
            <a:off x="270186" y="847206"/>
            <a:ext cx="8603629" cy="246221"/>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00">
                <a:solidFill>
                  <a:srgbClr val="808080"/>
                </a:solidFill>
                <a:latin typeface="Arial"/>
                <a:cs typeface="Arial" charset="0"/>
              </a:rPr>
              <a:t>Unit of measure</a:t>
            </a:r>
          </a:p>
        </p:txBody>
      </p:sp>
      <p:grpSp>
        <p:nvGrpSpPr>
          <p:cNvPr id="3" name="Slide Elements" hidden="1"/>
          <p:cNvGrpSpPr/>
          <p:nvPr/>
        </p:nvGrpSpPr>
        <p:grpSpPr bwMode="auto">
          <a:xfrm>
            <a:off x="270187" y="6324036"/>
            <a:ext cx="7140264" cy="362698"/>
            <a:chOff x="121488" y="6358440"/>
            <a:chExt cx="8794113" cy="362698"/>
          </a:xfrm>
        </p:grpSpPr>
        <p:sp>
          <p:nvSpPr>
            <p:cNvPr id="13" name="4. Footnote"/>
            <p:cNvSpPr txBox="1">
              <a:spLocks noChangeArrowheads="1"/>
            </p:cNvSpPr>
            <p:nvPr/>
          </p:nvSpPr>
          <p:spPr bwMode="auto">
            <a:xfrm>
              <a:off x="121488" y="6358440"/>
              <a:ext cx="8794113" cy="153888"/>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00">
                  <a:solidFill>
                    <a:srgbClr val="000000"/>
                  </a:solidFill>
                  <a:latin typeface="Arial"/>
                  <a:cs typeface="Arial" charset="0"/>
                </a:rPr>
                <a:t>1 Footnote</a:t>
              </a:r>
            </a:p>
          </p:txBody>
        </p:sp>
        <p:sp>
          <p:nvSpPr>
            <p:cNvPr id="14" name="5. Source"/>
            <p:cNvSpPr>
              <a:spLocks noChangeArrowheads="1"/>
            </p:cNvSpPr>
            <p:nvPr/>
          </p:nvSpPr>
          <p:spPr bwMode="auto">
            <a:xfrm>
              <a:off x="121488" y="6567250"/>
              <a:ext cx="8794112" cy="153888"/>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p>
              <a:pPr marL="469900" indent="-469900" defTabSz="913526" fontAlgn="base">
                <a:spcBef>
                  <a:spcPct val="0"/>
                </a:spcBef>
                <a:spcAft>
                  <a:spcPct val="0"/>
                </a:spcAft>
                <a:tabLst>
                  <a:tab pos="474663" algn="l"/>
                </a:tabLst>
              </a:pPr>
              <a:r>
                <a:rPr lang="en-US" sz="1000">
                  <a:solidFill>
                    <a:srgbClr val="000000"/>
                  </a:solidFill>
                  <a:cs typeface="Arial" charset="0"/>
                </a:rPr>
                <a:t>Source: Source</a:t>
              </a:r>
            </a:p>
          </p:txBody>
        </p:sp>
      </p:grpSp>
      <p:grpSp>
        <p:nvGrpSpPr>
          <p:cNvPr id="15" name="ACET" hidden="1"/>
          <p:cNvGrpSpPr>
            <a:grpSpLocks/>
          </p:cNvGrpSpPr>
          <p:nvPr/>
        </p:nvGrpSpPr>
        <p:grpSpPr bwMode="auto">
          <a:xfrm>
            <a:off x="2418902" y="2089064"/>
            <a:ext cx="4389768" cy="518318"/>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fontAlgn="base">
                <a:spcBef>
                  <a:spcPct val="0"/>
                </a:spcBef>
                <a:spcAft>
                  <a:spcPct val="0"/>
                </a:spcAft>
              </a:pPr>
              <a:r>
                <a:rPr lang="en-US" sz="1600" b="1">
                  <a:solidFill>
                    <a:srgbClr val="000000"/>
                  </a:solidFill>
                  <a:cs typeface="Arial" charset="0"/>
                </a:rPr>
                <a:t>Title</a:t>
              </a:r>
            </a:p>
            <a:p>
              <a:pPr fontAlgn="base">
                <a:spcBef>
                  <a:spcPct val="0"/>
                </a:spcBef>
                <a:spcAft>
                  <a:spcPct val="0"/>
                </a:spcAft>
              </a:pPr>
              <a:r>
                <a:rPr lang="en-US" sz="1600">
                  <a:solidFill>
                    <a:srgbClr val="808080"/>
                  </a:solidFill>
                  <a:cs typeface="Arial" charset="0"/>
                </a:rPr>
                <a:t>Unit of measure</a:t>
              </a:r>
            </a:p>
          </p:txBody>
        </p:sp>
      </p:grpSp>
      <p:grpSp>
        <p:nvGrpSpPr>
          <p:cNvPr id="24" name="LegendBoxes" hidden="1"/>
          <p:cNvGrpSpPr>
            <a:grpSpLocks/>
          </p:cNvGrpSpPr>
          <p:nvPr/>
        </p:nvGrpSpPr>
        <p:grpSpPr bwMode="auto">
          <a:xfrm>
            <a:off x="8110227" y="489174"/>
            <a:ext cx="763588" cy="996951"/>
            <a:chOff x="4936" y="176"/>
            <a:chExt cx="481" cy="628"/>
          </a:xfrm>
        </p:grpSpPr>
        <p:sp>
          <p:nvSpPr>
            <p:cNvPr id="25" name="Legend1"/>
            <p:cNvSpPr>
              <a:spLocks noChangeArrowheads="1"/>
            </p:cNvSpPr>
            <p:nvPr/>
          </p:nvSpPr>
          <p:spPr bwMode="auto">
            <a:xfrm>
              <a:off x="5096" y="176"/>
              <a:ext cx="32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95D600"/>
                </a:buClr>
              </a:pPr>
              <a:r>
                <a:rPr lang="en-US" sz="1200">
                  <a:solidFill>
                    <a:srgbClr val="000000"/>
                  </a:solidFill>
                  <a:cs typeface="Arial" charset="0"/>
                </a:rPr>
                <a:t>Legend</a:t>
              </a:r>
            </a:p>
          </p:txBody>
        </p:sp>
        <p:sp>
          <p:nvSpPr>
            <p:cNvPr id="26"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cs typeface="Arial" charset="0"/>
              </a:endParaRPr>
            </a:p>
          </p:txBody>
        </p:sp>
        <p:sp>
          <p:nvSpPr>
            <p:cNvPr id="27" name="Legend2"/>
            <p:cNvSpPr>
              <a:spLocks noChangeArrowheads="1"/>
            </p:cNvSpPr>
            <p:nvPr/>
          </p:nvSpPr>
          <p:spPr bwMode="auto">
            <a:xfrm>
              <a:off x="5096" y="346"/>
              <a:ext cx="32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95D600"/>
                </a:buClr>
              </a:pPr>
              <a:r>
                <a:rPr lang="en-US" sz="1200">
                  <a:solidFill>
                    <a:srgbClr val="000000"/>
                  </a:solidFill>
                  <a:cs typeface="Arial" charset="0"/>
                </a:rPr>
                <a:t>Legend</a:t>
              </a:r>
            </a:p>
          </p:txBody>
        </p:sp>
        <p:sp>
          <p:nvSpPr>
            <p:cNvPr id="28"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cs typeface="Arial" charset="0"/>
              </a:endParaRPr>
            </a:p>
          </p:txBody>
        </p:sp>
        <p:sp>
          <p:nvSpPr>
            <p:cNvPr id="29" name="Legend3"/>
            <p:cNvSpPr>
              <a:spLocks noChangeArrowheads="1"/>
            </p:cNvSpPr>
            <p:nvPr/>
          </p:nvSpPr>
          <p:spPr bwMode="auto">
            <a:xfrm>
              <a:off x="5096" y="517"/>
              <a:ext cx="32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95D600"/>
                </a:buClr>
              </a:pPr>
              <a:r>
                <a:rPr lang="en-US" sz="1200">
                  <a:solidFill>
                    <a:srgbClr val="000000"/>
                  </a:solidFill>
                  <a:cs typeface="Arial" charset="0"/>
                </a:rPr>
                <a:t>Legend</a:t>
              </a:r>
            </a:p>
          </p:txBody>
        </p:sp>
        <p:sp>
          <p:nvSpPr>
            <p:cNvPr id="30"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cs typeface="Arial" charset="0"/>
              </a:endParaRPr>
            </a:p>
          </p:txBody>
        </p:sp>
        <p:sp>
          <p:nvSpPr>
            <p:cNvPr id="31" name="Legend4"/>
            <p:cNvSpPr>
              <a:spLocks noChangeArrowheads="1"/>
            </p:cNvSpPr>
            <p:nvPr/>
          </p:nvSpPr>
          <p:spPr bwMode="auto">
            <a:xfrm>
              <a:off x="5096" y="688"/>
              <a:ext cx="32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95D600"/>
                </a:buClr>
              </a:pPr>
              <a:r>
                <a:rPr lang="en-US" sz="1200">
                  <a:solidFill>
                    <a:srgbClr val="000000"/>
                  </a:solidFill>
                  <a:cs typeface="Arial" charset="0"/>
                </a:rPr>
                <a:t>Legend</a:t>
              </a:r>
            </a:p>
          </p:txBody>
        </p:sp>
        <p:sp>
          <p:nvSpPr>
            <p:cNvPr id="32"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cs typeface="Arial" charset="0"/>
              </a:endParaRPr>
            </a:p>
          </p:txBody>
        </p:sp>
      </p:grpSp>
      <p:grpSp>
        <p:nvGrpSpPr>
          <p:cNvPr id="33" name="LegendLines" hidden="1"/>
          <p:cNvGrpSpPr>
            <a:grpSpLocks/>
          </p:cNvGrpSpPr>
          <p:nvPr/>
        </p:nvGrpSpPr>
        <p:grpSpPr bwMode="auto">
          <a:xfrm>
            <a:off x="7802252" y="489174"/>
            <a:ext cx="1071563" cy="730251"/>
            <a:chOff x="4750" y="176"/>
            <a:chExt cx="675" cy="460"/>
          </a:xfrm>
        </p:grpSpPr>
        <p:sp>
          <p:nvSpPr>
            <p:cNvPr id="34"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a:solidFill>
                  <a:srgbClr val="000000"/>
                </a:solidFill>
                <a:cs typeface="Arial" charset="0"/>
              </a:endParaRPr>
            </a:p>
          </p:txBody>
        </p:sp>
        <p:sp>
          <p:nvSpPr>
            <p:cNvPr id="35"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a:solidFill>
                  <a:srgbClr val="000000"/>
                </a:solidFill>
                <a:cs typeface="Arial" charset="0"/>
              </a:endParaRPr>
            </a:p>
          </p:txBody>
        </p:sp>
        <p:sp>
          <p:nvSpPr>
            <p:cNvPr id="36"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a:solidFill>
                  <a:srgbClr val="000000"/>
                </a:solidFill>
                <a:cs typeface="Arial" charset="0"/>
              </a:endParaRPr>
            </a:p>
          </p:txBody>
        </p:sp>
        <p:sp>
          <p:nvSpPr>
            <p:cNvPr id="37" name="Legend1"/>
            <p:cNvSpPr>
              <a:spLocks noChangeArrowheads="1"/>
            </p:cNvSpPr>
            <p:nvPr/>
          </p:nvSpPr>
          <p:spPr bwMode="auto">
            <a:xfrm>
              <a:off x="5104" y="176"/>
              <a:ext cx="32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95D600"/>
                </a:buClr>
              </a:pPr>
              <a:r>
                <a:rPr lang="en-US" sz="1200">
                  <a:solidFill>
                    <a:srgbClr val="000000"/>
                  </a:solidFill>
                  <a:cs typeface="Arial" charset="0"/>
                </a:rPr>
                <a:t>Legend</a:t>
              </a:r>
            </a:p>
          </p:txBody>
        </p:sp>
        <p:sp>
          <p:nvSpPr>
            <p:cNvPr id="38" name="Legend2"/>
            <p:cNvSpPr>
              <a:spLocks noChangeArrowheads="1"/>
            </p:cNvSpPr>
            <p:nvPr/>
          </p:nvSpPr>
          <p:spPr bwMode="auto">
            <a:xfrm>
              <a:off x="5104" y="344"/>
              <a:ext cx="32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95D600"/>
                </a:buClr>
              </a:pPr>
              <a:r>
                <a:rPr lang="en-US" sz="1200">
                  <a:solidFill>
                    <a:srgbClr val="000000"/>
                  </a:solidFill>
                  <a:cs typeface="Arial" charset="0"/>
                </a:rPr>
                <a:t>Legend</a:t>
              </a:r>
            </a:p>
          </p:txBody>
        </p:sp>
        <p:sp>
          <p:nvSpPr>
            <p:cNvPr id="39" name="Legend3"/>
            <p:cNvSpPr>
              <a:spLocks noChangeArrowheads="1"/>
            </p:cNvSpPr>
            <p:nvPr/>
          </p:nvSpPr>
          <p:spPr bwMode="auto">
            <a:xfrm>
              <a:off x="5104" y="520"/>
              <a:ext cx="32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95D600"/>
                </a:buClr>
              </a:pPr>
              <a:r>
                <a:rPr lang="en-US" sz="1200">
                  <a:solidFill>
                    <a:srgbClr val="000000"/>
                  </a:solidFill>
                  <a:cs typeface="Arial" charset="0"/>
                </a:rPr>
                <a:t>Legend</a:t>
              </a:r>
            </a:p>
          </p:txBody>
        </p:sp>
      </p:grpSp>
      <p:grpSp>
        <p:nvGrpSpPr>
          <p:cNvPr id="40" name="McKSticker" hidden="1"/>
          <p:cNvGrpSpPr/>
          <p:nvPr/>
        </p:nvGrpSpPr>
        <p:grpSpPr bwMode="auto">
          <a:xfrm>
            <a:off x="7806920" y="489174"/>
            <a:ext cx="1066895" cy="212366"/>
            <a:chOff x="7673880" y="285750"/>
            <a:chExt cx="1066895" cy="212366"/>
          </a:xfrm>
        </p:grpSpPr>
        <p:sp>
          <p:nvSpPr>
            <p:cNvPr id="41" name="StickerRectangle"/>
            <p:cNvSpPr>
              <a:spLocks noChangeArrowheads="1"/>
            </p:cNvSpPr>
            <p:nvPr/>
          </p:nvSpPr>
          <p:spPr bwMode="auto">
            <a:xfrm>
              <a:off x="7673880" y="285750"/>
              <a:ext cx="1066895" cy="212366"/>
            </a:xfrm>
            <a:prstGeom prst="leftRightArrow">
              <a:avLst>
                <a:gd name="adj1" fmla="val 100000"/>
                <a:gd name="adj2" fmla="val 0"/>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fontAlgn="base">
                <a:spcBef>
                  <a:spcPct val="0"/>
                </a:spcBef>
                <a:spcAft>
                  <a:spcPct val="0"/>
                </a:spcAft>
                <a:buClr>
                  <a:srgbClr val="95D600"/>
                </a:buClr>
              </a:pPr>
              <a:r>
                <a:rPr lang="en-US" sz="1200">
                  <a:solidFill>
                    <a:srgbClr val="808080"/>
                  </a:solidFill>
                  <a:cs typeface="Arial" charset="0"/>
                </a:rPr>
                <a:t>PRELIMINARY</a:t>
              </a:r>
            </a:p>
          </p:txBody>
        </p:sp>
        <p:cxnSp>
          <p:nvCxnSpPr>
            <p:cNvPr id="42" name="AutoShape 31"/>
            <p:cNvCxnSpPr>
              <a:cxnSpLocks noChangeShapeType="1"/>
              <a:stCxn id="41" idx="2"/>
              <a:endCxn id="41" idx="4"/>
            </p:cNvCxnSpPr>
            <p:nvPr/>
          </p:nvCxnSpPr>
          <p:spPr bwMode="auto">
            <a:xfrm>
              <a:off x="7673880" y="285750"/>
              <a:ext cx="0" cy="212366"/>
            </a:xfrm>
            <a:prstGeom prst="straightConnector1">
              <a:avLst/>
            </a:prstGeom>
            <a:noFill/>
            <a:ln w="9525">
              <a:solidFill>
                <a:srgbClr val="808080"/>
              </a:solidFill>
              <a:round/>
              <a:headEnd/>
              <a:tailEnd/>
            </a:ln>
            <a:extLst>
              <a:ext uri="{909E8E84-426E-40dd-AFC4-6F175D3DCCD1}">
                <a14:hiddenFill xmlns="" xmlns:a14="http://schemas.microsoft.com/office/drawing/2010/main">
                  <a:noFill/>
                </a14:hiddenFill>
              </a:ext>
            </a:extLst>
          </p:spPr>
        </p:cxnSp>
        <p:cxnSp>
          <p:nvCxnSpPr>
            <p:cNvPr id="43" name="AutoShape 32"/>
            <p:cNvCxnSpPr>
              <a:cxnSpLocks noChangeShapeType="1"/>
              <a:stCxn id="41" idx="4"/>
              <a:endCxn id="41" idx="6"/>
            </p:cNvCxnSpPr>
            <p:nvPr/>
          </p:nvCxnSpPr>
          <p:spPr bwMode="auto">
            <a:xfrm>
              <a:off x="7673880" y="498116"/>
              <a:ext cx="1066895" cy="0"/>
            </a:xfrm>
            <a:prstGeom prst="straightConnector1">
              <a:avLst/>
            </a:prstGeom>
            <a:noFill/>
            <a:ln w="25400">
              <a:solidFill>
                <a:srgbClr val="808080"/>
              </a:solidFill>
              <a:round/>
              <a:headEnd/>
              <a:tailEnd/>
            </a:ln>
            <a:extLst>
              <a:ext uri="{909E8E84-426E-40dd-AFC4-6F175D3DCCD1}">
                <a14:hiddenFill xmlns="" xmlns:a14="http://schemas.microsoft.com/office/drawing/2010/main">
                  <a:noFill/>
                </a14:hiddenFill>
              </a:ext>
            </a:extLst>
          </p:spPr>
        </p:cxnSp>
      </p:grpSp>
      <p:grpSp>
        <p:nvGrpSpPr>
          <p:cNvPr id="44" name="LegendMoons" hidden="1"/>
          <p:cNvGrpSpPr/>
          <p:nvPr/>
        </p:nvGrpSpPr>
        <p:grpSpPr bwMode="auto">
          <a:xfrm>
            <a:off x="8043385" y="489174"/>
            <a:ext cx="830430" cy="1306516"/>
            <a:chOff x="6655594" y="273840"/>
            <a:chExt cx="830430" cy="1306516"/>
          </a:xfrm>
        </p:grpSpPr>
        <p:grpSp>
          <p:nvGrpSpPr>
            <p:cNvPr id="45" name="MoonLegend1"/>
            <p:cNvGrpSpPr>
              <a:grpSpLocks noChangeAspect="1"/>
            </p:cNvGrpSpPr>
            <p:nvPr>
              <p:custDataLst>
                <p:tags r:id="rId13"/>
              </p:custDataLst>
            </p:nvPr>
          </p:nvGrpSpPr>
          <p:grpSpPr bwMode="auto">
            <a:xfrm>
              <a:off x="6655594" y="273840"/>
              <a:ext cx="209550" cy="209551"/>
              <a:chOff x="4533" y="183"/>
              <a:chExt cx="144" cy="144"/>
            </a:xfrm>
          </p:grpSpPr>
          <p:sp>
            <p:nvSpPr>
              <p:cNvPr id="63" name="Oval 38"/>
              <p:cNvSpPr>
                <a:spLocks noChangeAspect="1" noChangeArrowheads="1"/>
              </p:cNvSpPr>
              <p:nvPr>
                <p:custDataLst>
                  <p:tags r:id="rId26"/>
                </p:custDataLst>
              </p:nvPr>
            </p:nvSpPr>
            <p:spPr bwMode="auto">
              <a:xfrm>
                <a:off x="4533" y="183"/>
                <a:ext cx="144" cy="144"/>
              </a:xfrm>
              <a:prstGeom prst="ellipse">
                <a:avLst/>
              </a:prstGeom>
              <a:solidFill>
                <a:schemeClr val="bg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cs typeface="Arial" charset="0"/>
                </a:endParaRPr>
              </a:p>
            </p:txBody>
          </p:sp>
          <p:sp>
            <p:nvSpPr>
              <p:cNvPr id="64" name="Arc 39"/>
              <p:cNvSpPr>
                <a:spLocks noChangeAspect="1"/>
              </p:cNvSpPr>
              <p:nvPr>
                <p:custDataLst>
                  <p:tags r:id="rId27"/>
                </p:custDataLst>
              </p:nvPr>
            </p:nvSpPr>
            <p:spPr bwMode="auto">
              <a:xfrm>
                <a:off x="4533" y="183"/>
                <a:ext cx="144" cy="144"/>
              </a:xfrm>
              <a:prstGeom prst="arc">
                <a:avLst>
                  <a:gd name="adj1" fmla="val 16200000"/>
                  <a:gd name="adj2" fmla="val 5400000"/>
                </a:avLst>
              </a:prstGeom>
              <a:solidFill>
                <a:schemeClr val="accent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cs typeface="Arial" charset="0"/>
                </a:endParaRPr>
              </a:p>
            </p:txBody>
          </p:sp>
        </p:grpSp>
        <p:grpSp>
          <p:nvGrpSpPr>
            <p:cNvPr id="46" name="MoonLegend2"/>
            <p:cNvGrpSpPr>
              <a:grpSpLocks noChangeAspect="1"/>
            </p:cNvGrpSpPr>
            <p:nvPr>
              <p:custDataLst>
                <p:tags r:id="rId14"/>
              </p:custDataLst>
            </p:nvPr>
          </p:nvGrpSpPr>
          <p:grpSpPr bwMode="auto">
            <a:xfrm>
              <a:off x="6655594" y="548081"/>
              <a:ext cx="209550" cy="209551"/>
              <a:chOff x="1694" y="2044"/>
              <a:chExt cx="160" cy="160"/>
            </a:xfrm>
          </p:grpSpPr>
          <p:sp>
            <p:nvSpPr>
              <p:cNvPr id="61" name="Oval 41"/>
              <p:cNvSpPr>
                <a:spLocks noChangeAspect="1" noChangeArrowheads="1"/>
              </p:cNvSpPr>
              <p:nvPr>
                <p:custDataLst>
                  <p:tags r:id="rId24"/>
                </p:custDataLst>
              </p:nvPr>
            </p:nvSpPr>
            <p:spPr bwMode="auto">
              <a:xfrm>
                <a:off x="1694" y="2044"/>
                <a:ext cx="160" cy="160"/>
              </a:xfrm>
              <a:prstGeom prst="ellipse">
                <a:avLst/>
              </a:prstGeom>
              <a:solidFill>
                <a:schemeClr val="bg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cs typeface="Arial" charset="0"/>
                </a:endParaRPr>
              </a:p>
            </p:txBody>
          </p:sp>
          <p:sp>
            <p:nvSpPr>
              <p:cNvPr id="62" name="Arc 42"/>
              <p:cNvSpPr>
                <a:spLocks noChangeAspect="1"/>
              </p:cNvSpPr>
              <p:nvPr>
                <p:custDataLst>
                  <p:tags r:id="rId25"/>
                </p:custDataLst>
              </p:nvPr>
            </p:nvSpPr>
            <p:spPr bwMode="auto">
              <a:xfrm>
                <a:off x="1694" y="2044"/>
                <a:ext cx="160" cy="160"/>
              </a:xfrm>
              <a:prstGeom prst="arc">
                <a:avLst/>
              </a:prstGeom>
              <a:solidFill>
                <a:schemeClr val="accent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cs typeface="Arial" charset="0"/>
                </a:endParaRPr>
              </a:p>
            </p:txBody>
          </p:sp>
        </p:grpSp>
        <p:grpSp>
          <p:nvGrpSpPr>
            <p:cNvPr id="47" name="MoonLegend4"/>
            <p:cNvGrpSpPr>
              <a:grpSpLocks noChangeAspect="1"/>
            </p:cNvGrpSpPr>
            <p:nvPr>
              <p:custDataLst>
                <p:tags r:id="rId15"/>
              </p:custDataLst>
            </p:nvPr>
          </p:nvGrpSpPr>
          <p:grpSpPr bwMode="auto">
            <a:xfrm>
              <a:off x="6655594" y="1096563"/>
              <a:ext cx="209550" cy="209551"/>
              <a:chOff x="4495" y="1198"/>
              <a:chExt cx="160" cy="160"/>
            </a:xfrm>
          </p:grpSpPr>
          <p:sp>
            <p:nvSpPr>
              <p:cNvPr id="59" name="Oval 47"/>
              <p:cNvSpPr>
                <a:spLocks noChangeAspect="1" noChangeArrowheads="1"/>
              </p:cNvSpPr>
              <p:nvPr>
                <p:custDataLst>
                  <p:tags r:id="rId22"/>
                </p:custDataLst>
              </p:nvPr>
            </p:nvSpPr>
            <p:spPr bwMode="auto">
              <a:xfrm>
                <a:off x="4495" y="1198"/>
                <a:ext cx="160" cy="160"/>
              </a:xfrm>
              <a:prstGeom prst="ellipse">
                <a:avLst/>
              </a:prstGeom>
              <a:solidFill>
                <a:schemeClr val="bg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cs typeface="Arial" charset="0"/>
                </a:endParaRPr>
              </a:p>
            </p:txBody>
          </p:sp>
          <p:sp>
            <p:nvSpPr>
              <p:cNvPr id="60" name="Arc 48"/>
              <p:cNvSpPr>
                <a:spLocks noChangeAspect="1"/>
              </p:cNvSpPr>
              <p:nvPr>
                <p:custDataLst>
                  <p:tags r:id="rId23"/>
                </p:custDataLst>
              </p:nvPr>
            </p:nvSpPr>
            <p:spPr bwMode="auto">
              <a:xfrm>
                <a:off x="4495" y="1198"/>
                <a:ext cx="160" cy="160"/>
              </a:xfrm>
              <a:prstGeom prst="arc">
                <a:avLst>
                  <a:gd name="adj1" fmla="val 16200000"/>
                  <a:gd name="adj2" fmla="val 10800000"/>
                </a:avLst>
              </a:prstGeom>
              <a:solidFill>
                <a:schemeClr val="accent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cs typeface="Arial" charset="0"/>
                </a:endParaRPr>
              </a:p>
            </p:txBody>
          </p:sp>
        </p:grpSp>
        <p:grpSp>
          <p:nvGrpSpPr>
            <p:cNvPr id="48" name="MoonLegend5"/>
            <p:cNvGrpSpPr>
              <a:grpSpLocks noChangeAspect="1"/>
            </p:cNvGrpSpPr>
            <p:nvPr>
              <p:custDataLst>
                <p:tags r:id="rId16"/>
              </p:custDataLst>
            </p:nvPr>
          </p:nvGrpSpPr>
          <p:grpSpPr bwMode="auto">
            <a:xfrm>
              <a:off x="6655594" y="1370805"/>
              <a:ext cx="209550" cy="209551"/>
              <a:chOff x="4495" y="1440"/>
              <a:chExt cx="160" cy="160"/>
            </a:xfrm>
          </p:grpSpPr>
          <p:sp>
            <p:nvSpPr>
              <p:cNvPr id="57" name="Oval 50"/>
              <p:cNvSpPr>
                <a:spLocks noChangeAspect="1" noChangeArrowheads="1"/>
              </p:cNvSpPr>
              <p:nvPr>
                <p:custDataLst>
                  <p:tags r:id="rId20"/>
                </p:custDataLst>
              </p:nvPr>
            </p:nvSpPr>
            <p:spPr bwMode="auto">
              <a:xfrm>
                <a:off x="4495" y="1440"/>
                <a:ext cx="160" cy="160"/>
              </a:xfrm>
              <a:prstGeom prst="ellipse">
                <a:avLst/>
              </a:prstGeom>
              <a:solidFill>
                <a:schemeClr val="bg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cs typeface="Arial" charset="0"/>
                </a:endParaRPr>
              </a:p>
            </p:txBody>
          </p:sp>
          <p:sp>
            <p:nvSpPr>
              <p:cNvPr id="58" name="Oval 51"/>
              <p:cNvSpPr>
                <a:spLocks noChangeAspect="1" noChangeArrowheads="1"/>
              </p:cNvSpPr>
              <p:nvPr>
                <p:custDataLst>
                  <p:tags r:id="rId21"/>
                </p:custDataLst>
              </p:nvPr>
            </p:nvSpPr>
            <p:spPr bwMode="auto">
              <a:xfrm>
                <a:off x="4495" y="1440"/>
                <a:ext cx="160" cy="160"/>
              </a:xfrm>
              <a:prstGeom prst="arc">
                <a:avLst>
                  <a:gd name="adj1" fmla="val 16200000"/>
                  <a:gd name="adj2" fmla="val 16200000"/>
                </a:avLst>
              </a:prstGeom>
              <a:solidFill>
                <a:schemeClr val="accent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cs typeface="Arial" charset="0"/>
                </a:endParaRPr>
              </a:p>
            </p:txBody>
          </p:sp>
        </p:grpSp>
        <p:sp>
          <p:nvSpPr>
            <p:cNvPr id="49" name="Legend1"/>
            <p:cNvSpPr>
              <a:spLocks noChangeArrowheads="1"/>
            </p:cNvSpPr>
            <p:nvPr/>
          </p:nvSpPr>
          <p:spPr bwMode="auto">
            <a:xfrm>
              <a:off x="6976269" y="286540"/>
              <a:ext cx="509755" cy="18466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95D600"/>
                </a:buClr>
              </a:pPr>
              <a:r>
                <a:rPr lang="en-US" sz="1200">
                  <a:solidFill>
                    <a:srgbClr val="000000"/>
                  </a:solidFill>
                  <a:cs typeface="Arial" charset="0"/>
                </a:rPr>
                <a:t>Legend</a:t>
              </a:r>
            </a:p>
          </p:txBody>
        </p:sp>
        <p:sp>
          <p:nvSpPr>
            <p:cNvPr id="50" name="Legend2"/>
            <p:cNvSpPr>
              <a:spLocks noChangeArrowheads="1"/>
            </p:cNvSpPr>
            <p:nvPr/>
          </p:nvSpPr>
          <p:spPr bwMode="auto">
            <a:xfrm>
              <a:off x="6976269" y="561178"/>
              <a:ext cx="509755" cy="18466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95D600"/>
                </a:buClr>
              </a:pPr>
              <a:r>
                <a:rPr lang="en-US" sz="1200">
                  <a:solidFill>
                    <a:srgbClr val="000000"/>
                  </a:solidFill>
                  <a:cs typeface="Arial" charset="0"/>
                </a:rPr>
                <a:t>Legend</a:t>
              </a:r>
            </a:p>
          </p:txBody>
        </p:sp>
        <p:sp>
          <p:nvSpPr>
            <p:cNvPr id="51" name="Legend3"/>
            <p:cNvSpPr>
              <a:spLocks noChangeArrowheads="1"/>
            </p:cNvSpPr>
            <p:nvPr/>
          </p:nvSpPr>
          <p:spPr bwMode="auto">
            <a:xfrm>
              <a:off x="6976269" y="835817"/>
              <a:ext cx="509755" cy="18466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95D600"/>
                </a:buClr>
              </a:pPr>
              <a:r>
                <a:rPr lang="en-US" sz="1200">
                  <a:solidFill>
                    <a:srgbClr val="000000"/>
                  </a:solidFill>
                  <a:cs typeface="Arial" charset="0"/>
                </a:rPr>
                <a:t>Legend</a:t>
              </a:r>
            </a:p>
          </p:txBody>
        </p:sp>
        <p:sp>
          <p:nvSpPr>
            <p:cNvPr id="52" name="Legend4"/>
            <p:cNvSpPr>
              <a:spLocks noChangeArrowheads="1"/>
            </p:cNvSpPr>
            <p:nvPr/>
          </p:nvSpPr>
          <p:spPr bwMode="auto">
            <a:xfrm>
              <a:off x="6976269" y="1107280"/>
              <a:ext cx="509755" cy="18466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95D600"/>
                </a:buClr>
              </a:pPr>
              <a:r>
                <a:rPr lang="en-US" sz="1200">
                  <a:solidFill>
                    <a:srgbClr val="000000"/>
                  </a:solidFill>
                  <a:cs typeface="Arial" charset="0"/>
                </a:rPr>
                <a:t>Legend</a:t>
              </a:r>
            </a:p>
          </p:txBody>
        </p:sp>
        <p:sp>
          <p:nvSpPr>
            <p:cNvPr id="53" name="Legend5"/>
            <p:cNvSpPr>
              <a:spLocks noChangeArrowheads="1"/>
            </p:cNvSpPr>
            <p:nvPr/>
          </p:nvSpPr>
          <p:spPr bwMode="auto">
            <a:xfrm>
              <a:off x="6976269" y="1383505"/>
              <a:ext cx="509755" cy="18466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95D600"/>
                </a:buClr>
              </a:pPr>
              <a:r>
                <a:rPr lang="en-US" sz="1200">
                  <a:solidFill>
                    <a:srgbClr val="000000"/>
                  </a:solidFill>
                  <a:cs typeface="Arial" charset="0"/>
                </a:rPr>
                <a:t>Legend</a:t>
              </a:r>
            </a:p>
          </p:txBody>
        </p:sp>
        <p:grpSp>
          <p:nvGrpSpPr>
            <p:cNvPr id="54" name="MoonLegend3"/>
            <p:cNvGrpSpPr>
              <a:grpSpLocks noChangeAspect="1"/>
            </p:cNvGrpSpPr>
            <p:nvPr>
              <p:custDataLst>
                <p:tags r:id="rId17"/>
              </p:custDataLst>
            </p:nvPr>
          </p:nvGrpSpPr>
          <p:grpSpPr bwMode="auto">
            <a:xfrm>
              <a:off x="6655594" y="822322"/>
              <a:ext cx="209550" cy="209551"/>
              <a:chOff x="4495" y="1198"/>
              <a:chExt cx="160" cy="160"/>
            </a:xfrm>
          </p:grpSpPr>
          <p:sp>
            <p:nvSpPr>
              <p:cNvPr id="55" name="Oval 47"/>
              <p:cNvSpPr>
                <a:spLocks noChangeAspect="1" noChangeArrowheads="1"/>
              </p:cNvSpPr>
              <p:nvPr>
                <p:custDataLst>
                  <p:tags r:id="rId18"/>
                </p:custDataLst>
              </p:nvPr>
            </p:nvSpPr>
            <p:spPr bwMode="auto">
              <a:xfrm>
                <a:off x="4495" y="1198"/>
                <a:ext cx="160" cy="160"/>
              </a:xfrm>
              <a:prstGeom prst="ellipse">
                <a:avLst/>
              </a:prstGeom>
              <a:solidFill>
                <a:schemeClr val="bg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cs typeface="Arial" charset="0"/>
                </a:endParaRPr>
              </a:p>
            </p:txBody>
          </p:sp>
          <p:sp>
            <p:nvSpPr>
              <p:cNvPr id="56" name="Arc 48"/>
              <p:cNvSpPr>
                <a:spLocks noChangeAspect="1"/>
              </p:cNvSpPr>
              <p:nvPr>
                <p:custDataLst>
                  <p:tags r:id="rId19"/>
                </p:custDataLst>
              </p:nvPr>
            </p:nvSpPr>
            <p:spPr bwMode="auto">
              <a:xfrm>
                <a:off x="4495" y="1198"/>
                <a:ext cx="160" cy="160"/>
              </a:xfrm>
              <a:prstGeom prst="arc">
                <a:avLst>
                  <a:gd name="adj1" fmla="val 16200000"/>
                  <a:gd name="adj2" fmla="val 5400000"/>
                </a:avLst>
              </a:prstGeom>
              <a:solidFill>
                <a:schemeClr val="accent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cs typeface="Arial" charset="0"/>
                </a:endParaRPr>
              </a:p>
            </p:txBody>
          </p:sp>
        </p:grpSp>
      </p:grpSp>
      <p:sp>
        <p:nvSpPr>
          <p:cNvPr id="66" name="Slide Number"/>
          <p:cNvSpPr txBox="1">
            <a:spLocks/>
          </p:cNvSpPr>
          <p:nvPr/>
        </p:nvSpPr>
        <p:spPr bwMode="auto">
          <a:xfrm>
            <a:off x="8836533" y="6548235"/>
            <a:ext cx="141064" cy="138499"/>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ctr" fontAlgn="base">
              <a:spcBef>
                <a:spcPct val="0"/>
              </a:spcBef>
              <a:spcAft>
                <a:spcPct val="0"/>
              </a:spcAft>
            </a:pPr>
            <a:fld id="{42C328C1-A84F-4A39-A664-DBA00541A8C6}" type="slidenum">
              <a:rPr lang="en-US" sz="900" smtClean="0">
                <a:solidFill>
                  <a:srgbClr val="000000"/>
                </a:solidFill>
                <a:cs typeface="Arial" charset="0"/>
              </a:rPr>
              <a:pPr algn="ctr" fontAlgn="base">
                <a:spcBef>
                  <a:spcPct val="0"/>
                </a:spcBef>
                <a:spcAft>
                  <a:spcPct val="0"/>
                </a:spcAft>
              </a:pPr>
              <a:t>‹#›</a:t>
            </a:fld>
            <a:endParaRPr lang="en-US" sz="900">
              <a:solidFill>
                <a:srgbClr val="000000"/>
              </a:solidFill>
              <a:cs typeface="Arial" charset="0"/>
            </a:endParaRPr>
          </a:p>
        </p:txBody>
      </p:sp>
      <p:grpSp>
        <p:nvGrpSpPr>
          <p:cNvPr id="67" name="McK Moon" hidden="1"/>
          <p:cNvGrpSpPr>
            <a:grpSpLocks noChangeAspect="1"/>
          </p:cNvGrpSpPr>
          <p:nvPr>
            <p:custDataLst>
              <p:tags r:id="rId10"/>
            </p:custDataLst>
          </p:nvPr>
        </p:nvGrpSpPr>
        <p:grpSpPr bwMode="auto">
          <a:xfrm>
            <a:off x="8043385" y="2274832"/>
            <a:ext cx="254000" cy="254000"/>
            <a:chOff x="1600" y="1600"/>
            <a:chExt cx="160" cy="160"/>
          </a:xfrm>
        </p:grpSpPr>
        <p:sp>
          <p:nvSpPr>
            <p:cNvPr id="68" name="Oval 90"/>
            <p:cNvSpPr>
              <a:spLocks noChangeAspect="1" noChangeArrowheads="1"/>
            </p:cNvSpPr>
            <p:nvPr>
              <p:custDataLst>
                <p:tags r:id="rId11"/>
              </p:custDataLst>
            </p:nvPr>
          </p:nvSpPr>
          <p:spPr bwMode="auto">
            <a:xfrm>
              <a:off x="1600" y="1600"/>
              <a:ext cx="160" cy="160"/>
            </a:xfrm>
            <a:prstGeom prst="ellipse">
              <a:avLst/>
            </a:prstGeom>
            <a:solidFill>
              <a:schemeClr val="bg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cs typeface="Arial" charset="0"/>
              </a:endParaRPr>
            </a:p>
          </p:txBody>
        </p:sp>
        <p:sp>
          <p:nvSpPr>
            <p:cNvPr id="69" name="Arc 91"/>
            <p:cNvSpPr>
              <a:spLocks noChangeAspect="1"/>
            </p:cNvSpPr>
            <p:nvPr>
              <p:custDataLst>
                <p:tags r:id="rId12"/>
              </p:custDataLst>
            </p:nvPr>
          </p:nvSpPr>
          <p:spPr bwMode="auto">
            <a:xfrm>
              <a:off x="1600" y="1600"/>
              <a:ext cx="160" cy="160"/>
            </a:xfrm>
            <a:prstGeom prst="arc">
              <a:avLst/>
            </a:prstGeom>
            <a:solidFill>
              <a:schemeClr val="accent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cs typeface="Arial" charset="0"/>
              </a:endParaRPr>
            </a:p>
          </p:txBody>
        </p:sp>
      </p:grpSp>
      <p:sp>
        <p:nvSpPr>
          <p:cNvPr id="71" name="Rectangle 70"/>
          <p:cNvSpPr/>
          <p:nvPr/>
        </p:nvSpPr>
        <p:spPr bwMode="auto">
          <a:xfrm>
            <a:off x="270186" y="788830"/>
            <a:ext cx="1583668" cy="25200"/>
          </a:xfrm>
          <a:prstGeom prst="rect">
            <a:avLst/>
          </a:prstGeom>
          <a:solidFill>
            <a:srgbClr val="95D600"/>
          </a:solidFill>
          <a:ln w="25400" cap="flat" cmpd="sng" algn="ctr">
            <a:noFill/>
            <a:prstDash val="solid"/>
          </a:ln>
          <a:effectLst/>
        </p:spPr>
        <p:txBody>
          <a:bodyPr rtlCol="0" anchor="ctr"/>
          <a:lstStyle/>
          <a:p>
            <a:pPr algn="ctr">
              <a:defRPr/>
            </a:pPr>
            <a:endParaRPr lang="en-US" kern="0">
              <a:solidFill>
                <a:sysClr val="window" lastClr="FFFFFF"/>
              </a:solidFill>
              <a:cs typeface="Arial" charset="0"/>
            </a:endParaRPr>
          </a:p>
        </p:txBody>
      </p:sp>
      <p:pic>
        <p:nvPicPr>
          <p:cNvPr id="70" name="Image 12" descr="Logo_suite_50x30.png"/>
          <p:cNvPicPr>
            <a:picLocks noChangeAspect="1"/>
          </p:cNvPicPr>
          <p:nvPr/>
        </p:nvPicPr>
        <p:blipFill rotWithShape="1">
          <a:blip r:embed="rId30" cstate="print"/>
          <a:srcRect l="10380" t="40368" r="25400" b="16785"/>
          <a:stretch/>
        </p:blipFill>
        <p:spPr bwMode="auto">
          <a:xfrm>
            <a:off x="7530848" y="6305732"/>
            <a:ext cx="1155952" cy="461963"/>
          </a:xfrm>
          <a:prstGeom prst="rect">
            <a:avLst/>
          </a:prstGeom>
        </p:spPr>
      </p:pic>
      <p:sp>
        <p:nvSpPr>
          <p:cNvPr id="72" name="Rectangle 71"/>
          <p:cNvSpPr/>
          <p:nvPr/>
        </p:nvSpPr>
        <p:spPr bwMode="auto">
          <a:xfrm>
            <a:off x="7560332" y="6199978"/>
            <a:ext cx="1583668" cy="25200"/>
          </a:xfrm>
          <a:prstGeom prst="rect">
            <a:avLst/>
          </a:prstGeom>
          <a:solidFill>
            <a:srgbClr val="95D600"/>
          </a:solidFill>
          <a:ln w="25400" cap="flat" cmpd="sng" algn="ctr">
            <a:noFill/>
            <a:prstDash val="solid"/>
          </a:ln>
          <a:effectLst/>
        </p:spPr>
        <p:txBody>
          <a:bodyPr rtlCol="0" anchor="ctr"/>
          <a:lstStyle/>
          <a:p>
            <a:pPr algn="ctr">
              <a:defRPr/>
            </a:pPr>
            <a:endParaRPr lang="en-US" kern="0">
              <a:solidFill>
                <a:sysClr val="window" lastClr="FFFFFF"/>
              </a:solidFill>
              <a:cs typeface="Arial" charset="0"/>
            </a:endParaRPr>
          </a:p>
        </p:txBody>
      </p:sp>
    </p:spTree>
    <p:extLst>
      <p:ext uri="{BB962C8B-B14F-4D97-AF65-F5344CB8AC3E}">
        <p14:creationId xmlns:p14="http://schemas.microsoft.com/office/powerpoint/2010/main" val="3256973161"/>
      </p:ext>
    </p:extLst>
  </p:cSld>
  <p:clrMap bg1="lt1" tx1="dk1" bg2="lt2" tx2="dk2" accent1="accent1" accent2="accent2" accent3="accent3" accent4="accent4" accent5="accent5" accent6="accent6" hlink="hlink" folHlink="folHlink"/>
  <p:sldLayoutIdLst>
    <p:sldLayoutId id="2147483956" r:id="rId1"/>
    <p:sldLayoutId id="2147483957" r:id="rId2"/>
    <p:sldLayoutId id="2147483958" r:id="rId3"/>
    <p:sldLayoutId id="2147483959" r:id="rId4"/>
    <p:sldLayoutId id="2147483960" r:id="rId5"/>
    <p:sldLayoutId id="2147483961" r:id="rId6"/>
  </p:sldLayoutIdLst>
  <p:hf sldNum="0" hdr="0" ftr="0" dt="0"/>
  <p:txStyles>
    <p:titleStyle>
      <a:lvl1pPr algn="l" defTabSz="913526" rtl="0" eaLnBrk="1" fontAlgn="base" hangingPunct="1">
        <a:spcBef>
          <a:spcPct val="0"/>
        </a:spcBef>
        <a:spcAft>
          <a:spcPct val="0"/>
        </a:spcAft>
        <a:tabLst>
          <a:tab pos="275353" algn="l"/>
        </a:tabLst>
        <a:defRPr sz="2000" b="0" cap="none" baseline="0">
          <a:solidFill>
            <a:schemeClr val="accent1"/>
          </a:solidFill>
          <a:latin typeface="+mj-lt"/>
          <a:ea typeface="Arial Unicode MS" pitchFamily="34" charset="-128"/>
          <a:cs typeface="Arial Unicode MS" pitchFamily="34" charset="-128"/>
        </a:defRPr>
      </a:lvl1pPr>
      <a:lvl2pPr algn="l" defTabSz="913526" rtl="0" eaLnBrk="1" fontAlgn="base" hangingPunct="1">
        <a:spcBef>
          <a:spcPct val="0"/>
        </a:spcBef>
        <a:spcAft>
          <a:spcPct val="0"/>
        </a:spcAft>
        <a:defRPr sz="1900" b="1">
          <a:solidFill>
            <a:schemeClr val="tx2"/>
          </a:solidFill>
          <a:latin typeface="Arial" charset="0"/>
        </a:defRPr>
      </a:lvl2pPr>
      <a:lvl3pPr algn="l" defTabSz="913526" rtl="0" eaLnBrk="1" fontAlgn="base" hangingPunct="1">
        <a:spcBef>
          <a:spcPct val="0"/>
        </a:spcBef>
        <a:spcAft>
          <a:spcPct val="0"/>
        </a:spcAft>
        <a:defRPr sz="1900" b="1">
          <a:solidFill>
            <a:schemeClr val="tx2"/>
          </a:solidFill>
          <a:latin typeface="Arial" charset="0"/>
        </a:defRPr>
      </a:lvl3pPr>
      <a:lvl4pPr algn="l" defTabSz="913526" rtl="0" eaLnBrk="1" fontAlgn="base" hangingPunct="1">
        <a:spcBef>
          <a:spcPct val="0"/>
        </a:spcBef>
        <a:spcAft>
          <a:spcPct val="0"/>
        </a:spcAft>
        <a:defRPr sz="1900" b="1">
          <a:solidFill>
            <a:schemeClr val="tx2"/>
          </a:solidFill>
          <a:latin typeface="Arial" charset="0"/>
        </a:defRPr>
      </a:lvl4pPr>
      <a:lvl5pPr algn="l" defTabSz="913526" rtl="0" eaLnBrk="1" fontAlgn="base" hangingPunct="1">
        <a:spcBef>
          <a:spcPct val="0"/>
        </a:spcBef>
        <a:spcAft>
          <a:spcPct val="0"/>
        </a:spcAft>
        <a:defRPr sz="1900" b="1">
          <a:solidFill>
            <a:schemeClr val="tx2"/>
          </a:solidFill>
          <a:latin typeface="Arial" charset="0"/>
        </a:defRPr>
      </a:lvl5pPr>
      <a:lvl6pPr marL="466481" algn="l" defTabSz="913526" rtl="0" eaLnBrk="1" fontAlgn="base" hangingPunct="1">
        <a:spcBef>
          <a:spcPct val="0"/>
        </a:spcBef>
        <a:spcAft>
          <a:spcPct val="0"/>
        </a:spcAft>
        <a:defRPr sz="1900" b="1">
          <a:solidFill>
            <a:schemeClr val="tx2"/>
          </a:solidFill>
          <a:latin typeface="Arial" charset="0"/>
        </a:defRPr>
      </a:lvl6pPr>
      <a:lvl7pPr marL="932962" algn="l" defTabSz="913526" rtl="0" eaLnBrk="1" fontAlgn="base" hangingPunct="1">
        <a:spcBef>
          <a:spcPct val="0"/>
        </a:spcBef>
        <a:spcAft>
          <a:spcPct val="0"/>
        </a:spcAft>
        <a:defRPr sz="1900" b="1">
          <a:solidFill>
            <a:schemeClr val="tx2"/>
          </a:solidFill>
          <a:latin typeface="Arial" charset="0"/>
        </a:defRPr>
      </a:lvl7pPr>
      <a:lvl8pPr marL="1399443" algn="l" defTabSz="913526" rtl="0" eaLnBrk="1" fontAlgn="base" hangingPunct="1">
        <a:spcBef>
          <a:spcPct val="0"/>
        </a:spcBef>
        <a:spcAft>
          <a:spcPct val="0"/>
        </a:spcAft>
        <a:defRPr sz="1900" b="1">
          <a:solidFill>
            <a:schemeClr val="tx2"/>
          </a:solidFill>
          <a:latin typeface="Arial" charset="0"/>
        </a:defRPr>
      </a:lvl8pPr>
      <a:lvl9pPr marL="1865925" algn="l" defTabSz="913526" rtl="0" eaLnBrk="1" fontAlgn="base" hangingPunct="1">
        <a:spcBef>
          <a:spcPct val="0"/>
        </a:spcBef>
        <a:spcAft>
          <a:spcPct val="0"/>
        </a:spcAft>
        <a:defRPr sz="1900" b="1">
          <a:solidFill>
            <a:schemeClr val="tx2"/>
          </a:solidFill>
          <a:latin typeface="Arial" charset="0"/>
        </a:defRPr>
      </a:lvl9pPr>
    </p:titleStyle>
    <p:bodyStyle>
      <a:lvl1pPr marL="0" indent="0" algn="l" defTabSz="913526"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7607" indent="-195987" algn="l" defTabSz="913526" rtl="0" eaLnBrk="1" fontAlgn="base" hangingPunct="1">
        <a:spcBef>
          <a:spcPct val="0"/>
        </a:spcBef>
        <a:spcAft>
          <a:spcPct val="0"/>
        </a:spcAft>
        <a:buClr>
          <a:schemeClr val="tx2"/>
        </a:buClr>
        <a:buSzPct val="125000"/>
        <a:buFont typeface="Arial" pitchFamily="34" charset="0"/>
        <a:buChar char="▪"/>
        <a:defRPr sz="1600" baseline="0">
          <a:solidFill>
            <a:schemeClr val="tx1"/>
          </a:solidFill>
          <a:latin typeface="+mn-lt"/>
          <a:ea typeface="Arial Unicode MS" pitchFamily="34" charset="-128"/>
          <a:cs typeface="Arial Unicode MS" pitchFamily="34" charset="-128"/>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26835" indent="-158733" algn="l" defTabSz="913526" rtl="0" eaLnBrk="1" fontAlgn="base" hangingPunct="1">
        <a:spcBef>
          <a:spcPct val="0"/>
        </a:spcBef>
        <a:spcAft>
          <a:spcPct val="0"/>
        </a:spcAft>
        <a:buClr>
          <a:schemeClr val="tx2"/>
        </a:buClr>
        <a:buSzPct val="120000"/>
        <a:buFont typeface="Arial" pitchFamily="34" charset="0"/>
        <a:buChar char="▫"/>
        <a:defRPr sz="1600" baseline="0">
          <a:solidFill>
            <a:schemeClr val="tx1"/>
          </a:solidFill>
          <a:latin typeface="+mn-lt"/>
          <a:ea typeface="Arial Unicode MS" pitchFamily="34" charset="-128"/>
          <a:cs typeface="Arial Unicode MS" pitchFamily="34" charset="-128"/>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962" rtl="0" eaLnBrk="1" latinLnBrk="0" hangingPunct="1">
        <a:defRPr sz="1800" kern="1200">
          <a:solidFill>
            <a:schemeClr val="tx1"/>
          </a:solidFill>
          <a:latin typeface="+mn-lt"/>
          <a:ea typeface="+mn-ea"/>
          <a:cs typeface="+mn-cs"/>
        </a:defRPr>
      </a:lvl1pPr>
      <a:lvl2pPr marL="466481" algn="l" defTabSz="932962" rtl="0" eaLnBrk="1" latinLnBrk="0" hangingPunct="1">
        <a:defRPr sz="1800" kern="1200">
          <a:solidFill>
            <a:schemeClr val="tx1"/>
          </a:solidFill>
          <a:latin typeface="+mn-lt"/>
          <a:ea typeface="+mn-ea"/>
          <a:cs typeface="+mn-cs"/>
        </a:defRPr>
      </a:lvl2pPr>
      <a:lvl3pPr marL="932962" algn="l" defTabSz="932962" rtl="0" eaLnBrk="1" latinLnBrk="0" hangingPunct="1">
        <a:defRPr sz="1800" kern="1200">
          <a:solidFill>
            <a:schemeClr val="tx1"/>
          </a:solidFill>
          <a:latin typeface="+mn-lt"/>
          <a:ea typeface="+mn-ea"/>
          <a:cs typeface="+mn-cs"/>
        </a:defRPr>
      </a:lvl3pPr>
      <a:lvl4pPr marL="1399443" algn="l" defTabSz="932962" rtl="0" eaLnBrk="1" latinLnBrk="0" hangingPunct="1">
        <a:defRPr sz="1800" kern="1200">
          <a:solidFill>
            <a:schemeClr val="tx1"/>
          </a:solidFill>
          <a:latin typeface="+mn-lt"/>
          <a:ea typeface="+mn-ea"/>
          <a:cs typeface="+mn-cs"/>
        </a:defRPr>
      </a:lvl4pPr>
      <a:lvl5pPr marL="1865925" algn="l" defTabSz="932962" rtl="0" eaLnBrk="1" latinLnBrk="0" hangingPunct="1">
        <a:defRPr sz="1800" kern="1200">
          <a:solidFill>
            <a:schemeClr val="tx1"/>
          </a:solidFill>
          <a:latin typeface="+mn-lt"/>
          <a:ea typeface="+mn-ea"/>
          <a:cs typeface="+mn-cs"/>
        </a:defRPr>
      </a:lvl5pPr>
      <a:lvl6pPr marL="2332406" algn="l" defTabSz="932962" rtl="0" eaLnBrk="1" latinLnBrk="0" hangingPunct="1">
        <a:defRPr sz="1800" kern="1200">
          <a:solidFill>
            <a:schemeClr val="tx1"/>
          </a:solidFill>
          <a:latin typeface="+mn-lt"/>
          <a:ea typeface="+mn-ea"/>
          <a:cs typeface="+mn-cs"/>
        </a:defRPr>
      </a:lvl6pPr>
      <a:lvl7pPr marL="2798887" algn="l" defTabSz="932962" rtl="0" eaLnBrk="1" latinLnBrk="0" hangingPunct="1">
        <a:defRPr sz="1800" kern="1200">
          <a:solidFill>
            <a:schemeClr val="tx1"/>
          </a:solidFill>
          <a:latin typeface="+mn-lt"/>
          <a:ea typeface="+mn-ea"/>
          <a:cs typeface="+mn-cs"/>
        </a:defRPr>
      </a:lvl7pPr>
      <a:lvl8pPr marL="3265368" algn="l" defTabSz="932962" rtl="0" eaLnBrk="1" latinLnBrk="0" hangingPunct="1">
        <a:defRPr sz="1800" kern="1200">
          <a:solidFill>
            <a:schemeClr val="tx1"/>
          </a:solidFill>
          <a:latin typeface="+mn-lt"/>
          <a:ea typeface="+mn-ea"/>
          <a:cs typeface="+mn-cs"/>
        </a:defRPr>
      </a:lvl8pPr>
      <a:lvl9pPr marL="3731849" algn="l" defTabSz="932962"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p:custDataLst>
              <p:tags r:id="rId9"/>
            </p:custDataLs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152622" name="think-cell Slide" r:id="rId28" imgW="270" imgH="270" progId="TCLayout.ActiveDocument.1">
                  <p:embed/>
                </p:oleObj>
              </mc:Choice>
              <mc:Fallback>
                <p:oleObj name="think-cell Slide" r:id="rId28" imgW="270" imgH="270" progId="TCLayout.ActiveDocument.1">
                  <p:embed/>
                  <p:pic>
                    <p:nvPicPr>
                      <p:cNvPr id="0" name=""/>
                      <p:cNvPicPr/>
                      <p:nvPr/>
                    </p:nvPicPr>
                    <p:blipFill>
                      <a:blip r:embed="rId29"/>
                      <a:stretch>
                        <a:fillRect/>
                      </a:stretch>
                    </p:blipFill>
                    <p:spPr>
                      <a:xfrm>
                        <a:off x="0" y="0"/>
                        <a:ext cx="161984" cy="161974"/>
                      </a:xfrm>
                      <a:prstGeom prst="rect">
                        <a:avLst/>
                      </a:prstGeom>
                    </p:spPr>
                  </p:pic>
                </p:oleObj>
              </mc:Fallback>
            </mc:AlternateContent>
          </a:graphicData>
        </a:graphic>
      </p:graphicFrame>
      <p:sp>
        <p:nvSpPr>
          <p:cNvPr id="1036" name="Rectangle 286"/>
          <p:cNvSpPr>
            <a:spLocks noGrp="1" noChangeArrowheads="1"/>
          </p:cNvSpPr>
          <p:nvPr>
            <p:ph type="body" idx="1"/>
          </p:nvPr>
        </p:nvSpPr>
        <p:spPr bwMode="auto">
          <a:xfrm>
            <a:off x="2418902" y="2649113"/>
            <a:ext cx="4389768" cy="1256112"/>
          </a:xfrm>
          <a:prstGeom prst="rect">
            <a:avLst/>
          </a:prstGeom>
          <a:noFill/>
          <a:ln w="9525">
            <a:noFill/>
            <a:miter lim="800000"/>
            <a:headEnd/>
            <a:tailEnd/>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9" name="Title Placeholder 2"/>
          <p:cNvSpPr>
            <a:spLocks noGrp="1" noChangeArrowheads="1"/>
          </p:cNvSpPr>
          <p:nvPr>
            <p:ph type="title"/>
          </p:nvPr>
        </p:nvSpPr>
        <p:spPr bwMode="auto">
          <a:xfrm>
            <a:off x="270186" y="447878"/>
            <a:ext cx="8603629" cy="307777"/>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2"/>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lvl="0"/>
            <a:r>
              <a:rPr lang="en-US" noProof="0"/>
              <a:t>Click to edit Master title style</a:t>
            </a:r>
          </a:p>
        </p:txBody>
      </p:sp>
      <p:sp>
        <p:nvSpPr>
          <p:cNvPr id="10" name="McK 1. On-page tracker" hidden="1"/>
          <p:cNvSpPr>
            <a:spLocks noChangeArrowheads="1"/>
          </p:cNvSpPr>
          <p:nvPr/>
        </p:nvSpPr>
        <p:spPr bwMode="auto">
          <a:xfrm>
            <a:off x="270186" y="-1025"/>
            <a:ext cx="734175" cy="18466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pPr>
            <a:r>
              <a:rPr lang="en-US" sz="1200">
                <a:solidFill>
                  <a:srgbClr val="808080"/>
                </a:solidFill>
                <a:cs typeface="Arial" charset="0"/>
              </a:rPr>
              <a:t>TRACKER</a:t>
            </a:r>
          </a:p>
        </p:txBody>
      </p:sp>
      <p:sp>
        <p:nvSpPr>
          <p:cNvPr id="11" name="McK 3. Unit of measure" hidden="1"/>
          <p:cNvSpPr txBox="1">
            <a:spLocks noChangeArrowheads="1"/>
          </p:cNvSpPr>
          <p:nvPr/>
        </p:nvSpPr>
        <p:spPr bwMode="auto">
          <a:xfrm>
            <a:off x="270186" y="847206"/>
            <a:ext cx="8603629" cy="246221"/>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00">
                <a:solidFill>
                  <a:srgbClr val="808080"/>
                </a:solidFill>
                <a:latin typeface="Arial"/>
                <a:cs typeface="Arial" charset="0"/>
              </a:rPr>
              <a:t>Unit of measure</a:t>
            </a:r>
          </a:p>
        </p:txBody>
      </p:sp>
      <p:grpSp>
        <p:nvGrpSpPr>
          <p:cNvPr id="3" name="Slide Elements" hidden="1"/>
          <p:cNvGrpSpPr/>
          <p:nvPr/>
        </p:nvGrpSpPr>
        <p:grpSpPr bwMode="auto">
          <a:xfrm>
            <a:off x="270187" y="6324036"/>
            <a:ext cx="7140264" cy="362698"/>
            <a:chOff x="121488" y="6358440"/>
            <a:chExt cx="8794113" cy="362698"/>
          </a:xfrm>
        </p:grpSpPr>
        <p:sp>
          <p:nvSpPr>
            <p:cNvPr id="13" name="4. Footnote"/>
            <p:cNvSpPr txBox="1">
              <a:spLocks noChangeArrowheads="1"/>
            </p:cNvSpPr>
            <p:nvPr/>
          </p:nvSpPr>
          <p:spPr bwMode="auto">
            <a:xfrm>
              <a:off x="121488" y="6358440"/>
              <a:ext cx="8794113" cy="153888"/>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00">
                  <a:solidFill>
                    <a:srgbClr val="000000"/>
                  </a:solidFill>
                  <a:latin typeface="Arial"/>
                  <a:cs typeface="Arial" charset="0"/>
                </a:rPr>
                <a:t>1 Footnote</a:t>
              </a:r>
            </a:p>
          </p:txBody>
        </p:sp>
        <p:sp>
          <p:nvSpPr>
            <p:cNvPr id="14" name="5. Source"/>
            <p:cNvSpPr>
              <a:spLocks noChangeArrowheads="1"/>
            </p:cNvSpPr>
            <p:nvPr/>
          </p:nvSpPr>
          <p:spPr bwMode="auto">
            <a:xfrm>
              <a:off x="121488" y="6567250"/>
              <a:ext cx="8794112" cy="153888"/>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p>
              <a:pPr marL="469900" indent="-469900" defTabSz="913526" fontAlgn="base">
                <a:spcBef>
                  <a:spcPct val="0"/>
                </a:spcBef>
                <a:spcAft>
                  <a:spcPct val="0"/>
                </a:spcAft>
                <a:tabLst>
                  <a:tab pos="474663" algn="l"/>
                </a:tabLst>
              </a:pPr>
              <a:r>
                <a:rPr lang="en-US" sz="1000">
                  <a:solidFill>
                    <a:srgbClr val="000000"/>
                  </a:solidFill>
                  <a:cs typeface="Arial" charset="0"/>
                </a:rPr>
                <a:t>Source: Source</a:t>
              </a:r>
            </a:p>
          </p:txBody>
        </p:sp>
      </p:grpSp>
      <p:grpSp>
        <p:nvGrpSpPr>
          <p:cNvPr id="15" name="ACET" hidden="1"/>
          <p:cNvGrpSpPr>
            <a:grpSpLocks/>
          </p:cNvGrpSpPr>
          <p:nvPr/>
        </p:nvGrpSpPr>
        <p:grpSpPr bwMode="auto">
          <a:xfrm>
            <a:off x="2418902" y="2089064"/>
            <a:ext cx="4389768" cy="518318"/>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fontAlgn="base">
                <a:spcBef>
                  <a:spcPct val="0"/>
                </a:spcBef>
                <a:spcAft>
                  <a:spcPct val="0"/>
                </a:spcAft>
              </a:pPr>
              <a:r>
                <a:rPr lang="en-US" sz="1600" b="1">
                  <a:solidFill>
                    <a:srgbClr val="000000"/>
                  </a:solidFill>
                  <a:cs typeface="Arial" charset="0"/>
                </a:rPr>
                <a:t>Title</a:t>
              </a:r>
            </a:p>
            <a:p>
              <a:pPr fontAlgn="base">
                <a:spcBef>
                  <a:spcPct val="0"/>
                </a:spcBef>
                <a:spcAft>
                  <a:spcPct val="0"/>
                </a:spcAft>
              </a:pPr>
              <a:r>
                <a:rPr lang="en-US" sz="1600">
                  <a:solidFill>
                    <a:srgbClr val="808080"/>
                  </a:solidFill>
                  <a:cs typeface="Arial" charset="0"/>
                </a:rPr>
                <a:t>Unit of measure</a:t>
              </a:r>
            </a:p>
          </p:txBody>
        </p:sp>
      </p:grpSp>
      <p:grpSp>
        <p:nvGrpSpPr>
          <p:cNvPr id="24" name="LegendBoxes" hidden="1"/>
          <p:cNvGrpSpPr>
            <a:grpSpLocks/>
          </p:cNvGrpSpPr>
          <p:nvPr/>
        </p:nvGrpSpPr>
        <p:grpSpPr bwMode="auto">
          <a:xfrm>
            <a:off x="8110227" y="489174"/>
            <a:ext cx="763588" cy="996951"/>
            <a:chOff x="4936" y="176"/>
            <a:chExt cx="481" cy="628"/>
          </a:xfrm>
        </p:grpSpPr>
        <p:sp>
          <p:nvSpPr>
            <p:cNvPr id="25" name="Legend1"/>
            <p:cNvSpPr>
              <a:spLocks noChangeArrowheads="1"/>
            </p:cNvSpPr>
            <p:nvPr/>
          </p:nvSpPr>
          <p:spPr bwMode="auto">
            <a:xfrm>
              <a:off x="5096" y="176"/>
              <a:ext cx="32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95D600"/>
                </a:buClr>
              </a:pPr>
              <a:r>
                <a:rPr lang="en-US" sz="1200">
                  <a:solidFill>
                    <a:srgbClr val="000000"/>
                  </a:solidFill>
                  <a:cs typeface="Arial" charset="0"/>
                </a:rPr>
                <a:t>Legend</a:t>
              </a:r>
            </a:p>
          </p:txBody>
        </p:sp>
        <p:sp>
          <p:nvSpPr>
            <p:cNvPr id="26"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cs typeface="Arial" charset="0"/>
              </a:endParaRPr>
            </a:p>
          </p:txBody>
        </p:sp>
        <p:sp>
          <p:nvSpPr>
            <p:cNvPr id="27" name="Legend2"/>
            <p:cNvSpPr>
              <a:spLocks noChangeArrowheads="1"/>
            </p:cNvSpPr>
            <p:nvPr/>
          </p:nvSpPr>
          <p:spPr bwMode="auto">
            <a:xfrm>
              <a:off x="5096" y="346"/>
              <a:ext cx="32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95D600"/>
                </a:buClr>
              </a:pPr>
              <a:r>
                <a:rPr lang="en-US" sz="1200">
                  <a:solidFill>
                    <a:srgbClr val="000000"/>
                  </a:solidFill>
                  <a:cs typeface="Arial" charset="0"/>
                </a:rPr>
                <a:t>Legend</a:t>
              </a:r>
            </a:p>
          </p:txBody>
        </p:sp>
        <p:sp>
          <p:nvSpPr>
            <p:cNvPr id="28"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cs typeface="Arial" charset="0"/>
              </a:endParaRPr>
            </a:p>
          </p:txBody>
        </p:sp>
        <p:sp>
          <p:nvSpPr>
            <p:cNvPr id="29" name="Legend3"/>
            <p:cNvSpPr>
              <a:spLocks noChangeArrowheads="1"/>
            </p:cNvSpPr>
            <p:nvPr/>
          </p:nvSpPr>
          <p:spPr bwMode="auto">
            <a:xfrm>
              <a:off x="5096" y="517"/>
              <a:ext cx="32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95D600"/>
                </a:buClr>
              </a:pPr>
              <a:r>
                <a:rPr lang="en-US" sz="1200">
                  <a:solidFill>
                    <a:srgbClr val="000000"/>
                  </a:solidFill>
                  <a:cs typeface="Arial" charset="0"/>
                </a:rPr>
                <a:t>Legend</a:t>
              </a:r>
            </a:p>
          </p:txBody>
        </p:sp>
        <p:sp>
          <p:nvSpPr>
            <p:cNvPr id="30"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cs typeface="Arial" charset="0"/>
              </a:endParaRPr>
            </a:p>
          </p:txBody>
        </p:sp>
        <p:sp>
          <p:nvSpPr>
            <p:cNvPr id="31" name="Legend4"/>
            <p:cNvSpPr>
              <a:spLocks noChangeArrowheads="1"/>
            </p:cNvSpPr>
            <p:nvPr/>
          </p:nvSpPr>
          <p:spPr bwMode="auto">
            <a:xfrm>
              <a:off x="5096" y="688"/>
              <a:ext cx="32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95D600"/>
                </a:buClr>
              </a:pPr>
              <a:r>
                <a:rPr lang="en-US" sz="1200">
                  <a:solidFill>
                    <a:srgbClr val="000000"/>
                  </a:solidFill>
                  <a:cs typeface="Arial" charset="0"/>
                </a:rPr>
                <a:t>Legend</a:t>
              </a:r>
            </a:p>
          </p:txBody>
        </p:sp>
        <p:sp>
          <p:nvSpPr>
            <p:cNvPr id="32"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cs typeface="Arial" charset="0"/>
              </a:endParaRPr>
            </a:p>
          </p:txBody>
        </p:sp>
      </p:grpSp>
      <p:grpSp>
        <p:nvGrpSpPr>
          <p:cNvPr id="33" name="LegendLines" hidden="1"/>
          <p:cNvGrpSpPr>
            <a:grpSpLocks/>
          </p:cNvGrpSpPr>
          <p:nvPr/>
        </p:nvGrpSpPr>
        <p:grpSpPr bwMode="auto">
          <a:xfrm>
            <a:off x="7802252" y="489174"/>
            <a:ext cx="1071563" cy="730251"/>
            <a:chOff x="4750" y="176"/>
            <a:chExt cx="675" cy="460"/>
          </a:xfrm>
        </p:grpSpPr>
        <p:sp>
          <p:nvSpPr>
            <p:cNvPr id="34"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a:solidFill>
                  <a:srgbClr val="000000"/>
                </a:solidFill>
                <a:cs typeface="Arial" charset="0"/>
              </a:endParaRPr>
            </a:p>
          </p:txBody>
        </p:sp>
        <p:sp>
          <p:nvSpPr>
            <p:cNvPr id="35"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a:solidFill>
                  <a:srgbClr val="000000"/>
                </a:solidFill>
                <a:cs typeface="Arial" charset="0"/>
              </a:endParaRPr>
            </a:p>
          </p:txBody>
        </p:sp>
        <p:sp>
          <p:nvSpPr>
            <p:cNvPr id="36"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a:solidFill>
                  <a:srgbClr val="000000"/>
                </a:solidFill>
                <a:cs typeface="Arial" charset="0"/>
              </a:endParaRPr>
            </a:p>
          </p:txBody>
        </p:sp>
        <p:sp>
          <p:nvSpPr>
            <p:cNvPr id="37" name="Legend1"/>
            <p:cNvSpPr>
              <a:spLocks noChangeArrowheads="1"/>
            </p:cNvSpPr>
            <p:nvPr/>
          </p:nvSpPr>
          <p:spPr bwMode="auto">
            <a:xfrm>
              <a:off x="5104" y="176"/>
              <a:ext cx="32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95D600"/>
                </a:buClr>
              </a:pPr>
              <a:r>
                <a:rPr lang="en-US" sz="1200">
                  <a:solidFill>
                    <a:srgbClr val="000000"/>
                  </a:solidFill>
                  <a:cs typeface="Arial" charset="0"/>
                </a:rPr>
                <a:t>Legend</a:t>
              </a:r>
            </a:p>
          </p:txBody>
        </p:sp>
        <p:sp>
          <p:nvSpPr>
            <p:cNvPr id="38" name="Legend2"/>
            <p:cNvSpPr>
              <a:spLocks noChangeArrowheads="1"/>
            </p:cNvSpPr>
            <p:nvPr/>
          </p:nvSpPr>
          <p:spPr bwMode="auto">
            <a:xfrm>
              <a:off x="5104" y="344"/>
              <a:ext cx="32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95D600"/>
                </a:buClr>
              </a:pPr>
              <a:r>
                <a:rPr lang="en-US" sz="1200">
                  <a:solidFill>
                    <a:srgbClr val="000000"/>
                  </a:solidFill>
                  <a:cs typeface="Arial" charset="0"/>
                </a:rPr>
                <a:t>Legend</a:t>
              </a:r>
            </a:p>
          </p:txBody>
        </p:sp>
        <p:sp>
          <p:nvSpPr>
            <p:cNvPr id="39" name="Legend3"/>
            <p:cNvSpPr>
              <a:spLocks noChangeArrowheads="1"/>
            </p:cNvSpPr>
            <p:nvPr/>
          </p:nvSpPr>
          <p:spPr bwMode="auto">
            <a:xfrm>
              <a:off x="5104" y="520"/>
              <a:ext cx="32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95D600"/>
                </a:buClr>
              </a:pPr>
              <a:r>
                <a:rPr lang="en-US" sz="1200">
                  <a:solidFill>
                    <a:srgbClr val="000000"/>
                  </a:solidFill>
                  <a:cs typeface="Arial" charset="0"/>
                </a:rPr>
                <a:t>Legend</a:t>
              </a:r>
            </a:p>
          </p:txBody>
        </p:sp>
      </p:grpSp>
      <p:grpSp>
        <p:nvGrpSpPr>
          <p:cNvPr id="40" name="McKSticker" hidden="1"/>
          <p:cNvGrpSpPr/>
          <p:nvPr/>
        </p:nvGrpSpPr>
        <p:grpSpPr bwMode="auto">
          <a:xfrm>
            <a:off x="7806920" y="489174"/>
            <a:ext cx="1066895" cy="212366"/>
            <a:chOff x="7673880" y="285750"/>
            <a:chExt cx="1066895" cy="212366"/>
          </a:xfrm>
        </p:grpSpPr>
        <p:sp>
          <p:nvSpPr>
            <p:cNvPr id="41" name="StickerRectangle"/>
            <p:cNvSpPr>
              <a:spLocks noChangeArrowheads="1"/>
            </p:cNvSpPr>
            <p:nvPr/>
          </p:nvSpPr>
          <p:spPr bwMode="auto">
            <a:xfrm>
              <a:off x="7673880" y="285750"/>
              <a:ext cx="1066895" cy="212366"/>
            </a:xfrm>
            <a:prstGeom prst="leftRightArrow">
              <a:avLst>
                <a:gd name="adj1" fmla="val 100000"/>
                <a:gd name="adj2" fmla="val 0"/>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fontAlgn="base">
                <a:spcBef>
                  <a:spcPct val="0"/>
                </a:spcBef>
                <a:spcAft>
                  <a:spcPct val="0"/>
                </a:spcAft>
                <a:buClr>
                  <a:srgbClr val="95D600"/>
                </a:buClr>
              </a:pPr>
              <a:r>
                <a:rPr lang="en-US" sz="1200">
                  <a:solidFill>
                    <a:srgbClr val="808080"/>
                  </a:solidFill>
                  <a:cs typeface="Arial" charset="0"/>
                </a:rPr>
                <a:t>PRELIMINARY</a:t>
              </a:r>
            </a:p>
          </p:txBody>
        </p:sp>
        <p:cxnSp>
          <p:nvCxnSpPr>
            <p:cNvPr id="42" name="AutoShape 31"/>
            <p:cNvCxnSpPr>
              <a:cxnSpLocks noChangeShapeType="1"/>
              <a:stCxn id="41" idx="2"/>
              <a:endCxn id="41" idx="4"/>
            </p:cNvCxnSpPr>
            <p:nvPr/>
          </p:nvCxnSpPr>
          <p:spPr bwMode="auto">
            <a:xfrm>
              <a:off x="7673880" y="285750"/>
              <a:ext cx="0" cy="212366"/>
            </a:xfrm>
            <a:prstGeom prst="straightConnector1">
              <a:avLst/>
            </a:prstGeom>
            <a:noFill/>
            <a:ln w="9525">
              <a:solidFill>
                <a:srgbClr val="808080"/>
              </a:solidFill>
              <a:round/>
              <a:headEnd/>
              <a:tailEnd/>
            </a:ln>
            <a:extLst>
              <a:ext uri="{909E8E84-426E-40dd-AFC4-6F175D3DCCD1}">
                <a14:hiddenFill xmlns="" xmlns:a14="http://schemas.microsoft.com/office/drawing/2010/main">
                  <a:noFill/>
                </a14:hiddenFill>
              </a:ext>
            </a:extLst>
          </p:spPr>
        </p:cxnSp>
        <p:cxnSp>
          <p:nvCxnSpPr>
            <p:cNvPr id="43" name="AutoShape 32"/>
            <p:cNvCxnSpPr>
              <a:cxnSpLocks noChangeShapeType="1"/>
              <a:stCxn id="41" idx="4"/>
              <a:endCxn id="41" idx="6"/>
            </p:cNvCxnSpPr>
            <p:nvPr/>
          </p:nvCxnSpPr>
          <p:spPr bwMode="auto">
            <a:xfrm>
              <a:off x="7673880" y="498116"/>
              <a:ext cx="1066895" cy="0"/>
            </a:xfrm>
            <a:prstGeom prst="straightConnector1">
              <a:avLst/>
            </a:prstGeom>
            <a:noFill/>
            <a:ln w="25400">
              <a:solidFill>
                <a:srgbClr val="808080"/>
              </a:solidFill>
              <a:round/>
              <a:headEnd/>
              <a:tailEnd/>
            </a:ln>
            <a:extLst>
              <a:ext uri="{909E8E84-426E-40dd-AFC4-6F175D3DCCD1}">
                <a14:hiddenFill xmlns="" xmlns:a14="http://schemas.microsoft.com/office/drawing/2010/main">
                  <a:noFill/>
                </a14:hiddenFill>
              </a:ext>
            </a:extLst>
          </p:spPr>
        </p:cxnSp>
      </p:grpSp>
      <p:grpSp>
        <p:nvGrpSpPr>
          <p:cNvPr id="44" name="LegendMoons" hidden="1"/>
          <p:cNvGrpSpPr/>
          <p:nvPr/>
        </p:nvGrpSpPr>
        <p:grpSpPr bwMode="auto">
          <a:xfrm>
            <a:off x="8043385" y="489174"/>
            <a:ext cx="830430" cy="1306516"/>
            <a:chOff x="6655594" y="273840"/>
            <a:chExt cx="830430" cy="1306516"/>
          </a:xfrm>
        </p:grpSpPr>
        <p:grpSp>
          <p:nvGrpSpPr>
            <p:cNvPr id="45" name="MoonLegend1"/>
            <p:cNvGrpSpPr>
              <a:grpSpLocks noChangeAspect="1"/>
            </p:cNvGrpSpPr>
            <p:nvPr>
              <p:custDataLst>
                <p:tags r:id="rId13"/>
              </p:custDataLst>
            </p:nvPr>
          </p:nvGrpSpPr>
          <p:grpSpPr bwMode="auto">
            <a:xfrm>
              <a:off x="6655594" y="273840"/>
              <a:ext cx="209550" cy="209551"/>
              <a:chOff x="4533" y="183"/>
              <a:chExt cx="144" cy="144"/>
            </a:xfrm>
          </p:grpSpPr>
          <p:sp>
            <p:nvSpPr>
              <p:cNvPr id="63" name="Oval 38"/>
              <p:cNvSpPr>
                <a:spLocks noChangeAspect="1" noChangeArrowheads="1"/>
              </p:cNvSpPr>
              <p:nvPr>
                <p:custDataLst>
                  <p:tags r:id="rId26"/>
                </p:custDataLst>
              </p:nvPr>
            </p:nvSpPr>
            <p:spPr bwMode="auto">
              <a:xfrm>
                <a:off x="4533" y="183"/>
                <a:ext cx="144" cy="144"/>
              </a:xfrm>
              <a:prstGeom prst="ellipse">
                <a:avLst/>
              </a:prstGeom>
              <a:solidFill>
                <a:schemeClr val="bg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cs typeface="Arial" charset="0"/>
                </a:endParaRPr>
              </a:p>
            </p:txBody>
          </p:sp>
          <p:sp>
            <p:nvSpPr>
              <p:cNvPr id="64" name="Arc 39"/>
              <p:cNvSpPr>
                <a:spLocks noChangeAspect="1"/>
              </p:cNvSpPr>
              <p:nvPr>
                <p:custDataLst>
                  <p:tags r:id="rId27"/>
                </p:custDataLst>
              </p:nvPr>
            </p:nvSpPr>
            <p:spPr bwMode="auto">
              <a:xfrm>
                <a:off x="4533" y="183"/>
                <a:ext cx="144" cy="144"/>
              </a:xfrm>
              <a:prstGeom prst="arc">
                <a:avLst>
                  <a:gd name="adj1" fmla="val 16200000"/>
                  <a:gd name="adj2" fmla="val 5400000"/>
                </a:avLst>
              </a:prstGeom>
              <a:solidFill>
                <a:schemeClr val="accent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cs typeface="Arial" charset="0"/>
                </a:endParaRPr>
              </a:p>
            </p:txBody>
          </p:sp>
        </p:grpSp>
        <p:grpSp>
          <p:nvGrpSpPr>
            <p:cNvPr id="46" name="MoonLegend2"/>
            <p:cNvGrpSpPr>
              <a:grpSpLocks noChangeAspect="1"/>
            </p:cNvGrpSpPr>
            <p:nvPr>
              <p:custDataLst>
                <p:tags r:id="rId14"/>
              </p:custDataLst>
            </p:nvPr>
          </p:nvGrpSpPr>
          <p:grpSpPr bwMode="auto">
            <a:xfrm>
              <a:off x="6655594" y="548081"/>
              <a:ext cx="209550" cy="209551"/>
              <a:chOff x="1694" y="2044"/>
              <a:chExt cx="160" cy="160"/>
            </a:xfrm>
          </p:grpSpPr>
          <p:sp>
            <p:nvSpPr>
              <p:cNvPr id="61" name="Oval 41"/>
              <p:cNvSpPr>
                <a:spLocks noChangeAspect="1" noChangeArrowheads="1"/>
              </p:cNvSpPr>
              <p:nvPr>
                <p:custDataLst>
                  <p:tags r:id="rId24"/>
                </p:custDataLst>
              </p:nvPr>
            </p:nvSpPr>
            <p:spPr bwMode="auto">
              <a:xfrm>
                <a:off x="1694" y="2044"/>
                <a:ext cx="160" cy="160"/>
              </a:xfrm>
              <a:prstGeom prst="ellipse">
                <a:avLst/>
              </a:prstGeom>
              <a:solidFill>
                <a:schemeClr val="bg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cs typeface="Arial" charset="0"/>
                </a:endParaRPr>
              </a:p>
            </p:txBody>
          </p:sp>
          <p:sp>
            <p:nvSpPr>
              <p:cNvPr id="62" name="Arc 42"/>
              <p:cNvSpPr>
                <a:spLocks noChangeAspect="1"/>
              </p:cNvSpPr>
              <p:nvPr>
                <p:custDataLst>
                  <p:tags r:id="rId25"/>
                </p:custDataLst>
              </p:nvPr>
            </p:nvSpPr>
            <p:spPr bwMode="auto">
              <a:xfrm>
                <a:off x="1694" y="2044"/>
                <a:ext cx="160" cy="160"/>
              </a:xfrm>
              <a:prstGeom prst="arc">
                <a:avLst/>
              </a:prstGeom>
              <a:solidFill>
                <a:schemeClr val="accent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cs typeface="Arial" charset="0"/>
                </a:endParaRPr>
              </a:p>
            </p:txBody>
          </p:sp>
        </p:grpSp>
        <p:grpSp>
          <p:nvGrpSpPr>
            <p:cNvPr id="47" name="MoonLegend4"/>
            <p:cNvGrpSpPr>
              <a:grpSpLocks noChangeAspect="1"/>
            </p:cNvGrpSpPr>
            <p:nvPr>
              <p:custDataLst>
                <p:tags r:id="rId15"/>
              </p:custDataLst>
            </p:nvPr>
          </p:nvGrpSpPr>
          <p:grpSpPr bwMode="auto">
            <a:xfrm>
              <a:off x="6655594" y="1096563"/>
              <a:ext cx="209550" cy="209551"/>
              <a:chOff x="4495" y="1198"/>
              <a:chExt cx="160" cy="160"/>
            </a:xfrm>
          </p:grpSpPr>
          <p:sp>
            <p:nvSpPr>
              <p:cNvPr id="59" name="Oval 47"/>
              <p:cNvSpPr>
                <a:spLocks noChangeAspect="1" noChangeArrowheads="1"/>
              </p:cNvSpPr>
              <p:nvPr>
                <p:custDataLst>
                  <p:tags r:id="rId22"/>
                </p:custDataLst>
              </p:nvPr>
            </p:nvSpPr>
            <p:spPr bwMode="auto">
              <a:xfrm>
                <a:off x="4495" y="1198"/>
                <a:ext cx="160" cy="160"/>
              </a:xfrm>
              <a:prstGeom prst="ellipse">
                <a:avLst/>
              </a:prstGeom>
              <a:solidFill>
                <a:schemeClr val="bg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cs typeface="Arial" charset="0"/>
                </a:endParaRPr>
              </a:p>
            </p:txBody>
          </p:sp>
          <p:sp>
            <p:nvSpPr>
              <p:cNvPr id="60" name="Arc 48"/>
              <p:cNvSpPr>
                <a:spLocks noChangeAspect="1"/>
              </p:cNvSpPr>
              <p:nvPr>
                <p:custDataLst>
                  <p:tags r:id="rId23"/>
                </p:custDataLst>
              </p:nvPr>
            </p:nvSpPr>
            <p:spPr bwMode="auto">
              <a:xfrm>
                <a:off x="4495" y="1198"/>
                <a:ext cx="160" cy="160"/>
              </a:xfrm>
              <a:prstGeom prst="arc">
                <a:avLst>
                  <a:gd name="adj1" fmla="val 16200000"/>
                  <a:gd name="adj2" fmla="val 10800000"/>
                </a:avLst>
              </a:prstGeom>
              <a:solidFill>
                <a:schemeClr val="accent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cs typeface="Arial" charset="0"/>
                </a:endParaRPr>
              </a:p>
            </p:txBody>
          </p:sp>
        </p:grpSp>
        <p:grpSp>
          <p:nvGrpSpPr>
            <p:cNvPr id="48" name="MoonLegend5"/>
            <p:cNvGrpSpPr>
              <a:grpSpLocks noChangeAspect="1"/>
            </p:cNvGrpSpPr>
            <p:nvPr>
              <p:custDataLst>
                <p:tags r:id="rId16"/>
              </p:custDataLst>
            </p:nvPr>
          </p:nvGrpSpPr>
          <p:grpSpPr bwMode="auto">
            <a:xfrm>
              <a:off x="6655594" y="1370805"/>
              <a:ext cx="209550" cy="209551"/>
              <a:chOff x="4495" y="1440"/>
              <a:chExt cx="160" cy="160"/>
            </a:xfrm>
          </p:grpSpPr>
          <p:sp>
            <p:nvSpPr>
              <p:cNvPr id="57" name="Oval 50"/>
              <p:cNvSpPr>
                <a:spLocks noChangeAspect="1" noChangeArrowheads="1"/>
              </p:cNvSpPr>
              <p:nvPr>
                <p:custDataLst>
                  <p:tags r:id="rId20"/>
                </p:custDataLst>
              </p:nvPr>
            </p:nvSpPr>
            <p:spPr bwMode="auto">
              <a:xfrm>
                <a:off x="4495" y="1440"/>
                <a:ext cx="160" cy="160"/>
              </a:xfrm>
              <a:prstGeom prst="ellipse">
                <a:avLst/>
              </a:prstGeom>
              <a:solidFill>
                <a:schemeClr val="bg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cs typeface="Arial" charset="0"/>
                </a:endParaRPr>
              </a:p>
            </p:txBody>
          </p:sp>
          <p:sp>
            <p:nvSpPr>
              <p:cNvPr id="58" name="Oval 51"/>
              <p:cNvSpPr>
                <a:spLocks noChangeAspect="1" noChangeArrowheads="1"/>
              </p:cNvSpPr>
              <p:nvPr>
                <p:custDataLst>
                  <p:tags r:id="rId21"/>
                </p:custDataLst>
              </p:nvPr>
            </p:nvSpPr>
            <p:spPr bwMode="auto">
              <a:xfrm>
                <a:off x="4495" y="1440"/>
                <a:ext cx="160" cy="160"/>
              </a:xfrm>
              <a:prstGeom prst="arc">
                <a:avLst>
                  <a:gd name="adj1" fmla="val 16200000"/>
                  <a:gd name="adj2" fmla="val 16200000"/>
                </a:avLst>
              </a:prstGeom>
              <a:solidFill>
                <a:schemeClr val="accent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cs typeface="Arial" charset="0"/>
                </a:endParaRPr>
              </a:p>
            </p:txBody>
          </p:sp>
        </p:grpSp>
        <p:sp>
          <p:nvSpPr>
            <p:cNvPr id="49" name="Legend1"/>
            <p:cNvSpPr>
              <a:spLocks noChangeArrowheads="1"/>
            </p:cNvSpPr>
            <p:nvPr/>
          </p:nvSpPr>
          <p:spPr bwMode="auto">
            <a:xfrm>
              <a:off x="6976269" y="286540"/>
              <a:ext cx="509755" cy="18466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95D600"/>
                </a:buClr>
              </a:pPr>
              <a:r>
                <a:rPr lang="en-US" sz="1200">
                  <a:solidFill>
                    <a:srgbClr val="000000"/>
                  </a:solidFill>
                  <a:cs typeface="Arial" charset="0"/>
                </a:rPr>
                <a:t>Legend</a:t>
              </a:r>
            </a:p>
          </p:txBody>
        </p:sp>
        <p:sp>
          <p:nvSpPr>
            <p:cNvPr id="50" name="Legend2"/>
            <p:cNvSpPr>
              <a:spLocks noChangeArrowheads="1"/>
            </p:cNvSpPr>
            <p:nvPr/>
          </p:nvSpPr>
          <p:spPr bwMode="auto">
            <a:xfrm>
              <a:off x="6976269" y="561178"/>
              <a:ext cx="509755" cy="18466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95D600"/>
                </a:buClr>
              </a:pPr>
              <a:r>
                <a:rPr lang="en-US" sz="1200">
                  <a:solidFill>
                    <a:srgbClr val="000000"/>
                  </a:solidFill>
                  <a:cs typeface="Arial" charset="0"/>
                </a:rPr>
                <a:t>Legend</a:t>
              </a:r>
            </a:p>
          </p:txBody>
        </p:sp>
        <p:sp>
          <p:nvSpPr>
            <p:cNvPr id="51" name="Legend3"/>
            <p:cNvSpPr>
              <a:spLocks noChangeArrowheads="1"/>
            </p:cNvSpPr>
            <p:nvPr/>
          </p:nvSpPr>
          <p:spPr bwMode="auto">
            <a:xfrm>
              <a:off x="6976269" y="835817"/>
              <a:ext cx="509755" cy="18466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95D600"/>
                </a:buClr>
              </a:pPr>
              <a:r>
                <a:rPr lang="en-US" sz="1200">
                  <a:solidFill>
                    <a:srgbClr val="000000"/>
                  </a:solidFill>
                  <a:cs typeface="Arial" charset="0"/>
                </a:rPr>
                <a:t>Legend</a:t>
              </a:r>
            </a:p>
          </p:txBody>
        </p:sp>
        <p:sp>
          <p:nvSpPr>
            <p:cNvPr id="52" name="Legend4"/>
            <p:cNvSpPr>
              <a:spLocks noChangeArrowheads="1"/>
            </p:cNvSpPr>
            <p:nvPr/>
          </p:nvSpPr>
          <p:spPr bwMode="auto">
            <a:xfrm>
              <a:off x="6976269" y="1107280"/>
              <a:ext cx="509755" cy="18466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95D600"/>
                </a:buClr>
              </a:pPr>
              <a:r>
                <a:rPr lang="en-US" sz="1200">
                  <a:solidFill>
                    <a:srgbClr val="000000"/>
                  </a:solidFill>
                  <a:cs typeface="Arial" charset="0"/>
                </a:rPr>
                <a:t>Legend</a:t>
              </a:r>
            </a:p>
          </p:txBody>
        </p:sp>
        <p:sp>
          <p:nvSpPr>
            <p:cNvPr id="53" name="Legend5"/>
            <p:cNvSpPr>
              <a:spLocks noChangeArrowheads="1"/>
            </p:cNvSpPr>
            <p:nvPr/>
          </p:nvSpPr>
          <p:spPr bwMode="auto">
            <a:xfrm>
              <a:off x="6976269" y="1383505"/>
              <a:ext cx="509755" cy="18466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95D600"/>
                </a:buClr>
              </a:pPr>
              <a:r>
                <a:rPr lang="en-US" sz="1200">
                  <a:solidFill>
                    <a:srgbClr val="000000"/>
                  </a:solidFill>
                  <a:cs typeface="Arial" charset="0"/>
                </a:rPr>
                <a:t>Legend</a:t>
              </a:r>
            </a:p>
          </p:txBody>
        </p:sp>
        <p:grpSp>
          <p:nvGrpSpPr>
            <p:cNvPr id="54" name="MoonLegend3"/>
            <p:cNvGrpSpPr>
              <a:grpSpLocks noChangeAspect="1"/>
            </p:cNvGrpSpPr>
            <p:nvPr>
              <p:custDataLst>
                <p:tags r:id="rId17"/>
              </p:custDataLst>
            </p:nvPr>
          </p:nvGrpSpPr>
          <p:grpSpPr bwMode="auto">
            <a:xfrm>
              <a:off x="6655594" y="822322"/>
              <a:ext cx="209550" cy="209551"/>
              <a:chOff x="4495" y="1198"/>
              <a:chExt cx="160" cy="160"/>
            </a:xfrm>
          </p:grpSpPr>
          <p:sp>
            <p:nvSpPr>
              <p:cNvPr id="55" name="Oval 47"/>
              <p:cNvSpPr>
                <a:spLocks noChangeAspect="1" noChangeArrowheads="1"/>
              </p:cNvSpPr>
              <p:nvPr>
                <p:custDataLst>
                  <p:tags r:id="rId18"/>
                </p:custDataLst>
              </p:nvPr>
            </p:nvSpPr>
            <p:spPr bwMode="auto">
              <a:xfrm>
                <a:off x="4495" y="1198"/>
                <a:ext cx="160" cy="160"/>
              </a:xfrm>
              <a:prstGeom prst="ellipse">
                <a:avLst/>
              </a:prstGeom>
              <a:solidFill>
                <a:schemeClr val="bg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cs typeface="Arial" charset="0"/>
                </a:endParaRPr>
              </a:p>
            </p:txBody>
          </p:sp>
          <p:sp>
            <p:nvSpPr>
              <p:cNvPr id="56" name="Arc 48"/>
              <p:cNvSpPr>
                <a:spLocks noChangeAspect="1"/>
              </p:cNvSpPr>
              <p:nvPr>
                <p:custDataLst>
                  <p:tags r:id="rId19"/>
                </p:custDataLst>
              </p:nvPr>
            </p:nvSpPr>
            <p:spPr bwMode="auto">
              <a:xfrm>
                <a:off x="4495" y="1198"/>
                <a:ext cx="160" cy="160"/>
              </a:xfrm>
              <a:prstGeom prst="arc">
                <a:avLst>
                  <a:gd name="adj1" fmla="val 16200000"/>
                  <a:gd name="adj2" fmla="val 5400000"/>
                </a:avLst>
              </a:prstGeom>
              <a:solidFill>
                <a:schemeClr val="accent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cs typeface="Arial" charset="0"/>
                </a:endParaRPr>
              </a:p>
            </p:txBody>
          </p:sp>
        </p:grpSp>
      </p:grpSp>
      <p:sp>
        <p:nvSpPr>
          <p:cNvPr id="66" name="Slide Number"/>
          <p:cNvSpPr txBox="1">
            <a:spLocks/>
          </p:cNvSpPr>
          <p:nvPr/>
        </p:nvSpPr>
        <p:spPr bwMode="auto">
          <a:xfrm>
            <a:off x="8836533" y="6548235"/>
            <a:ext cx="141064" cy="138499"/>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ctr" fontAlgn="base">
              <a:spcBef>
                <a:spcPct val="0"/>
              </a:spcBef>
              <a:spcAft>
                <a:spcPct val="0"/>
              </a:spcAft>
            </a:pPr>
            <a:fld id="{42C328C1-A84F-4A39-A664-DBA00541A8C6}" type="slidenum">
              <a:rPr lang="en-US" sz="900" smtClean="0">
                <a:solidFill>
                  <a:srgbClr val="000000"/>
                </a:solidFill>
                <a:cs typeface="Arial" charset="0"/>
              </a:rPr>
              <a:pPr algn="ctr" fontAlgn="base">
                <a:spcBef>
                  <a:spcPct val="0"/>
                </a:spcBef>
                <a:spcAft>
                  <a:spcPct val="0"/>
                </a:spcAft>
              </a:pPr>
              <a:t>‹#›</a:t>
            </a:fld>
            <a:endParaRPr lang="en-US" sz="900">
              <a:solidFill>
                <a:srgbClr val="000000"/>
              </a:solidFill>
              <a:cs typeface="Arial" charset="0"/>
            </a:endParaRPr>
          </a:p>
        </p:txBody>
      </p:sp>
      <p:grpSp>
        <p:nvGrpSpPr>
          <p:cNvPr id="67" name="McK Moon" hidden="1"/>
          <p:cNvGrpSpPr>
            <a:grpSpLocks noChangeAspect="1"/>
          </p:cNvGrpSpPr>
          <p:nvPr>
            <p:custDataLst>
              <p:tags r:id="rId10"/>
            </p:custDataLst>
          </p:nvPr>
        </p:nvGrpSpPr>
        <p:grpSpPr bwMode="auto">
          <a:xfrm>
            <a:off x="8043385" y="2274832"/>
            <a:ext cx="254000" cy="254000"/>
            <a:chOff x="1600" y="1600"/>
            <a:chExt cx="160" cy="160"/>
          </a:xfrm>
        </p:grpSpPr>
        <p:sp>
          <p:nvSpPr>
            <p:cNvPr id="68" name="Oval 90"/>
            <p:cNvSpPr>
              <a:spLocks noChangeAspect="1" noChangeArrowheads="1"/>
            </p:cNvSpPr>
            <p:nvPr>
              <p:custDataLst>
                <p:tags r:id="rId11"/>
              </p:custDataLst>
            </p:nvPr>
          </p:nvSpPr>
          <p:spPr bwMode="auto">
            <a:xfrm>
              <a:off x="1600" y="1600"/>
              <a:ext cx="160" cy="160"/>
            </a:xfrm>
            <a:prstGeom prst="ellipse">
              <a:avLst/>
            </a:prstGeom>
            <a:solidFill>
              <a:schemeClr val="bg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cs typeface="Arial" charset="0"/>
              </a:endParaRPr>
            </a:p>
          </p:txBody>
        </p:sp>
        <p:sp>
          <p:nvSpPr>
            <p:cNvPr id="69" name="Arc 91"/>
            <p:cNvSpPr>
              <a:spLocks noChangeAspect="1"/>
            </p:cNvSpPr>
            <p:nvPr>
              <p:custDataLst>
                <p:tags r:id="rId12"/>
              </p:custDataLst>
            </p:nvPr>
          </p:nvSpPr>
          <p:spPr bwMode="auto">
            <a:xfrm>
              <a:off x="1600" y="1600"/>
              <a:ext cx="160" cy="160"/>
            </a:xfrm>
            <a:prstGeom prst="arc">
              <a:avLst/>
            </a:prstGeom>
            <a:solidFill>
              <a:schemeClr val="accent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cs typeface="Arial" charset="0"/>
              </a:endParaRPr>
            </a:p>
          </p:txBody>
        </p:sp>
      </p:grpSp>
      <p:sp>
        <p:nvSpPr>
          <p:cNvPr id="71" name="Rectangle 70"/>
          <p:cNvSpPr/>
          <p:nvPr/>
        </p:nvSpPr>
        <p:spPr bwMode="auto">
          <a:xfrm>
            <a:off x="270186" y="788830"/>
            <a:ext cx="1583668" cy="25200"/>
          </a:xfrm>
          <a:prstGeom prst="rect">
            <a:avLst/>
          </a:prstGeom>
          <a:solidFill>
            <a:srgbClr val="95D600"/>
          </a:solidFill>
          <a:ln w="25400" cap="flat" cmpd="sng" algn="ctr">
            <a:noFill/>
            <a:prstDash val="solid"/>
          </a:ln>
          <a:effectLst/>
        </p:spPr>
        <p:txBody>
          <a:bodyPr rtlCol="0" anchor="ctr"/>
          <a:lstStyle/>
          <a:p>
            <a:pPr algn="ctr">
              <a:defRPr/>
            </a:pPr>
            <a:endParaRPr lang="en-US" kern="0">
              <a:solidFill>
                <a:sysClr val="window" lastClr="FFFFFF"/>
              </a:solidFill>
              <a:cs typeface="Arial" charset="0"/>
            </a:endParaRPr>
          </a:p>
        </p:txBody>
      </p:sp>
      <p:pic>
        <p:nvPicPr>
          <p:cNvPr id="70" name="Image 12" descr="Logo_suite_50x30.png"/>
          <p:cNvPicPr>
            <a:picLocks noChangeAspect="1"/>
          </p:cNvPicPr>
          <p:nvPr/>
        </p:nvPicPr>
        <p:blipFill rotWithShape="1">
          <a:blip r:embed="rId30" cstate="print"/>
          <a:srcRect l="10380" t="40368" r="25400" b="16785"/>
          <a:stretch/>
        </p:blipFill>
        <p:spPr bwMode="auto">
          <a:xfrm>
            <a:off x="7530848" y="6305732"/>
            <a:ext cx="1155952" cy="461963"/>
          </a:xfrm>
          <a:prstGeom prst="rect">
            <a:avLst/>
          </a:prstGeom>
        </p:spPr>
      </p:pic>
      <p:sp>
        <p:nvSpPr>
          <p:cNvPr id="72" name="Rectangle 71"/>
          <p:cNvSpPr/>
          <p:nvPr/>
        </p:nvSpPr>
        <p:spPr bwMode="auto">
          <a:xfrm>
            <a:off x="7560332" y="6199978"/>
            <a:ext cx="1583668" cy="25200"/>
          </a:xfrm>
          <a:prstGeom prst="rect">
            <a:avLst/>
          </a:prstGeom>
          <a:solidFill>
            <a:srgbClr val="95D600"/>
          </a:solidFill>
          <a:ln w="25400" cap="flat" cmpd="sng" algn="ctr">
            <a:noFill/>
            <a:prstDash val="solid"/>
          </a:ln>
          <a:effectLst/>
        </p:spPr>
        <p:txBody>
          <a:bodyPr rtlCol="0" anchor="ctr"/>
          <a:lstStyle/>
          <a:p>
            <a:pPr algn="ctr">
              <a:defRPr/>
            </a:pPr>
            <a:endParaRPr lang="en-US" kern="0">
              <a:solidFill>
                <a:sysClr val="window" lastClr="FFFFFF"/>
              </a:solidFill>
              <a:cs typeface="Arial" charset="0"/>
            </a:endParaRPr>
          </a:p>
        </p:txBody>
      </p:sp>
    </p:spTree>
    <p:extLst>
      <p:ext uri="{BB962C8B-B14F-4D97-AF65-F5344CB8AC3E}">
        <p14:creationId xmlns:p14="http://schemas.microsoft.com/office/powerpoint/2010/main" val="174276654"/>
      </p:ext>
    </p:extLst>
  </p:cSld>
  <p:clrMap bg1="lt1" tx1="dk1" bg2="lt2" tx2="dk2" accent1="accent1" accent2="accent2" accent3="accent3" accent4="accent4" accent5="accent5" accent6="accent6" hlink="hlink" folHlink="folHlink"/>
  <p:sldLayoutIdLst>
    <p:sldLayoutId id="2147483963" r:id="rId1"/>
    <p:sldLayoutId id="2147483964" r:id="rId2"/>
    <p:sldLayoutId id="2147483965" r:id="rId3"/>
    <p:sldLayoutId id="2147483966" r:id="rId4"/>
    <p:sldLayoutId id="2147483967" r:id="rId5"/>
    <p:sldLayoutId id="2147483968" r:id="rId6"/>
  </p:sldLayoutIdLst>
  <p:hf sldNum="0" hdr="0" ftr="0" dt="0"/>
  <p:txStyles>
    <p:titleStyle>
      <a:lvl1pPr algn="l" defTabSz="913526" rtl="0" eaLnBrk="1" fontAlgn="base" hangingPunct="1">
        <a:spcBef>
          <a:spcPct val="0"/>
        </a:spcBef>
        <a:spcAft>
          <a:spcPct val="0"/>
        </a:spcAft>
        <a:tabLst>
          <a:tab pos="275353" algn="l"/>
        </a:tabLst>
        <a:defRPr sz="2000" b="0" cap="none" baseline="0">
          <a:solidFill>
            <a:schemeClr val="accent1"/>
          </a:solidFill>
          <a:latin typeface="+mj-lt"/>
          <a:ea typeface="Arial Unicode MS" pitchFamily="34" charset="-128"/>
          <a:cs typeface="Arial Unicode MS" pitchFamily="34" charset="-128"/>
        </a:defRPr>
      </a:lvl1pPr>
      <a:lvl2pPr algn="l" defTabSz="913526" rtl="0" eaLnBrk="1" fontAlgn="base" hangingPunct="1">
        <a:spcBef>
          <a:spcPct val="0"/>
        </a:spcBef>
        <a:spcAft>
          <a:spcPct val="0"/>
        </a:spcAft>
        <a:defRPr sz="1900" b="1">
          <a:solidFill>
            <a:schemeClr val="tx2"/>
          </a:solidFill>
          <a:latin typeface="Arial" charset="0"/>
        </a:defRPr>
      </a:lvl2pPr>
      <a:lvl3pPr algn="l" defTabSz="913526" rtl="0" eaLnBrk="1" fontAlgn="base" hangingPunct="1">
        <a:spcBef>
          <a:spcPct val="0"/>
        </a:spcBef>
        <a:spcAft>
          <a:spcPct val="0"/>
        </a:spcAft>
        <a:defRPr sz="1900" b="1">
          <a:solidFill>
            <a:schemeClr val="tx2"/>
          </a:solidFill>
          <a:latin typeface="Arial" charset="0"/>
        </a:defRPr>
      </a:lvl3pPr>
      <a:lvl4pPr algn="l" defTabSz="913526" rtl="0" eaLnBrk="1" fontAlgn="base" hangingPunct="1">
        <a:spcBef>
          <a:spcPct val="0"/>
        </a:spcBef>
        <a:spcAft>
          <a:spcPct val="0"/>
        </a:spcAft>
        <a:defRPr sz="1900" b="1">
          <a:solidFill>
            <a:schemeClr val="tx2"/>
          </a:solidFill>
          <a:latin typeface="Arial" charset="0"/>
        </a:defRPr>
      </a:lvl4pPr>
      <a:lvl5pPr algn="l" defTabSz="913526" rtl="0" eaLnBrk="1" fontAlgn="base" hangingPunct="1">
        <a:spcBef>
          <a:spcPct val="0"/>
        </a:spcBef>
        <a:spcAft>
          <a:spcPct val="0"/>
        </a:spcAft>
        <a:defRPr sz="1900" b="1">
          <a:solidFill>
            <a:schemeClr val="tx2"/>
          </a:solidFill>
          <a:latin typeface="Arial" charset="0"/>
        </a:defRPr>
      </a:lvl5pPr>
      <a:lvl6pPr marL="466481" algn="l" defTabSz="913526" rtl="0" eaLnBrk="1" fontAlgn="base" hangingPunct="1">
        <a:spcBef>
          <a:spcPct val="0"/>
        </a:spcBef>
        <a:spcAft>
          <a:spcPct val="0"/>
        </a:spcAft>
        <a:defRPr sz="1900" b="1">
          <a:solidFill>
            <a:schemeClr val="tx2"/>
          </a:solidFill>
          <a:latin typeface="Arial" charset="0"/>
        </a:defRPr>
      </a:lvl6pPr>
      <a:lvl7pPr marL="932962" algn="l" defTabSz="913526" rtl="0" eaLnBrk="1" fontAlgn="base" hangingPunct="1">
        <a:spcBef>
          <a:spcPct val="0"/>
        </a:spcBef>
        <a:spcAft>
          <a:spcPct val="0"/>
        </a:spcAft>
        <a:defRPr sz="1900" b="1">
          <a:solidFill>
            <a:schemeClr val="tx2"/>
          </a:solidFill>
          <a:latin typeface="Arial" charset="0"/>
        </a:defRPr>
      </a:lvl7pPr>
      <a:lvl8pPr marL="1399443" algn="l" defTabSz="913526" rtl="0" eaLnBrk="1" fontAlgn="base" hangingPunct="1">
        <a:spcBef>
          <a:spcPct val="0"/>
        </a:spcBef>
        <a:spcAft>
          <a:spcPct val="0"/>
        </a:spcAft>
        <a:defRPr sz="1900" b="1">
          <a:solidFill>
            <a:schemeClr val="tx2"/>
          </a:solidFill>
          <a:latin typeface="Arial" charset="0"/>
        </a:defRPr>
      </a:lvl8pPr>
      <a:lvl9pPr marL="1865925" algn="l" defTabSz="913526" rtl="0" eaLnBrk="1" fontAlgn="base" hangingPunct="1">
        <a:spcBef>
          <a:spcPct val="0"/>
        </a:spcBef>
        <a:spcAft>
          <a:spcPct val="0"/>
        </a:spcAft>
        <a:defRPr sz="1900" b="1">
          <a:solidFill>
            <a:schemeClr val="tx2"/>
          </a:solidFill>
          <a:latin typeface="Arial" charset="0"/>
        </a:defRPr>
      </a:lvl9pPr>
    </p:titleStyle>
    <p:bodyStyle>
      <a:lvl1pPr marL="0" indent="0" algn="l" defTabSz="913526"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7607" indent="-195987" algn="l" defTabSz="913526" rtl="0" eaLnBrk="1" fontAlgn="base" hangingPunct="1">
        <a:spcBef>
          <a:spcPct val="0"/>
        </a:spcBef>
        <a:spcAft>
          <a:spcPct val="0"/>
        </a:spcAft>
        <a:buClr>
          <a:schemeClr val="tx2"/>
        </a:buClr>
        <a:buSzPct val="125000"/>
        <a:buFont typeface="Arial" pitchFamily="34" charset="0"/>
        <a:buChar char="▪"/>
        <a:defRPr sz="1600" baseline="0">
          <a:solidFill>
            <a:schemeClr val="tx1"/>
          </a:solidFill>
          <a:latin typeface="+mn-lt"/>
          <a:ea typeface="Arial Unicode MS" pitchFamily="34" charset="-128"/>
          <a:cs typeface="Arial Unicode MS" pitchFamily="34" charset="-128"/>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26835" indent="-158733" algn="l" defTabSz="913526" rtl="0" eaLnBrk="1" fontAlgn="base" hangingPunct="1">
        <a:spcBef>
          <a:spcPct val="0"/>
        </a:spcBef>
        <a:spcAft>
          <a:spcPct val="0"/>
        </a:spcAft>
        <a:buClr>
          <a:schemeClr val="tx2"/>
        </a:buClr>
        <a:buSzPct val="120000"/>
        <a:buFont typeface="Arial" pitchFamily="34" charset="0"/>
        <a:buChar char="▫"/>
        <a:defRPr sz="1600" baseline="0">
          <a:solidFill>
            <a:schemeClr val="tx1"/>
          </a:solidFill>
          <a:latin typeface="+mn-lt"/>
          <a:ea typeface="Arial Unicode MS" pitchFamily="34" charset="-128"/>
          <a:cs typeface="Arial Unicode MS" pitchFamily="34" charset="-128"/>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962" rtl="0" eaLnBrk="1" latinLnBrk="0" hangingPunct="1">
        <a:defRPr sz="1800" kern="1200">
          <a:solidFill>
            <a:schemeClr val="tx1"/>
          </a:solidFill>
          <a:latin typeface="+mn-lt"/>
          <a:ea typeface="+mn-ea"/>
          <a:cs typeface="+mn-cs"/>
        </a:defRPr>
      </a:lvl1pPr>
      <a:lvl2pPr marL="466481" algn="l" defTabSz="932962" rtl="0" eaLnBrk="1" latinLnBrk="0" hangingPunct="1">
        <a:defRPr sz="1800" kern="1200">
          <a:solidFill>
            <a:schemeClr val="tx1"/>
          </a:solidFill>
          <a:latin typeface="+mn-lt"/>
          <a:ea typeface="+mn-ea"/>
          <a:cs typeface="+mn-cs"/>
        </a:defRPr>
      </a:lvl2pPr>
      <a:lvl3pPr marL="932962" algn="l" defTabSz="932962" rtl="0" eaLnBrk="1" latinLnBrk="0" hangingPunct="1">
        <a:defRPr sz="1800" kern="1200">
          <a:solidFill>
            <a:schemeClr val="tx1"/>
          </a:solidFill>
          <a:latin typeface="+mn-lt"/>
          <a:ea typeface="+mn-ea"/>
          <a:cs typeface="+mn-cs"/>
        </a:defRPr>
      </a:lvl3pPr>
      <a:lvl4pPr marL="1399443" algn="l" defTabSz="932962" rtl="0" eaLnBrk="1" latinLnBrk="0" hangingPunct="1">
        <a:defRPr sz="1800" kern="1200">
          <a:solidFill>
            <a:schemeClr val="tx1"/>
          </a:solidFill>
          <a:latin typeface="+mn-lt"/>
          <a:ea typeface="+mn-ea"/>
          <a:cs typeface="+mn-cs"/>
        </a:defRPr>
      </a:lvl4pPr>
      <a:lvl5pPr marL="1865925" algn="l" defTabSz="932962" rtl="0" eaLnBrk="1" latinLnBrk="0" hangingPunct="1">
        <a:defRPr sz="1800" kern="1200">
          <a:solidFill>
            <a:schemeClr val="tx1"/>
          </a:solidFill>
          <a:latin typeface="+mn-lt"/>
          <a:ea typeface="+mn-ea"/>
          <a:cs typeface="+mn-cs"/>
        </a:defRPr>
      </a:lvl5pPr>
      <a:lvl6pPr marL="2332406" algn="l" defTabSz="932962" rtl="0" eaLnBrk="1" latinLnBrk="0" hangingPunct="1">
        <a:defRPr sz="1800" kern="1200">
          <a:solidFill>
            <a:schemeClr val="tx1"/>
          </a:solidFill>
          <a:latin typeface="+mn-lt"/>
          <a:ea typeface="+mn-ea"/>
          <a:cs typeface="+mn-cs"/>
        </a:defRPr>
      </a:lvl6pPr>
      <a:lvl7pPr marL="2798887" algn="l" defTabSz="932962" rtl="0" eaLnBrk="1" latinLnBrk="0" hangingPunct="1">
        <a:defRPr sz="1800" kern="1200">
          <a:solidFill>
            <a:schemeClr val="tx1"/>
          </a:solidFill>
          <a:latin typeface="+mn-lt"/>
          <a:ea typeface="+mn-ea"/>
          <a:cs typeface="+mn-cs"/>
        </a:defRPr>
      </a:lvl7pPr>
      <a:lvl8pPr marL="3265368" algn="l" defTabSz="932962" rtl="0" eaLnBrk="1" latinLnBrk="0" hangingPunct="1">
        <a:defRPr sz="1800" kern="1200">
          <a:solidFill>
            <a:schemeClr val="tx1"/>
          </a:solidFill>
          <a:latin typeface="+mn-lt"/>
          <a:ea typeface="+mn-ea"/>
          <a:cs typeface="+mn-cs"/>
        </a:defRPr>
      </a:lvl8pPr>
      <a:lvl9pPr marL="3731849" algn="l" defTabSz="932962"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cxnSp>
        <p:nvCxnSpPr>
          <p:cNvPr id="11" name="Connecteur droit 10"/>
          <p:cNvCxnSpPr/>
          <p:nvPr/>
        </p:nvCxnSpPr>
        <p:spPr bwMode="gray">
          <a:xfrm flipH="1">
            <a:off x="935038" y="1116013"/>
            <a:ext cx="1584325" cy="0"/>
          </a:xfrm>
          <a:prstGeom prst="line">
            <a:avLst/>
          </a:prstGeom>
          <a:ln w="2413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027" name="Image 12" descr="Logo_suite_50x30.png"/>
          <p:cNvPicPr>
            <a:picLocks noChangeAspect="1"/>
          </p:cNvPicPr>
          <p:nvPr/>
        </p:nvPicPr>
        <p:blipFill>
          <a:blip r:embed="rId12">
            <a:extLst>
              <a:ext uri="{28A0092B-C50C-407E-A947-70E740481C1C}">
                <a14:useLocalDpi xmlns:a14="http://schemas.microsoft.com/office/drawing/2010/main" val="0"/>
              </a:ext>
            </a:extLst>
          </a:blip>
          <a:srcRect/>
          <a:stretch>
            <a:fillRect/>
          </a:stretch>
        </p:blipFill>
        <p:spPr bwMode="gray">
          <a:xfrm>
            <a:off x="7343775" y="5780088"/>
            <a:ext cx="1800225" cy="107791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028" name="Espace réservé du titre 1"/>
          <p:cNvSpPr>
            <a:spLocks noGrp="1"/>
          </p:cNvSpPr>
          <p:nvPr>
            <p:ph type="title"/>
          </p:nvPr>
        </p:nvSpPr>
        <p:spPr bwMode="gray">
          <a:xfrm>
            <a:off x="935038" y="0"/>
            <a:ext cx="7345362" cy="103663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bodyPr>
          <a:lstStyle/>
          <a:p>
            <a:pPr lvl="0"/>
            <a:r>
              <a:rPr lang="en-US" altLang="en-US"/>
              <a:t>TITLE</a:t>
            </a:r>
          </a:p>
        </p:txBody>
      </p:sp>
      <p:sp>
        <p:nvSpPr>
          <p:cNvPr id="1029" name="Espace réservé du texte 2"/>
          <p:cNvSpPr>
            <a:spLocks noGrp="1"/>
          </p:cNvSpPr>
          <p:nvPr>
            <p:ph type="body" idx="1"/>
          </p:nvPr>
        </p:nvSpPr>
        <p:spPr bwMode="gray">
          <a:xfrm>
            <a:off x="935038" y="1304925"/>
            <a:ext cx="7345362" cy="47164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n-US"/>
              <a:t>Text level 1</a:t>
            </a:r>
          </a:p>
          <a:p>
            <a:pPr lvl="1"/>
            <a:r>
              <a:rPr lang="en-US" altLang="en-US"/>
              <a:t>Text level 2</a:t>
            </a:r>
          </a:p>
          <a:p>
            <a:pPr lvl="2"/>
            <a:r>
              <a:rPr lang="en-US" altLang="en-US"/>
              <a:t>Text level 3</a:t>
            </a:r>
          </a:p>
          <a:p>
            <a:pPr lvl="3"/>
            <a:r>
              <a:rPr lang="en-US" altLang="en-US"/>
              <a:t>Text level 4</a:t>
            </a:r>
          </a:p>
          <a:p>
            <a:pPr lvl="4"/>
            <a:r>
              <a:rPr lang="en-US" altLang="en-US"/>
              <a:t>Text level 5</a:t>
            </a:r>
          </a:p>
        </p:txBody>
      </p:sp>
      <p:sp>
        <p:nvSpPr>
          <p:cNvPr id="4" name="Espace réservé de la date 3"/>
          <p:cNvSpPr>
            <a:spLocks noGrp="1"/>
          </p:cNvSpPr>
          <p:nvPr>
            <p:ph type="dt" sz="half" idx="2"/>
          </p:nvPr>
        </p:nvSpPr>
        <p:spPr bwMode="gray">
          <a:xfrm>
            <a:off x="0" y="6497638"/>
            <a:ext cx="935038" cy="360362"/>
          </a:xfrm>
          <a:prstGeom prst="rect">
            <a:avLst/>
          </a:prstGeom>
        </p:spPr>
        <p:txBody>
          <a:bodyPr vert="horz" lIns="0" tIns="0" rIns="0" bIns="0" rtlCol="0" anchor="t" anchorCtr="0">
            <a:noAutofit/>
          </a:bodyPr>
          <a:lstStyle>
            <a:lvl1pPr algn="l" fontAlgn="auto">
              <a:spcBef>
                <a:spcPts val="0"/>
              </a:spcBef>
              <a:spcAft>
                <a:spcPts val="0"/>
              </a:spcAft>
              <a:defRPr sz="100">
                <a:solidFill>
                  <a:schemeClr val="bg1">
                    <a:alpha val="0"/>
                  </a:schemeClr>
                </a:solidFill>
                <a:latin typeface="+mn-lt"/>
                <a:cs typeface="+mn-cs"/>
              </a:defRPr>
            </a:lvl1pPr>
          </a:lstStyle>
          <a:p>
            <a:pPr>
              <a:defRPr/>
            </a:pPr>
            <a:r>
              <a:rPr lang="en-US">
                <a:solidFill>
                  <a:prstClr val="white">
                    <a:alpha val="0"/>
                  </a:prstClr>
                </a:solidFill>
              </a:rPr>
              <a:t>Date</a:t>
            </a:r>
          </a:p>
        </p:txBody>
      </p:sp>
      <p:sp>
        <p:nvSpPr>
          <p:cNvPr id="5" name="Espace réservé du pied de page 4"/>
          <p:cNvSpPr>
            <a:spLocks noGrp="1"/>
          </p:cNvSpPr>
          <p:nvPr>
            <p:ph type="ftr" sz="quarter" idx="3"/>
          </p:nvPr>
        </p:nvSpPr>
        <p:spPr bwMode="gray">
          <a:xfrm>
            <a:off x="2411413" y="6497638"/>
            <a:ext cx="4321175" cy="360362"/>
          </a:xfrm>
          <a:prstGeom prst="rect">
            <a:avLst/>
          </a:prstGeom>
        </p:spPr>
        <p:txBody>
          <a:bodyPr vert="horz" lIns="0" tIns="7200" rIns="0" bIns="0" rtlCol="0" anchor="t" anchorCtr="0">
            <a:noAutofit/>
          </a:bodyPr>
          <a:lstStyle>
            <a:lvl1pPr algn="ctr" fontAlgn="auto">
              <a:spcBef>
                <a:spcPts val="0"/>
              </a:spcBef>
              <a:spcAft>
                <a:spcPts val="0"/>
              </a:spcAft>
              <a:defRPr sz="1000" b="1">
                <a:solidFill>
                  <a:schemeClr val="accent4"/>
                </a:solidFill>
                <a:latin typeface="+mn-lt"/>
                <a:cs typeface="+mn-cs"/>
              </a:defRPr>
            </a:lvl1pPr>
          </a:lstStyle>
          <a:p>
            <a:pPr>
              <a:defRPr/>
            </a:pPr>
            <a:r>
              <a:rPr lang="en-US">
                <a:solidFill>
                  <a:srgbClr val="005CB9"/>
                </a:solidFill>
              </a:rPr>
              <a:t>#</a:t>
            </a:r>
            <a:r>
              <a:rPr lang="en-US" err="1">
                <a:solidFill>
                  <a:srgbClr val="005CB9"/>
                </a:solidFill>
              </a:rPr>
              <a:t>vaccineswork</a:t>
            </a:r>
            <a:endParaRPr lang="en-US">
              <a:solidFill>
                <a:srgbClr val="005CB9"/>
              </a:solidFill>
            </a:endParaRPr>
          </a:p>
        </p:txBody>
      </p:sp>
      <p:sp>
        <p:nvSpPr>
          <p:cNvPr id="6" name="Espace réservé du numéro de diapositive 5"/>
          <p:cNvSpPr>
            <a:spLocks noGrp="1"/>
          </p:cNvSpPr>
          <p:nvPr>
            <p:ph type="sldNum" sz="quarter" idx="4"/>
          </p:nvPr>
        </p:nvSpPr>
        <p:spPr bwMode="gray">
          <a:xfrm>
            <a:off x="935038" y="6497638"/>
            <a:ext cx="900112" cy="360362"/>
          </a:xfrm>
          <a:prstGeom prst="rect">
            <a:avLst/>
          </a:prstGeom>
        </p:spPr>
        <p:txBody>
          <a:bodyPr vert="horz" lIns="0" tIns="21600" rIns="0" bIns="0" rtlCol="0" anchor="t" anchorCtr="0">
            <a:noAutofit/>
          </a:bodyPr>
          <a:lstStyle>
            <a:lvl1pPr algn="l" fontAlgn="auto">
              <a:spcBef>
                <a:spcPts val="0"/>
              </a:spcBef>
              <a:spcAft>
                <a:spcPts val="0"/>
              </a:spcAft>
              <a:defRPr sz="900" b="1">
                <a:solidFill>
                  <a:schemeClr val="tx2"/>
                </a:solidFill>
                <a:latin typeface="+mn-lt"/>
                <a:cs typeface="+mn-cs"/>
              </a:defRPr>
            </a:lvl1pPr>
          </a:lstStyle>
          <a:p>
            <a:pPr>
              <a:defRPr/>
            </a:pPr>
            <a:fld id="{554E5E40-990A-4474-BD97-03BADD847FA0}" type="slidenum">
              <a:rPr lang="en-US">
                <a:solidFill>
                  <a:srgbClr val="343434"/>
                </a:solidFill>
              </a:rPr>
              <a:pPr>
                <a:defRPr/>
              </a:pPr>
              <a:t>‹#›</a:t>
            </a:fld>
            <a:endParaRPr lang="en-US">
              <a:solidFill>
                <a:srgbClr val="343434"/>
              </a:solidFill>
            </a:endParaRPr>
          </a:p>
        </p:txBody>
      </p:sp>
      <p:cxnSp>
        <p:nvCxnSpPr>
          <p:cNvPr id="12" name="Connecteur droit 11"/>
          <p:cNvCxnSpPr/>
          <p:nvPr/>
        </p:nvCxnSpPr>
        <p:spPr bwMode="gray">
          <a:xfrm flipH="1">
            <a:off x="7559675" y="6040438"/>
            <a:ext cx="1584325" cy="0"/>
          </a:xfrm>
          <a:prstGeom prst="line">
            <a:avLst/>
          </a:prstGeom>
          <a:ln w="2413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25351845"/>
      </p:ext>
    </p:extLst>
  </p:cSld>
  <p:clrMap bg1="lt1" tx1="dk1" bg2="lt2" tx2="dk2" accent1="accent1" accent2="accent2" accent3="accent3" accent4="accent4" accent5="accent5" accent6="accent6" hlink="hlink" folHlink="folHlink"/>
  <p:sldLayoutIdLst>
    <p:sldLayoutId id="2147483970" r:id="rId1"/>
    <p:sldLayoutId id="2147483971" r:id="rId2"/>
    <p:sldLayoutId id="2147483972" r:id="rId3"/>
    <p:sldLayoutId id="2147483973" r:id="rId4"/>
    <p:sldLayoutId id="2147483975" r:id="rId5"/>
    <p:sldLayoutId id="2147483976" r:id="rId6"/>
    <p:sldLayoutId id="2147483977" r:id="rId7"/>
    <p:sldLayoutId id="2147483978" r:id="rId8"/>
    <p:sldLayoutId id="2147483979" r:id="rId9"/>
    <p:sldLayoutId id="2147483980" r:id="rId10"/>
  </p:sldLayoutIdLst>
  <p:hf hdr="0" dt="0"/>
  <p:txStyles>
    <p:titleStyle>
      <a:lvl1pPr algn="l" rtl="0" eaLnBrk="0" fontAlgn="base" hangingPunct="0">
        <a:lnSpc>
          <a:spcPct val="90000"/>
        </a:lnSpc>
        <a:spcBef>
          <a:spcPct val="0"/>
        </a:spcBef>
        <a:spcAft>
          <a:spcPct val="0"/>
        </a:spcAft>
        <a:defRPr sz="2800" kern="1200">
          <a:solidFill>
            <a:srgbClr val="005CB9"/>
          </a:solidFill>
          <a:latin typeface="+mj-lt"/>
          <a:ea typeface="+mj-ea"/>
          <a:cs typeface="+mj-cs"/>
        </a:defRPr>
      </a:lvl1pPr>
      <a:lvl2pPr algn="l" rtl="0" eaLnBrk="0" fontAlgn="base" hangingPunct="0">
        <a:lnSpc>
          <a:spcPct val="90000"/>
        </a:lnSpc>
        <a:spcBef>
          <a:spcPct val="0"/>
        </a:spcBef>
        <a:spcAft>
          <a:spcPct val="0"/>
        </a:spcAft>
        <a:defRPr sz="2800">
          <a:solidFill>
            <a:srgbClr val="005CB9"/>
          </a:solidFill>
          <a:latin typeface="Arial" charset="0"/>
        </a:defRPr>
      </a:lvl2pPr>
      <a:lvl3pPr algn="l" rtl="0" eaLnBrk="0" fontAlgn="base" hangingPunct="0">
        <a:lnSpc>
          <a:spcPct val="90000"/>
        </a:lnSpc>
        <a:spcBef>
          <a:spcPct val="0"/>
        </a:spcBef>
        <a:spcAft>
          <a:spcPct val="0"/>
        </a:spcAft>
        <a:defRPr sz="2800">
          <a:solidFill>
            <a:srgbClr val="005CB9"/>
          </a:solidFill>
          <a:latin typeface="Arial" charset="0"/>
        </a:defRPr>
      </a:lvl3pPr>
      <a:lvl4pPr algn="l" rtl="0" eaLnBrk="0" fontAlgn="base" hangingPunct="0">
        <a:lnSpc>
          <a:spcPct val="90000"/>
        </a:lnSpc>
        <a:spcBef>
          <a:spcPct val="0"/>
        </a:spcBef>
        <a:spcAft>
          <a:spcPct val="0"/>
        </a:spcAft>
        <a:defRPr sz="2800">
          <a:solidFill>
            <a:srgbClr val="005CB9"/>
          </a:solidFill>
          <a:latin typeface="Arial" charset="0"/>
        </a:defRPr>
      </a:lvl4pPr>
      <a:lvl5pPr algn="l" rtl="0" eaLnBrk="0" fontAlgn="base" hangingPunct="0">
        <a:lnSpc>
          <a:spcPct val="90000"/>
        </a:lnSpc>
        <a:spcBef>
          <a:spcPct val="0"/>
        </a:spcBef>
        <a:spcAft>
          <a:spcPct val="0"/>
        </a:spcAft>
        <a:defRPr sz="2800">
          <a:solidFill>
            <a:srgbClr val="005CB9"/>
          </a:solidFill>
          <a:latin typeface="Arial" charset="0"/>
        </a:defRPr>
      </a:lvl5pPr>
      <a:lvl6pPr marL="457200" algn="l" rtl="0" fontAlgn="base">
        <a:lnSpc>
          <a:spcPct val="90000"/>
        </a:lnSpc>
        <a:spcBef>
          <a:spcPct val="0"/>
        </a:spcBef>
        <a:spcAft>
          <a:spcPct val="0"/>
        </a:spcAft>
        <a:defRPr sz="2800">
          <a:solidFill>
            <a:srgbClr val="005CB9"/>
          </a:solidFill>
          <a:latin typeface="Arial" charset="0"/>
        </a:defRPr>
      </a:lvl6pPr>
      <a:lvl7pPr marL="914400" algn="l" rtl="0" fontAlgn="base">
        <a:lnSpc>
          <a:spcPct val="90000"/>
        </a:lnSpc>
        <a:spcBef>
          <a:spcPct val="0"/>
        </a:spcBef>
        <a:spcAft>
          <a:spcPct val="0"/>
        </a:spcAft>
        <a:defRPr sz="2800">
          <a:solidFill>
            <a:srgbClr val="005CB9"/>
          </a:solidFill>
          <a:latin typeface="Arial" charset="0"/>
        </a:defRPr>
      </a:lvl7pPr>
      <a:lvl8pPr marL="1371600" algn="l" rtl="0" fontAlgn="base">
        <a:lnSpc>
          <a:spcPct val="90000"/>
        </a:lnSpc>
        <a:spcBef>
          <a:spcPct val="0"/>
        </a:spcBef>
        <a:spcAft>
          <a:spcPct val="0"/>
        </a:spcAft>
        <a:defRPr sz="2800">
          <a:solidFill>
            <a:srgbClr val="005CB9"/>
          </a:solidFill>
          <a:latin typeface="Arial" charset="0"/>
        </a:defRPr>
      </a:lvl8pPr>
      <a:lvl9pPr marL="1828800" algn="l" rtl="0" fontAlgn="base">
        <a:lnSpc>
          <a:spcPct val="90000"/>
        </a:lnSpc>
        <a:spcBef>
          <a:spcPct val="0"/>
        </a:spcBef>
        <a:spcAft>
          <a:spcPct val="0"/>
        </a:spcAft>
        <a:defRPr sz="2800">
          <a:solidFill>
            <a:srgbClr val="005CB9"/>
          </a:solidFill>
          <a:latin typeface="Arial" charset="0"/>
        </a:defRPr>
      </a:lvl9pPr>
    </p:titleStyle>
    <p:bodyStyle>
      <a:lvl1pPr algn="l" rtl="0" eaLnBrk="0" fontAlgn="base" hangingPunct="0">
        <a:lnSpc>
          <a:spcPct val="110000"/>
        </a:lnSpc>
        <a:spcBef>
          <a:spcPct val="0"/>
        </a:spcBef>
        <a:spcAft>
          <a:spcPct val="0"/>
        </a:spcAft>
        <a:buFont typeface="Arial" charset="0"/>
        <a:defRPr sz="2000" b="1" kern="1200">
          <a:solidFill>
            <a:srgbClr val="005CB9"/>
          </a:solidFill>
          <a:latin typeface="+mn-lt"/>
          <a:ea typeface="+mn-ea"/>
          <a:cs typeface="+mn-cs"/>
        </a:defRPr>
      </a:lvl1pPr>
      <a:lvl2pPr marL="142875" algn="l" rtl="0" eaLnBrk="0" fontAlgn="base" hangingPunct="0">
        <a:spcBef>
          <a:spcPts val="300"/>
        </a:spcBef>
        <a:spcAft>
          <a:spcPct val="0"/>
        </a:spcAft>
        <a:buFont typeface="Arial" charset="0"/>
        <a:defRPr sz="1600" b="1" kern="1200">
          <a:solidFill>
            <a:schemeClr val="tx2"/>
          </a:solidFill>
          <a:latin typeface="+mn-lt"/>
          <a:ea typeface="+mn-ea"/>
          <a:cs typeface="+mn-cs"/>
        </a:defRPr>
      </a:lvl2pPr>
      <a:lvl3pPr marL="142875" indent="107950" algn="l" rtl="0" eaLnBrk="0" fontAlgn="base" hangingPunct="0">
        <a:spcBef>
          <a:spcPts val="300"/>
        </a:spcBef>
        <a:spcAft>
          <a:spcPct val="0"/>
        </a:spcAft>
        <a:buSzPct val="100000"/>
        <a:buFont typeface="Arial" charset="0"/>
        <a:buChar char="•"/>
        <a:defRPr sz="1400" b="1" kern="1200">
          <a:solidFill>
            <a:schemeClr val="tx2"/>
          </a:solidFill>
          <a:latin typeface="+mn-lt"/>
          <a:ea typeface="+mn-ea"/>
          <a:cs typeface="+mn-cs"/>
        </a:defRPr>
      </a:lvl3pPr>
      <a:lvl4pPr marL="358775" algn="l" rtl="0" eaLnBrk="0" fontAlgn="base" hangingPunct="0">
        <a:spcBef>
          <a:spcPts val="300"/>
        </a:spcBef>
        <a:spcAft>
          <a:spcPct val="0"/>
        </a:spcAft>
        <a:buSzPct val="100000"/>
        <a:buFont typeface="Arial" charset="0"/>
        <a:defRPr sz="1400" kern="1200">
          <a:solidFill>
            <a:schemeClr val="tx2"/>
          </a:solidFill>
          <a:latin typeface="+mn-lt"/>
          <a:ea typeface="+mn-ea"/>
          <a:cs typeface="+mn-cs"/>
        </a:defRPr>
      </a:lvl4pPr>
      <a:lvl5pPr marL="503238" indent="107950" algn="l" rtl="0" eaLnBrk="0" fontAlgn="base" hangingPunct="0">
        <a:spcBef>
          <a:spcPts val="300"/>
        </a:spcBef>
        <a:spcAft>
          <a:spcPct val="0"/>
        </a:spcAft>
        <a:buSzPct val="100000"/>
        <a:buFont typeface="Arial" charset="0"/>
        <a:buChar char="•"/>
        <a:defRPr sz="12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cxnSp>
        <p:nvCxnSpPr>
          <p:cNvPr id="11" name="Connecteur droit 10"/>
          <p:cNvCxnSpPr/>
          <p:nvPr/>
        </p:nvCxnSpPr>
        <p:spPr bwMode="gray">
          <a:xfrm flipH="1">
            <a:off x="935038" y="1116013"/>
            <a:ext cx="1584325" cy="0"/>
          </a:xfrm>
          <a:prstGeom prst="line">
            <a:avLst/>
          </a:prstGeom>
          <a:ln w="2413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027" name="Image 12" descr="Logo_suite_50x30.png"/>
          <p:cNvPicPr>
            <a:picLocks noChangeAspect="1"/>
          </p:cNvPicPr>
          <p:nvPr/>
        </p:nvPicPr>
        <p:blipFill>
          <a:blip r:embed="rId12">
            <a:extLst>
              <a:ext uri="{28A0092B-C50C-407E-A947-70E740481C1C}">
                <a14:useLocalDpi xmlns:a14="http://schemas.microsoft.com/office/drawing/2010/main" val="0"/>
              </a:ext>
            </a:extLst>
          </a:blip>
          <a:srcRect/>
          <a:stretch>
            <a:fillRect/>
          </a:stretch>
        </p:blipFill>
        <p:spPr bwMode="gray">
          <a:xfrm>
            <a:off x="7343775" y="5780088"/>
            <a:ext cx="1800225" cy="107791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028" name="Espace réservé du titre 1"/>
          <p:cNvSpPr>
            <a:spLocks noGrp="1"/>
          </p:cNvSpPr>
          <p:nvPr>
            <p:ph type="title"/>
          </p:nvPr>
        </p:nvSpPr>
        <p:spPr bwMode="gray">
          <a:xfrm>
            <a:off x="935038" y="0"/>
            <a:ext cx="7345362" cy="103663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bodyPr>
          <a:lstStyle/>
          <a:p>
            <a:pPr lvl="0"/>
            <a:r>
              <a:rPr lang="en-US" altLang="en-US"/>
              <a:t>TITLE</a:t>
            </a:r>
          </a:p>
        </p:txBody>
      </p:sp>
      <p:sp>
        <p:nvSpPr>
          <p:cNvPr id="1029" name="Espace réservé du texte 2"/>
          <p:cNvSpPr>
            <a:spLocks noGrp="1"/>
          </p:cNvSpPr>
          <p:nvPr>
            <p:ph type="body" idx="1"/>
          </p:nvPr>
        </p:nvSpPr>
        <p:spPr bwMode="gray">
          <a:xfrm>
            <a:off x="935038" y="1304925"/>
            <a:ext cx="7345362" cy="47164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n-US"/>
              <a:t>Text level 1</a:t>
            </a:r>
          </a:p>
          <a:p>
            <a:pPr lvl="1"/>
            <a:r>
              <a:rPr lang="en-US" altLang="en-US"/>
              <a:t>Text level 2</a:t>
            </a:r>
          </a:p>
          <a:p>
            <a:pPr lvl="2"/>
            <a:r>
              <a:rPr lang="en-US" altLang="en-US"/>
              <a:t>Text level 3</a:t>
            </a:r>
          </a:p>
          <a:p>
            <a:pPr lvl="3"/>
            <a:r>
              <a:rPr lang="en-US" altLang="en-US"/>
              <a:t>Text level 4</a:t>
            </a:r>
          </a:p>
          <a:p>
            <a:pPr lvl="4"/>
            <a:r>
              <a:rPr lang="en-US" altLang="en-US"/>
              <a:t>Text level 5</a:t>
            </a:r>
          </a:p>
        </p:txBody>
      </p:sp>
      <p:sp>
        <p:nvSpPr>
          <p:cNvPr id="4" name="Espace réservé de la date 3"/>
          <p:cNvSpPr>
            <a:spLocks noGrp="1"/>
          </p:cNvSpPr>
          <p:nvPr>
            <p:ph type="dt" sz="half" idx="2"/>
          </p:nvPr>
        </p:nvSpPr>
        <p:spPr bwMode="gray">
          <a:xfrm>
            <a:off x="0" y="6497638"/>
            <a:ext cx="935038" cy="360362"/>
          </a:xfrm>
          <a:prstGeom prst="rect">
            <a:avLst/>
          </a:prstGeom>
        </p:spPr>
        <p:txBody>
          <a:bodyPr vert="horz" lIns="0" tIns="0" rIns="0" bIns="0" rtlCol="0" anchor="t" anchorCtr="0">
            <a:noAutofit/>
          </a:bodyPr>
          <a:lstStyle>
            <a:lvl1pPr algn="l" fontAlgn="auto">
              <a:spcBef>
                <a:spcPts val="0"/>
              </a:spcBef>
              <a:spcAft>
                <a:spcPts val="0"/>
              </a:spcAft>
              <a:defRPr sz="100">
                <a:solidFill>
                  <a:schemeClr val="bg1">
                    <a:alpha val="0"/>
                  </a:schemeClr>
                </a:solidFill>
                <a:latin typeface="+mn-lt"/>
                <a:cs typeface="+mn-cs"/>
              </a:defRPr>
            </a:lvl1pPr>
          </a:lstStyle>
          <a:p>
            <a:pPr>
              <a:defRPr/>
            </a:pPr>
            <a:r>
              <a:rPr lang="en-US">
                <a:solidFill>
                  <a:prstClr val="white">
                    <a:alpha val="0"/>
                  </a:prstClr>
                </a:solidFill>
              </a:rPr>
              <a:t>Date</a:t>
            </a:r>
          </a:p>
        </p:txBody>
      </p:sp>
      <p:sp>
        <p:nvSpPr>
          <p:cNvPr id="5" name="Espace réservé du pied de page 4"/>
          <p:cNvSpPr>
            <a:spLocks noGrp="1"/>
          </p:cNvSpPr>
          <p:nvPr>
            <p:ph type="ftr" sz="quarter" idx="3"/>
          </p:nvPr>
        </p:nvSpPr>
        <p:spPr bwMode="gray">
          <a:xfrm>
            <a:off x="2411413" y="6497638"/>
            <a:ext cx="4321175" cy="360362"/>
          </a:xfrm>
          <a:prstGeom prst="rect">
            <a:avLst/>
          </a:prstGeom>
        </p:spPr>
        <p:txBody>
          <a:bodyPr vert="horz" lIns="0" tIns="7200" rIns="0" bIns="0" rtlCol="0" anchor="t" anchorCtr="0">
            <a:noAutofit/>
          </a:bodyPr>
          <a:lstStyle>
            <a:lvl1pPr algn="ctr" fontAlgn="auto">
              <a:spcBef>
                <a:spcPts val="0"/>
              </a:spcBef>
              <a:spcAft>
                <a:spcPts val="0"/>
              </a:spcAft>
              <a:defRPr sz="1000" b="1">
                <a:solidFill>
                  <a:schemeClr val="accent4"/>
                </a:solidFill>
                <a:latin typeface="+mn-lt"/>
                <a:cs typeface="+mn-cs"/>
              </a:defRPr>
            </a:lvl1pPr>
          </a:lstStyle>
          <a:p>
            <a:pPr>
              <a:defRPr/>
            </a:pPr>
            <a:r>
              <a:rPr lang="en-US">
                <a:solidFill>
                  <a:srgbClr val="005CB9"/>
                </a:solidFill>
              </a:rPr>
              <a:t>#</a:t>
            </a:r>
            <a:r>
              <a:rPr lang="en-US" err="1">
                <a:solidFill>
                  <a:srgbClr val="005CB9"/>
                </a:solidFill>
              </a:rPr>
              <a:t>vaccineswork</a:t>
            </a:r>
            <a:endParaRPr lang="en-US">
              <a:solidFill>
                <a:srgbClr val="005CB9"/>
              </a:solidFill>
            </a:endParaRPr>
          </a:p>
        </p:txBody>
      </p:sp>
      <p:sp>
        <p:nvSpPr>
          <p:cNvPr id="6" name="Espace réservé du numéro de diapositive 5"/>
          <p:cNvSpPr>
            <a:spLocks noGrp="1"/>
          </p:cNvSpPr>
          <p:nvPr>
            <p:ph type="sldNum" sz="quarter" idx="4"/>
          </p:nvPr>
        </p:nvSpPr>
        <p:spPr bwMode="gray">
          <a:xfrm>
            <a:off x="935038" y="6497638"/>
            <a:ext cx="900112" cy="360362"/>
          </a:xfrm>
          <a:prstGeom prst="rect">
            <a:avLst/>
          </a:prstGeom>
        </p:spPr>
        <p:txBody>
          <a:bodyPr vert="horz" lIns="0" tIns="21600" rIns="0" bIns="0" rtlCol="0" anchor="t" anchorCtr="0">
            <a:noAutofit/>
          </a:bodyPr>
          <a:lstStyle>
            <a:lvl1pPr algn="l" fontAlgn="auto">
              <a:spcBef>
                <a:spcPts val="0"/>
              </a:spcBef>
              <a:spcAft>
                <a:spcPts val="0"/>
              </a:spcAft>
              <a:defRPr sz="900" b="1">
                <a:solidFill>
                  <a:schemeClr val="tx2"/>
                </a:solidFill>
                <a:latin typeface="+mn-lt"/>
                <a:cs typeface="+mn-cs"/>
              </a:defRPr>
            </a:lvl1pPr>
          </a:lstStyle>
          <a:p>
            <a:pPr>
              <a:defRPr/>
            </a:pPr>
            <a:fld id="{554E5E40-990A-4474-BD97-03BADD847FA0}" type="slidenum">
              <a:rPr lang="en-US">
                <a:solidFill>
                  <a:srgbClr val="343434"/>
                </a:solidFill>
              </a:rPr>
              <a:pPr>
                <a:defRPr/>
              </a:pPr>
              <a:t>‹#›</a:t>
            </a:fld>
            <a:endParaRPr lang="en-US">
              <a:solidFill>
                <a:srgbClr val="343434"/>
              </a:solidFill>
            </a:endParaRPr>
          </a:p>
        </p:txBody>
      </p:sp>
      <p:cxnSp>
        <p:nvCxnSpPr>
          <p:cNvPr id="12" name="Connecteur droit 11"/>
          <p:cNvCxnSpPr/>
          <p:nvPr/>
        </p:nvCxnSpPr>
        <p:spPr bwMode="gray">
          <a:xfrm flipH="1">
            <a:off x="7559675" y="6040438"/>
            <a:ext cx="1584325" cy="0"/>
          </a:xfrm>
          <a:prstGeom prst="line">
            <a:avLst/>
          </a:prstGeom>
          <a:ln w="2413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09961046"/>
      </p:ext>
    </p:extLst>
  </p:cSld>
  <p:clrMap bg1="lt1" tx1="dk1" bg2="lt2" tx2="dk2" accent1="accent1" accent2="accent2" accent3="accent3" accent4="accent4" accent5="accent5" accent6="accent6" hlink="hlink" folHlink="folHlink"/>
  <p:sldLayoutIdLst>
    <p:sldLayoutId id="2147483982" r:id="rId1"/>
    <p:sldLayoutId id="2147483983" r:id="rId2"/>
    <p:sldLayoutId id="2147483984" r:id="rId3"/>
    <p:sldLayoutId id="2147483985" r:id="rId4"/>
    <p:sldLayoutId id="2147483987" r:id="rId5"/>
    <p:sldLayoutId id="2147483988" r:id="rId6"/>
    <p:sldLayoutId id="2147483989" r:id="rId7"/>
    <p:sldLayoutId id="2147483990" r:id="rId8"/>
    <p:sldLayoutId id="2147483991" r:id="rId9"/>
    <p:sldLayoutId id="2147483992" r:id="rId10"/>
  </p:sldLayoutIdLst>
  <p:hf hdr="0" dt="0"/>
  <p:txStyles>
    <p:titleStyle>
      <a:lvl1pPr algn="l" rtl="0" eaLnBrk="0" fontAlgn="base" hangingPunct="0">
        <a:lnSpc>
          <a:spcPct val="90000"/>
        </a:lnSpc>
        <a:spcBef>
          <a:spcPct val="0"/>
        </a:spcBef>
        <a:spcAft>
          <a:spcPct val="0"/>
        </a:spcAft>
        <a:defRPr sz="2800" kern="1200">
          <a:solidFill>
            <a:srgbClr val="005CB9"/>
          </a:solidFill>
          <a:latin typeface="+mj-lt"/>
          <a:ea typeface="+mj-ea"/>
          <a:cs typeface="+mj-cs"/>
        </a:defRPr>
      </a:lvl1pPr>
      <a:lvl2pPr algn="l" rtl="0" eaLnBrk="0" fontAlgn="base" hangingPunct="0">
        <a:lnSpc>
          <a:spcPct val="90000"/>
        </a:lnSpc>
        <a:spcBef>
          <a:spcPct val="0"/>
        </a:spcBef>
        <a:spcAft>
          <a:spcPct val="0"/>
        </a:spcAft>
        <a:defRPr sz="2800">
          <a:solidFill>
            <a:srgbClr val="005CB9"/>
          </a:solidFill>
          <a:latin typeface="Arial" charset="0"/>
        </a:defRPr>
      </a:lvl2pPr>
      <a:lvl3pPr algn="l" rtl="0" eaLnBrk="0" fontAlgn="base" hangingPunct="0">
        <a:lnSpc>
          <a:spcPct val="90000"/>
        </a:lnSpc>
        <a:spcBef>
          <a:spcPct val="0"/>
        </a:spcBef>
        <a:spcAft>
          <a:spcPct val="0"/>
        </a:spcAft>
        <a:defRPr sz="2800">
          <a:solidFill>
            <a:srgbClr val="005CB9"/>
          </a:solidFill>
          <a:latin typeface="Arial" charset="0"/>
        </a:defRPr>
      </a:lvl3pPr>
      <a:lvl4pPr algn="l" rtl="0" eaLnBrk="0" fontAlgn="base" hangingPunct="0">
        <a:lnSpc>
          <a:spcPct val="90000"/>
        </a:lnSpc>
        <a:spcBef>
          <a:spcPct val="0"/>
        </a:spcBef>
        <a:spcAft>
          <a:spcPct val="0"/>
        </a:spcAft>
        <a:defRPr sz="2800">
          <a:solidFill>
            <a:srgbClr val="005CB9"/>
          </a:solidFill>
          <a:latin typeface="Arial" charset="0"/>
        </a:defRPr>
      </a:lvl4pPr>
      <a:lvl5pPr algn="l" rtl="0" eaLnBrk="0" fontAlgn="base" hangingPunct="0">
        <a:lnSpc>
          <a:spcPct val="90000"/>
        </a:lnSpc>
        <a:spcBef>
          <a:spcPct val="0"/>
        </a:spcBef>
        <a:spcAft>
          <a:spcPct val="0"/>
        </a:spcAft>
        <a:defRPr sz="2800">
          <a:solidFill>
            <a:srgbClr val="005CB9"/>
          </a:solidFill>
          <a:latin typeface="Arial" charset="0"/>
        </a:defRPr>
      </a:lvl5pPr>
      <a:lvl6pPr marL="457200" algn="l" rtl="0" fontAlgn="base">
        <a:lnSpc>
          <a:spcPct val="90000"/>
        </a:lnSpc>
        <a:spcBef>
          <a:spcPct val="0"/>
        </a:spcBef>
        <a:spcAft>
          <a:spcPct val="0"/>
        </a:spcAft>
        <a:defRPr sz="2800">
          <a:solidFill>
            <a:srgbClr val="005CB9"/>
          </a:solidFill>
          <a:latin typeface="Arial" charset="0"/>
        </a:defRPr>
      </a:lvl6pPr>
      <a:lvl7pPr marL="914400" algn="l" rtl="0" fontAlgn="base">
        <a:lnSpc>
          <a:spcPct val="90000"/>
        </a:lnSpc>
        <a:spcBef>
          <a:spcPct val="0"/>
        </a:spcBef>
        <a:spcAft>
          <a:spcPct val="0"/>
        </a:spcAft>
        <a:defRPr sz="2800">
          <a:solidFill>
            <a:srgbClr val="005CB9"/>
          </a:solidFill>
          <a:latin typeface="Arial" charset="0"/>
        </a:defRPr>
      </a:lvl7pPr>
      <a:lvl8pPr marL="1371600" algn="l" rtl="0" fontAlgn="base">
        <a:lnSpc>
          <a:spcPct val="90000"/>
        </a:lnSpc>
        <a:spcBef>
          <a:spcPct val="0"/>
        </a:spcBef>
        <a:spcAft>
          <a:spcPct val="0"/>
        </a:spcAft>
        <a:defRPr sz="2800">
          <a:solidFill>
            <a:srgbClr val="005CB9"/>
          </a:solidFill>
          <a:latin typeface="Arial" charset="0"/>
        </a:defRPr>
      </a:lvl8pPr>
      <a:lvl9pPr marL="1828800" algn="l" rtl="0" fontAlgn="base">
        <a:lnSpc>
          <a:spcPct val="90000"/>
        </a:lnSpc>
        <a:spcBef>
          <a:spcPct val="0"/>
        </a:spcBef>
        <a:spcAft>
          <a:spcPct val="0"/>
        </a:spcAft>
        <a:defRPr sz="2800">
          <a:solidFill>
            <a:srgbClr val="005CB9"/>
          </a:solidFill>
          <a:latin typeface="Arial" charset="0"/>
        </a:defRPr>
      </a:lvl9pPr>
    </p:titleStyle>
    <p:bodyStyle>
      <a:lvl1pPr algn="l" rtl="0" eaLnBrk="0" fontAlgn="base" hangingPunct="0">
        <a:lnSpc>
          <a:spcPct val="110000"/>
        </a:lnSpc>
        <a:spcBef>
          <a:spcPct val="0"/>
        </a:spcBef>
        <a:spcAft>
          <a:spcPct val="0"/>
        </a:spcAft>
        <a:buFont typeface="Arial" charset="0"/>
        <a:defRPr sz="2000" b="1" kern="1200">
          <a:solidFill>
            <a:srgbClr val="005CB9"/>
          </a:solidFill>
          <a:latin typeface="+mn-lt"/>
          <a:ea typeface="+mn-ea"/>
          <a:cs typeface="+mn-cs"/>
        </a:defRPr>
      </a:lvl1pPr>
      <a:lvl2pPr marL="142875" algn="l" rtl="0" eaLnBrk="0" fontAlgn="base" hangingPunct="0">
        <a:spcBef>
          <a:spcPts val="300"/>
        </a:spcBef>
        <a:spcAft>
          <a:spcPct val="0"/>
        </a:spcAft>
        <a:buFont typeface="Arial" charset="0"/>
        <a:defRPr sz="1600" b="1" kern="1200">
          <a:solidFill>
            <a:schemeClr val="tx2"/>
          </a:solidFill>
          <a:latin typeface="+mn-lt"/>
          <a:ea typeface="+mn-ea"/>
          <a:cs typeface="+mn-cs"/>
        </a:defRPr>
      </a:lvl2pPr>
      <a:lvl3pPr marL="142875" indent="107950" algn="l" rtl="0" eaLnBrk="0" fontAlgn="base" hangingPunct="0">
        <a:spcBef>
          <a:spcPts val="300"/>
        </a:spcBef>
        <a:spcAft>
          <a:spcPct val="0"/>
        </a:spcAft>
        <a:buSzPct val="100000"/>
        <a:buFont typeface="Arial" charset="0"/>
        <a:buChar char="•"/>
        <a:defRPr sz="1400" b="1" kern="1200">
          <a:solidFill>
            <a:schemeClr val="tx2"/>
          </a:solidFill>
          <a:latin typeface="+mn-lt"/>
          <a:ea typeface="+mn-ea"/>
          <a:cs typeface="+mn-cs"/>
        </a:defRPr>
      </a:lvl3pPr>
      <a:lvl4pPr marL="358775" algn="l" rtl="0" eaLnBrk="0" fontAlgn="base" hangingPunct="0">
        <a:spcBef>
          <a:spcPts val="300"/>
        </a:spcBef>
        <a:spcAft>
          <a:spcPct val="0"/>
        </a:spcAft>
        <a:buSzPct val="100000"/>
        <a:buFont typeface="Arial" charset="0"/>
        <a:defRPr sz="1400" kern="1200">
          <a:solidFill>
            <a:schemeClr val="tx2"/>
          </a:solidFill>
          <a:latin typeface="+mn-lt"/>
          <a:ea typeface="+mn-ea"/>
          <a:cs typeface="+mn-cs"/>
        </a:defRPr>
      </a:lvl4pPr>
      <a:lvl5pPr marL="503238" indent="107950" algn="l" rtl="0" eaLnBrk="0" fontAlgn="base" hangingPunct="0">
        <a:spcBef>
          <a:spcPts val="300"/>
        </a:spcBef>
        <a:spcAft>
          <a:spcPct val="0"/>
        </a:spcAft>
        <a:buSzPct val="100000"/>
        <a:buFont typeface="Arial" charset="0"/>
        <a:buChar char="•"/>
        <a:defRPr sz="12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cxnSp>
        <p:nvCxnSpPr>
          <p:cNvPr id="11" name="Connecteur droit 10"/>
          <p:cNvCxnSpPr/>
          <p:nvPr/>
        </p:nvCxnSpPr>
        <p:spPr bwMode="gray">
          <a:xfrm flipH="1">
            <a:off x="935038" y="1116013"/>
            <a:ext cx="1584325" cy="0"/>
          </a:xfrm>
          <a:prstGeom prst="line">
            <a:avLst/>
          </a:prstGeom>
          <a:ln w="2413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027" name="Image 12" descr="Logo_suite_50x30.png"/>
          <p:cNvPicPr>
            <a:picLocks noChangeAspect="1"/>
          </p:cNvPicPr>
          <p:nvPr/>
        </p:nvPicPr>
        <p:blipFill>
          <a:blip r:embed="rId12">
            <a:extLst>
              <a:ext uri="{28A0092B-C50C-407E-A947-70E740481C1C}">
                <a14:useLocalDpi xmlns:a14="http://schemas.microsoft.com/office/drawing/2010/main" val="0"/>
              </a:ext>
            </a:extLst>
          </a:blip>
          <a:srcRect/>
          <a:stretch>
            <a:fillRect/>
          </a:stretch>
        </p:blipFill>
        <p:spPr bwMode="gray">
          <a:xfrm>
            <a:off x="7343775" y="5780088"/>
            <a:ext cx="1800225" cy="107791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028" name="Espace réservé du titre 1"/>
          <p:cNvSpPr>
            <a:spLocks noGrp="1"/>
          </p:cNvSpPr>
          <p:nvPr>
            <p:ph type="title"/>
          </p:nvPr>
        </p:nvSpPr>
        <p:spPr bwMode="gray">
          <a:xfrm>
            <a:off x="935038" y="0"/>
            <a:ext cx="7345362" cy="103663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bodyPr>
          <a:lstStyle/>
          <a:p>
            <a:pPr lvl="0"/>
            <a:r>
              <a:rPr lang="en-US" altLang="en-US"/>
              <a:t>TITLE</a:t>
            </a:r>
          </a:p>
        </p:txBody>
      </p:sp>
      <p:sp>
        <p:nvSpPr>
          <p:cNvPr id="1029" name="Espace réservé du texte 2"/>
          <p:cNvSpPr>
            <a:spLocks noGrp="1"/>
          </p:cNvSpPr>
          <p:nvPr>
            <p:ph type="body" idx="1"/>
          </p:nvPr>
        </p:nvSpPr>
        <p:spPr bwMode="gray">
          <a:xfrm>
            <a:off x="935038" y="1304925"/>
            <a:ext cx="7345362" cy="47164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n-US"/>
              <a:t>Text level 1</a:t>
            </a:r>
          </a:p>
          <a:p>
            <a:pPr lvl="1"/>
            <a:r>
              <a:rPr lang="en-US" altLang="en-US"/>
              <a:t>Text level 2</a:t>
            </a:r>
          </a:p>
          <a:p>
            <a:pPr lvl="2"/>
            <a:r>
              <a:rPr lang="en-US" altLang="en-US"/>
              <a:t>Text level 3</a:t>
            </a:r>
          </a:p>
          <a:p>
            <a:pPr lvl="3"/>
            <a:r>
              <a:rPr lang="en-US" altLang="en-US"/>
              <a:t>Text level 4</a:t>
            </a:r>
          </a:p>
          <a:p>
            <a:pPr lvl="4"/>
            <a:r>
              <a:rPr lang="en-US" altLang="en-US"/>
              <a:t>Text level 5</a:t>
            </a:r>
          </a:p>
        </p:txBody>
      </p:sp>
      <p:sp>
        <p:nvSpPr>
          <p:cNvPr id="4" name="Espace réservé de la date 3"/>
          <p:cNvSpPr>
            <a:spLocks noGrp="1"/>
          </p:cNvSpPr>
          <p:nvPr>
            <p:ph type="dt" sz="half" idx="2"/>
          </p:nvPr>
        </p:nvSpPr>
        <p:spPr bwMode="gray">
          <a:xfrm>
            <a:off x="0" y="6497638"/>
            <a:ext cx="935038" cy="360362"/>
          </a:xfrm>
          <a:prstGeom prst="rect">
            <a:avLst/>
          </a:prstGeom>
        </p:spPr>
        <p:txBody>
          <a:bodyPr vert="horz" lIns="0" tIns="0" rIns="0" bIns="0" rtlCol="0" anchor="t" anchorCtr="0">
            <a:noAutofit/>
          </a:bodyPr>
          <a:lstStyle>
            <a:lvl1pPr algn="l" fontAlgn="auto">
              <a:spcBef>
                <a:spcPts val="0"/>
              </a:spcBef>
              <a:spcAft>
                <a:spcPts val="0"/>
              </a:spcAft>
              <a:defRPr sz="100">
                <a:solidFill>
                  <a:schemeClr val="bg1">
                    <a:alpha val="0"/>
                  </a:schemeClr>
                </a:solidFill>
                <a:latin typeface="+mn-lt"/>
                <a:cs typeface="+mn-cs"/>
              </a:defRPr>
            </a:lvl1pPr>
          </a:lstStyle>
          <a:p>
            <a:pPr>
              <a:defRPr/>
            </a:pPr>
            <a:r>
              <a:rPr lang="en-US">
                <a:solidFill>
                  <a:prstClr val="white">
                    <a:alpha val="0"/>
                  </a:prstClr>
                </a:solidFill>
              </a:rPr>
              <a:t>Date</a:t>
            </a:r>
          </a:p>
        </p:txBody>
      </p:sp>
      <p:sp>
        <p:nvSpPr>
          <p:cNvPr id="5" name="Espace réservé du pied de page 4"/>
          <p:cNvSpPr>
            <a:spLocks noGrp="1"/>
          </p:cNvSpPr>
          <p:nvPr>
            <p:ph type="ftr" sz="quarter" idx="3"/>
          </p:nvPr>
        </p:nvSpPr>
        <p:spPr bwMode="gray">
          <a:xfrm>
            <a:off x="2411413" y="6497638"/>
            <a:ext cx="4321175" cy="360362"/>
          </a:xfrm>
          <a:prstGeom prst="rect">
            <a:avLst/>
          </a:prstGeom>
        </p:spPr>
        <p:txBody>
          <a:bodyPr vert="horz" lIns="0" tIns="7200" rIns="0" bIns="0" rtlCol="0" anchor="t" anchorCtr="0">
            <a:noAutofit/>
          </a:bodyPr>
          <a:lstStyle>
            <a:lvl1pPr algn="ctr" fontAlgn="auto">
              <a:spcBef>
                <a:spcPts val="0"/>
              </a:spcBef>
              <a:spcAft>
                <a:spcPts val="0"/>
              </a:spcAft>
              <a:defRPr sz="1000" b="1">
                <a:solidFill>
                  <a:schemeClr val="accent4"/>
                </a:solidFill>
                <a:latin typeface="+mn-lt"/>
                <a:cs typeface="+mn-cs"/>
              </a:defRPr>
            </a:lvl1pPr>
          </a:lstStyle>
          <a:p>
            <a:pPr>
              <a:defRPr/>
            </a:pPr>
            <a:r>
              <a:rPr lang="en-US">
                <a:solidFill>
                  <a:srgbClr val="005CB9"/>
                </a:solidFill>
              </a:rPr>
              <a:t>#</a:t>
            </a:r>
            <a:r>
              <a:rPr lang="en-US" err="1">
                <a:solidFill>
                  <a:srgbClr val="005CB9"/>
                </a:solidFill>
              </a:rPr>
              <a:t>vaccineswork</a:t>
            </a:r>
            <a:endParaRPr lang="en-US">
              <a:solidFill>
                <a:srgbClr val="005CB9"/>
              </a:solidFill>
            </a:endParaRPr>
          </a:p>
        </p:txBody>
      </p:sp>
      <p:sp>
        <p:nvSpPr>
          <p:cNvPr id="6" name="Espace réservé du numéro de diapositive 5"/>
          <p:cNvSpPr>
            <a:spLocks noGrp="1"/>
          </p:cNvSpPr>
          <p:nvPr>
            <p:ph type="sldNum" sz="quarter" idx="4"/>
          </p:nvPr>
        </p:nvSpPr>
        <p:spPr bwMode="gray">
          <a:xfrm>
            <a:off x="935038" y="6497638"/>
            <a:ext cx="900112" cy="360362"/>
          </a:xfrm>
          <a:prstGeom prst="rect">
            <a:avLst/>
          </a:prstGeom>
        </p:spPr>
        <p:txBody>
          <a:bodyPr vert="horz" lIns="0" tIns="21600" rIns="0" bIns="0" rtlCol="0" anchor="t" anchorCtr="0">
            <a:noAutofit/>
          </a:bodyPr>
          <a:lstStyle>
            <a:lvl1pPr algn="l" fontAlgn="auto">
              <a:spcBef>
                <a:spcPts val="0"/>
              </a:spcBef>
              <a:spcAft>
                <a:spcPts val="0"/>
              </a:spcAft>
              <a:defRPr sz="900" b="1">
                <a:solidFill>
                  <a:schemeClr val="tx2"/>
                </a:solidFill>
                <a:latin typeface="+mn-lt"/>
                <a:cs typeface="+mn-cs"/>
              </a:defRPr>
            </a:lvl1pPr>
          </a:lstStyle>
          <a:p>
            <a:pPr>
              <a:defRPr/>
            </a:pPr>
            <a:fld id="{554E5E40-990A-4474-BD97-03BADD847FA0}" type="slidenum">
              <a:rPr lang="en-US">
                <a:solidFill>
                  <a:srgbClr val="343434"/>
                </a:solidFill>
              </a:rPr>
              <a:pPr>
                <a:defRPr/>
              </a:pPr>
              <a:t>‹#›</a:t>
            </a:fld>
            <a:endParaRPr lang="en-US">
              <a:solidFill>
                <a:srgbClr val="343434"/>
              </a:solidFill>
            </a:endParaRPr>
          </a:p>
        </p:txBody>
      </p:sp>
      <p:cxnSp>
        <p:nvCxnSpPr>
          <p:cNvPr id="12" name="Connecteur droit 11"/>
          <p:cNvCxnSpPr/>
          <p:nvPr/>
        </p:nvCxnSpPr>
        <p:spPr bwMode="gray">
          <a:xfrm flipH="1">
            <a:off x="7559675" y="6040438"/>
            <a:ext cx="1584325" cy="0"/>
          </a:xfrm>
          <a:prstGeom prst="line">
            <a:avLst/>
          </a:prstGeom>
          <a:ln w="2413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56319192"/>
      </p:ext>
    </p:extLst>
  </p:cSld>
  <p:clrMap bg1="lt1" tx1="dk1" bg2="lt2" tx2="dk2" accent1="accent1" accent2="accent2" accent3="accent3" accent4="accent4" accent5="accent5" accent6="accent6" hlink="hlink" folHlink="folHlink"/>
  <p:sldLayoutIdLst>
    <p:sldLayoutId id="2147483994" r:id="rId1"/>
    <p:sldLayoutId id="2147483995" r:id="rId2"/>
    <p:sldLayoutId id="2147483996" r:id="rId3"/>
    <p:sldLayoutId id="2147483997" r:id="rId4"/>
    <p:sldLayoutId id="2147483999" r:id="rId5"/>
    <p:sldLayoutId id="2147484000" r:id="rId6"/>
    <p:sldLayoutId id="2147484001" r:id="rId7"/>
    <p:sldLayoutId id="2147484002" r:id="rId8"/>
    <p:sldLayoutId id="2147484003" r:id="rId9"/>
    <p:sldLayoutId id="2147484004" r:id="rId10"/>
  </p:sldLayoutIdLst>
  <p:hf hdr="0" dt="0"/>
  <p:txStyles>
    <p:titleStyle>
      <a:lvl1pPr algn="l" rtl="0" eaLnBrk="0" fontAlgn="base" hangingPunct="0">
        <a:lnSpc>
          <a:spcPct val="90000"/>
        </a:lnSpc>
        <a:spcBef>
          <a:spcPct val="0"/>
        </a:spcBef>
        <a:spcAft>
          <a:spcPct val="0"/>
        </a:spcAft>
        <a:defRPr sz="2800" kern="1200">
          <a:solidFill>
            <a:srgbClr val="005CB9"/>
          </a:solidFill>
          <a:latin typeface="+mj-lt"/>
          <a:ea typeface="+mj-ea"/>
          <a:cs typeface="+mj-cs"/>
        </a:defRPr>
      </a:lvl1pPr>
      <a:lvl2pPr algn="l" rtl="0" eaLnBrk="0" fontAlgn="base" hangingPunct="0">
        <a:lnSpc>
          <a:spcPct val="90000"/>
        </a:lnSpc>
        <a:spcBef>
          <a:spcPct val="0"/>
        </a:spcBef>
        <a:spcAft>
          <a:spcPct val="0"/>
        </a:spcAft>
        <a:defRPr sz="2800">
          <a:solidFill>
            <a:srgbClr val="005CB9"/>
          </a:solidFill>
          <a:latin typeface="Arial" charset="0"/>
        </a:defRPr>
      </a:lvl2pPr>
      <a:lvl3pPr algn="l" rtl="0" eaLnBrk="0" fontAlgn="base" hangingPunct="0">
        <a:lnSpc>
          <a:spcPct val="90000"/>
        </a:lnSpc>
        <a:spcBef>
          <a:spcPct val="0"/>
        </a:spcBef>
        <a:spcAft>
          <a:spcPct val="0"/>
        </a:spcAft>
        <a:defRPr sz="2800">
          <a:solidFill>
            <a:srgbClr val="005CB9"/>
          </a:solidFill>
          <a:latin typeface="Arial" charset="0"/>
        </a:defRPr>
      </a:lvl3pPr>
      <a:lvl4pPr algn="l" rtl="0" eaLnBrk="0" fontAlgn="base" hangingPunct="0">
        <a:lnSpc>
          <a:spcPct val="90000"/>
        </a:lnSpc>
        <a:spcBef>
          <a:spcPct val="0"/>
        </a:spcBef>
        <a:spcAft>
          <a:spcPct val="0"/>
        </a:spcAft>
        <a:defRPr sz="2800">
          <a:solidFill>
            <a:srgbClr val="005CB9"/>
          </a:solidFill>
          <a:latin typeface="Arial" charset="0"/>
        </a:defRPr>
      </a:lvl4pPr>
      <a:lvl5pPr algn="l" rtl="0" eaLnBrk="0" fontAlgn="base" hangingPunct="0">
        <a:lnSpc>
          <a:spcPct val="90000"/>
        </a:lnSpc>
        <a:spcBef>
          <a:spcPct val="0"/>
        </a:spcBef>
        <a:spcAft>
          <a:spcPct val="0"/>
        </a:spcAft>
        <a:defRPr sz="2800">
          <a:solidFill>
            <a:srgbClr val="005CB9"/>
          </a:solidFill>
          <a:latin typeface="Arial" charset="0"/>
        </a:defRPr>
      </a:lvl5pPr>
      <a:lvl6pPr marL="457200" algn="l" rtl="0" fontAlgn="base">
        <a:lnSpc>
          <a:spcPct val="90000"/>
        </a:lnSpc>
        <a:spcBef>
          <a:spcPct val="0"/>
        </a:spcBef>
        <a:spcAft>
          <a:spcPct val="0"/>
        </a:spcAft>
        <a:defRPr sz="2800">
          <a:solidFill>
            <a:srgbClr val="005CB9"/>
          </a:solidFill>
          <a:latin typeface="Arial" charset="0"/>
        </a:defRPr>
      </a:lvl6pPr>
      <a:lvl7pPr marL="914400" algn="l" rtl="0" fontAlgn="base">
        <a:lnSpc>
          <a:spcPct val="90000"/>
        </a:lnSpc>
        <a:spcBef>
          <a:spcPct val="0"/>
        </a:spcBef>
        <a:spcAft>
          <a:spcPct val="0"/>
        </a:spcAft>
        <a:defRPr sz="2800">
          <a:solidFill>
            <a:srgbClr val="005CB9"/>
          </a:solidFill>
          <a:latin typeface="Arial" charset="0"/>
        </a:defRPr>
      </a:lvl7pPr>
      <a:lvl8pPr marL="1371600" algn="l" rtl="0" fontAlgn="base">
        <a:lnSpc>
          <a:spcPct val="90000"/>
        </a:lnSpc>
        <a:spcBef>
          <a:spcPct val="0"/>
        </a:spcBef>
        <a:spcAft>
          <a:spcPct val="0"/>
        </a:spcAft>
        <a:defRPr sz="2800">
          <a:solidFill>
            <a:srgbClr val="005CB9"/>
          </a:solidFill>
          <a:latin typeface="Arial" charset="0"/>
        </a:defRPr>
      </a:lvl8pPr>
      <a:lvl9pPr marL="1828800" algn="l" rtl="0" fontAlgn="base">
        <a:lnSpc>
          <a:spcPct val="90000"/>
        </a:lnSpc>
        <a:spcBef>
          <a:spcPct val="0"/>
        </a:spcBef>
        <a:spcAft>
          <a:spcPct val="0"/>
        </a:spcAft>
        <a:defRPr sz="2800">
          <a:solidFill>
            <a:srgbClr val="005CB9"/>
          </a:solidFill>
          <a:latin typeface="Arial" charset="0"/>
        </a:defRPr>
      </a:lvl9pPr>
    </p:titleStyle>
    <p:bodyStyle>
      <a:lvl1pPr algn="l" rtl="0" eaLnBrk="0" fontAlgn="base" hangingPunct="0">
        <a:lnSpc>
          <a:spcPct val="110000"/>
        </a:lnSpc>
        <a:spcBef>
          <a:spcPct val="0"/>
        </a:spcBef>
        <a:spcAft>
          <a:spcPct val="0"/>
        </a:spcAft>
        <a:buFont typeface="Arial" charset="0"/>
        <a:defRPr sz="2000" b="1" kern="1200">
          <a:solidFill>
            <a:srgbClr val="005CB9"/>
          </a:solidFill>
          <a:latin typeface="+mn-lt"/>
          <a:ea typeface="+mn-ea"/>
          <a:cs typeface="+mn-cs"/>
        </a:defRPr>
      </a:lvl1pPr>
      <a:lvl2pPr marL="142875" algn="l" rtl="0" eaLnBrk="0" fontAlgn="base" hangingPunct="0">
        <a:spcBef>
          <a:spcPts val="300"/>
        </a:spcBef>
        <a:spcAft>
          <a:spcPct val="0"/>
        </a:spcAft>
        <a:buFont typeface="Arial" charset="0"/>
        <a:defRPr sz="1600" b="1" kern="1200">
          <a:solidFill>
            <a:schemeClr val="tx2"/>
          </a:solidFill>
          <a:latin typeface="+mn-lt"/>
          <a:ea typeface="+mn-ea"/>
          <a:cs typeface="+mn-cs"/>
        </a:defRPr>
      </a:lvl2pPr>
      <a:lvl3pPr marL="142875" indent="107950" algn="l" rtl="0" eaLnBrk="0" fontAlgn="base" hangingPunct="0">
        <a:spcBef>
          <a:spcPts val="300"/>
        </a:spcBef>
        <a:spcAft>
          <a:spcPct val="0"/>
        </a:spcAft>
        <a:buSzPct val="100000"/>
        <a:buFont typeface="Arial" charset="0"/>
        <a:buChar char="•"/>
        <a:defRPr sz="1400" b="1" kern="1200">
          <a:solidFill>
            <a:schemeClr val="tx2"/>
          </a:solidFill>
          <a:latin typeface="+mn-lt"/>
          <a:ea typeface="+mn-ea"/>
          <a:cs typeface="+mn-cs"/>
        </a:defRPr>
      </a:lvl3pPr>
      <a:lvl4pPr marL="358775" algn="l" rtl="0" eaLnBrk="0" fontAlgn="base" hangingPunct="0">
        <a:spcBef>
          <a:spcPts val="300"/>
        </a:spcBef>
        <a:spcAft>
          <a:spcPct val="0"/>
        </a:spcAft>
        <a:buSzPct val="100000"/>
        <a:buFont typeface="Arial" charset="0"/>
        <a:defRPr sz="1400" kern="1200">
          <a:solidFill>
            <a:schemeClr val="tx2"/>
          </a:solidFill>
          <a:latin typeface="+mn-lt"/>
          <a:ea typeface="+mn-ea"/>
          <a:cs typeface="+mn-cs"/>
        </a:defRPr>
      </a:lvl4pPr>
      <a:lvl5pPr marL="503238" indent="107950" algn="l" rtl="0" eaLnBrk="0" fontAlgn="base" hangingPunct="0">
        <a:spcBef>
          <a:spcPts val="300"/>
        </a:spcBef>
        <a:spcAft>
          <a:spcPct val="0"/>
        </a:spcAft>
        <a:buSzPct val="100000"/>
        <a:buFont typeface="Arial" charset="0"/>
        <a:buChar char="•"/>
        <a:defRPr sz="12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cxnSp>
        <p:nvCxnSpPr>
          <p:cNvPr id="11" name="Connecteur droit 10"/>
          <p:cNvCxnSpPr/>
          <p:nvPr/>
        </p:nvCxnSpPr>
        <p:spPr bwMode="gray">
          <a:xfrm flipH="1">
            <a:off x="935038" y="1116013"/>
            <a:ext cx="1584325" cy="0"/>
          </a:xfrm>
          <a:prstGeom prst="line">
            <a:avLst/>
          </a:prstGeom>
          <a:ln w="2413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027" name="Image 12" descr="Logo_suite_50x30.png"/>
          <p:cNvPicPr>
            <a:picLocks noChangeAspect="1"/>
          </p:cNvPicPr>
          <p:nvPr/>
        </p:nvPicPr>
        <p:blipFill>
          <a:blip r:embed="rId13">
            <a:extLst>
              <a:ext uri="{28A0092B-C50C-407E-A947-70E740481C1C}">
                <a14:useLocalDpi xmlns:a14="http://schemas.microsoft.com/office/drawing/2010/main" val="0"/>
              </a:ext>
            </a:extLst>
          </a:blip>
          <a:srcRect/>
          <a:stretch>
            <a:fillRect/>
          </a:stretch>
        </p:blipFill>
        <p:spPr bwMode="gray">
          <a:xfrm>
            <a:off x="7343775" y="5780088"/>
            <a:ext cx="1800225" cy="107791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028" name="Espace réservé du titre 1"/>
          <p:cNvSpPr>
            <a:spLocks noGrp="1"/>
          </p:cNvSpPr>
          <p:nvPr>
            <p:ph type="title"/>
          </p:nvPr>
        </p:nvSpPr>
        <p:spPr bwMode="gray">
          <a:xfrm>
            <a:off x="935038" y="0"/>
            <a:ext cx="7345362" cy="103663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bodyPr>
          <a:lstStyle/>
          <a:p>
            <a:pPr lvl="0"/>
            <a:r>
              <a:rPr lang="en-US" altLang="en-US"/>
              <a:t>TITLE</a:t>
            </a:r>
          </a:p>
        </p:txBody>
      </p:sp>
      <p:sp>
        <p:nvSpPr>
          <p:cNvPr id="1029" name="Espace réservé du texte 2"/>
          <p:cNvSpPr>
            <a:spLocks noGrp="1"/>
          </p:cNvSpPr>
          <p:nvPr>
            <p:ph type="body" idx="1"/>
          </p:nvPr>
        </p:nvSpPr>
        <p:spPr bwMode="gray">
          <a:xfrm>
            <a:off x="935038" y="1304925"/>
            <a:ext cx="7345362" cy="47164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n-US"/>
              <a:t>Text level 1</a:t>
            </a:r>
          </a:p>
          <a:p>
            <a:pPr lvl="1"/>
            <a:r>
              <a:rPr lang="en-US" altLang="en-US"/>
              <a:t>Text level 2</a:t>
            </a:r>
          </a:p>
          <a:p>
            <a:pPr lvl="2"/>
            <a:r>
              <a:rPr lang="en-US" altLang="en-US"/>
              <a:t>Text level 3</a:t>
            </a:r>
          </a:p>
          <a:p>
            <a:pPr lvl="3"/>
            <a:r>
              <a:rPr lang="en-US" altLang="en-US"/>
              <a:t>Text level 4</a:t>
            </a:r>
          </a:p>
          <a:p>
            <a:pPr lvl="4"/>
            <a:r>
              <a:rPr lang="en-US" altLang="en-US"/>
              <a:t>Text level 5</a:t>
            </a:r>
          </a:p>
        </p:txBody>
      </p:sp>
      <p:sp>
        <p:nvSpPr>
          <p:cNvPr id="4" name="Espace réservé de la date 3"/>
          <p:cNvSpPr>
            <a:spLocks noGrp="1"/>
          </p:cNvSpPr>
          <p:nvPr>
            <p:ph type="dt" sz="half" idx="2"/>
          </p:nvPr>
        </p:nvSpPr>
        <p:spPr bwMode="gray">
          <a:xfrm>
            <a:off x="0" y="6497638"/>
            <a:ext cx="935038" cy="360362"/>
          </a:xfrm>
          <a:prstGeom prst="rect">
            <a:avLst/>
          </a:prstGeom>
        </p:spPr>
        <p:txBody>
          <a:bodyPr vert="horz" lIns="0" tIns="0" rIns="0" bIns="0" rtlCol="0" anchor="t" anchorCtr="0">
            <a:noAutofit/>
          </a:bodyPr>
          <a:lstStyle>
            <a:lvl1pPr algn="l" fontAlgn="auto">
              <a:spcBef>
                <a:spcPts val="0"/>
              </a:spcBef>
              <a:spcAft>
                <a:spcPts val="0"/>
              </a:spcAft>
              <a:defRPr sz="100">
                <a:solidFill>
                  <a:schemeClr val="bg1">
                    <a:alpha val="0"/>
                  </a:schemeClr>
                </a:solidFill>
                <a:latin typeface="+mn-lt"/>
                <a:cs typeface="+mn-cs"/>
              </a:defRPr>
            </a:lvl1pPr>
          </a:lstStyle>
          <a:p>
            <a:pPr>
              <a:defRPr/>
            </a:pPr>
            <a:r>
              <a:rPr lang="en-US">
                <a:solidFill>
                  <a:prstClr val="white">
                    <a:alpha val="0"/>
                  </a:prstClr>
                </a:solidFill>
              </a:rPr>
              <a:t>Date</a:t>
            </a:r>
          </a:p>
        </p:txBody>
      </p:sp>
      <p:sp>
        <p:nvSpPr>
          <p:cNvPr id="5" name="Espace réservé du pied de page 4"/>
          <p:cNvSpPr>
            <a:spLocks noGrp="1"/>
          </p:cNvSpPr>
          <p:nvPr>
            <p:ph type="ftr" sz="quarter" idx="3"/>
          </p:nvPr>
        </p:nvSpPr>
        <p:spPr bwMode="gray">
          <a:xfrm>
            <a:off x="2411413" y="6497638"/>
            <a:ext cx="4321175" cy="360362"/>
          </a:xfrm>
          <a:prstGeom prst="rect">
            <a:avLst/>
          </a:prstGeom>
        </p:spPr>
        <p:txBody>
          <a:bodyPr vert="horz" lIns="0" tIns="7200" rIns="0" bIns="0" rtlCol="0" anchor="t" anchorCtr="0">
            <a:noAutofit/>
          </a:bodyPr>
          <a:lstStyle>
            <a:lvl1pPr algn="ctr" fontAlgn="auto">
              <a:spcBef>
                <a:spcPts val="0"/>
              </a:spcBef>
              <a:spcAft>
                <a:spcPts val="0"/>
              </a:spcAft>
              <a:defRPr sz="1000" b="1">
                <a:solidFill>
                  <a:schemeClr val="accent4"/>
                </a:solidFill>
                <a:latin typeface="+mn-lt"/>
                <a:cs typeface="+mn-cs"/>
              </a:defRPr>
            </a:lvl1pPr>
          </a:lstStyle>
          <a:p>
            <a:pPr>
              <a:defRPr/>
            </a:pPr>
            <a:r>
              <a:rPr lang="en-US">
                <a:solidFill>
                  <a:srgbClr val="005CB9"/>
                </a:solidFill>
              </a:rPr>
              <a:t>#</a:t>
            </a:r>
            <a:r>
              <a:rPr lang="en-US" err="1">
                <a:solidFill>
                  <a:srgbClr val="005CB9"/>
                </a:solidFill>
              </a:rPr>
              <a:t>vaccineswork</a:t>
            </a:r>
            <a:endParaRPr lang="en-US">
              <a:solidFill>
                <a:srgbClr val="005CB9"/>
              </a:solidFill>
            </a:endParaRPr>
          </a:p>
        </p:txBody>
      </p:sp>
      <p:sp>
        <p:nvSpPr>
          <p:cNvPr id="6" name="Espace réservé du numéro de diapositive 5"/>
          <p:cNvSpPr>
            <a:spLocks noGrp="1"/>
          </p:cNvSpPr>
          <p:nvPr>
            <p:ph type="sldNum" sz="quarter" idx="4"/>
          </p:nvPr>
        </p:nvSpPr>
        <p:spPr bwMode="gray">
          <a:xfrm>
            <a:off x="935038" y="6497638"/>
            <a:ext cx="900112" cy="360362"/>
          </a:xfrm>
          <a:prstGeom prst="rect">
            <a:avLst/>
          </a:prstGeom>
        </p:spPr>
        <p:txBody>
          <a:bodyPr vert="horz" lIns="0" tIns="21600" rIns="0" bIns="0" rtlCol="0" anchor="t" anchorCtr="0">
            <a:noAutofit/>
          </a:bodyPr>
          <a:lstStyle>
            <a:lvl1pPr algn="l" fontAlgn="auto">
              <a:spcBef>
                <a:spcPts val="0"/>
              </a:spcBef>
              <a:spcAft>
                <a:spcPts val="0"/>
              </a:spcAft>
              <a:defRPr sz="900" b="1">
                <a:solidFill>
                  <a:schemeClr val="tx2"/>
                </a:solidFill>
                <a:latin typeface="+mn-lt"/>
                <a:cs typeface="+mn-cs"/>
              </a:defRPr>
            </a:lvl1pPr>
          </a:lstStyle>
          <a:p>
            <a:pPr>
              <a:defRPr/>
            </a:pPr>
            <a:fld id="{554E5E40-990A-4474-BD97-03BADD847FA0}" type="slidenum">
              <a:rPr lang="en-US">
                <a:solidFill>
                  <a:srgbClr val="343434"/>
                </a:solidFill>
              </a:rPr>
              <a:pPr>
                <a:defRPr/>
              </a:pPr>
              <a:t>‹#›</a:t>
            </a:fld>
            <a:endParaRPr lang="en-US">
              <a:solidFill>
                <a:srgbClr val="343434"/>
              </a:solidFill>
            </a:endParaRPr>
          </a:p>
        </p:txBody>
      </p:sp>
      <p:cxnSp>
        <p:nvCxnSpPr>
          <p:cNvPr id="12" name="Connecteur droit 11"/>
          <p:cNvCxnSpPr/>
          <p:nvPr/>
        </p:nvCxnSpPr>
        <p:spPr bwMode="gray">
          <a:xfrm flipH="1">
            <a:off x="7559675" y="6040438"/>
            <a:ext cx="1584325" cy="0"/>
          </a:xfrm>
          <a:prstGeom prst="line">
            <a:avLst/>
          </a:prstGeom>
          <a:ln w="2413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82296368"/>
      </p:ext>
    </p:extLst>
  </p:cSld>
  <p:clrMap bg1="lt1" tx1="dk1" bg2="lt2" tx2="dk2" accent1="accent1" accent2="accent2" accent3="accent3" accent4="accent4" accent5="accent5" accent6="accent6" hlink="hlink" folHlink="folHlink"/>
  <p:sldLayoutIdLst>
    <p:sldLayoutId id="2147484006" r:id="rId1"/>
    <p:sldLayoutId id="2147484007" r:id="rId2"/>
    <p:sldLayoutId id="2147484008" r:id="rId3"/>
    <p:sldLayoutId id="2147484009" r:id="rId4"/>
    <p:sldLayoutId id="2147484010" r:id="rId5"/>
    <p:sldLayoutId id="2147484011" r:id="rId6"/>
    <p:sldLayoutId id="2147484012" r:id="rId7"/>
    <p:sldLayoutId id="2147484013" r:id="rId8"/>
    <p:sldLayoutId id="2147484014" r:id="rId9"/>
    <p:sldLayoutId id="2147484015" r:id="rId10"/>
    <p:sldLayoutId id="2147484016" r:id="rId11"/>
  </p:sldLayoutIdLst>
  <p:hf hdr="0" dt="0"/>
  <p:txStyles>
    <p:titleStyle>
      <a:lvl1pPr algn="l" rtl="0" eaLnBrk="0" fontAlgn="base" hangingPunct="0">
        <a:lnSpc>
          <a:spcPct val="90000"/>
        </a:lnSpc>
        <a:spcBef>
          <a:spcPct val="0"/>
        </a:spcBef>
        <a:spcAft>
          <a:spcPct val="0"/>
        </a:spcAft>
        <a:defRPr sz="2800" kern="1200">
          <a:solidFill>
            <a:srgbClr val="005CB9"/>
          </a:solidFill>
          <a:latin typeface="+mj-lt"/>
          <a:ea typeface="+mj-ea"/>
          <a:cs typeface="+mj-cs"/>
        </a:defRPr>
      </a:lvl1pPr>
      <a:lvl2pPr algn="l" rtl="0" eaLnBrk="0" fontAlgn="base" hangingPunct="0">
        <a:lnSpc>
          <a:spcPct val="90000"/>
        </a:lnSpc>
        <a:spcBef>
          <a:spcPct val="0"/>
        </a:spcBef>
        <a:spcAft>
          <a:spcPct val="0"/>
        </a:spcAft>
        <a:defRPr sz="2800">
          <a:solidFill>
            <a:srgbClr val="005CB9"/>
          </a:solidFill>
          <a:latin typeface="Arial" charset="0"/>
        </a:defRPr>
      </a:lvl2pPr>
      <a:lvl3pPr algn="l" rtl="0" eaLnBrk="0" fontAlgn="base" hangingPunct="0">
        <a:lnSpc>
          <a:spcPct val="90000"/>
        </a:lnSpc>
        <a:spcBef>
          <a:spcPct val="0"/>
        </a:spcBef>
        <a:spcAft>
          <a:spcPct val="0"/>
        </a:spcAft>
        <a:defRPr sz="2800">
          <a:solidFill>
            <a:srgbClr val="005CB9"/>
          </a:solidFill>
          <a:latin typeface="Arial" charset="0"/>
        </a:defRPr>
      </a:lvl3pPr>
      <a:lvl4pPr algn="l" rtl="0" eaLnBrk="0" fontAlgn="base" hangingPunct="0">
        <a:lnSpc>
          <a:spcPct val="90000"/>
        </a:lnSpc>
        <a:spcBef>
          <a:spcPct val="0"/>
        </a:spcBef>
        <a:spcAft>
          <a:spcPct val="0"/>
        </a:spcAft>
        <a:defRPr sz="2800">
          <a:solidFill>
            <a:srgbClr val="005CB9"/>
          </a:solidFill>
          <a:latin typeface="Arial" charset="0"/>
        </a:defRPr>
      </a:lvl4pPr>
      <a:lvl5pPr algn="l" rtl="0" eaLnBrk="0" fontAlgn="base" hangingPunct="0">
        <a:lnSpc>
          <a:spcPct val="90000"/>
        </a:lnSpc>
        <a:spcBef>
          <a:spcPct val="0"/>
        </a:spcBef>
        <a:spcAft>
          <a:spcPct val="0"/>
        </a:spcAft>
        <a:defRPr sz="2800">
          <a:solidFill>
            <a:srgbClr val="005CB9"/>
          </a:solidFill>
          <a:latin typeface="Arial" charset="0"/>
        </a:defRPr>
      </a:lvl5pPr>
      <a:lvl6pPr marL="457200" algn="l" rtl="0" fontAlgn="base">
        <a:lnSpc>
          <a:spcPct val="90000"/>
        </a:lnSpc>
        <a:spcBef>
          <a:spcPct val="0"/>
        </a:spcBef>
        <a:spcAft>
          <a:spcPct val="0"/>
        </a:spcAft>
        <a:defRPr sz="2800">
          <a:solidFill>
            <a:srgbClr val="005CB9"/>
          </a:solidFill>
          <a:latin typeface="Arial" charset="0"/>
        </a:defRPr>
      </a:lvl6pPr>
      <a:lvl7pPr marL="914400" algn="l" rtl="0" fontAlgn="base">
        <a:lnSpc>
          <a:spcPct val="90000"/>
        </a:lnSpc>
        <a:spcBef>
          <a:spcPct val="0"/>
        </a:spcBef>
        <a:spcAft>
          <a:spcPct val="0"/>
        </a:spcAft>
        <a:defRPr sz="2800">
          <a:solidFill>
            <a:srgbClr val="005CB9"/>
          </a:solidFill>
          <a:latin typeface="Arial" charset="0"/>
        </a:defRPr>
      </a:lvl7pPr>
      <a:lvl8pPr marL="1371600" algn="l" rtl="0" fontAlgn="base">
        <a:lnSpc>
          <a:spcPct val="90000"/>
        </a:lnSpc>
        <a:spcBef>
          <a:spcPct val="0"/>
        </a:spcBef>
        <a:spcAft>
          <a:spcPct val="0"/>
        </a:spcAft>
        <a:defRPr sz="2800">
          <a:solidFill>
            <a:srgbClr val="005CB9"/>
          </a:solidFill>
          <a:latin typeface="Arial" charset="0"/>
        </a:defRPr>
      </a:lvl8pPr>
      <a:lvl9pPr marL="1828800" algn="l" rtl="0" fontAlgn="base">
        <a:lnSpc>
          <a:spcPct val="90000"/>
        </a:lnSpc>
        <a:spcBef>
          <a:spcPct val="0"/>
        </a:spcBef>
        <a:spcAft>
          <a:spcPct val="0"/>
        </a:spcAft>
        <a:defRPr sz="2800">
          <a:solidFill>
            <a:srgbClr val="005CB9"/>
          </a:solidFill>
          <a:latin typeface="Arial" charset="0"/>
        </a:defRPr>
      </a:lvl9pPr>
    </p:titleStyle>
    <p:bodyStyle>
      <a:lvl1pPr algn="l" rtl="0" eaLnBrk="0" fontAlgn="base" hangingPunct="0">
        <a:lnSpc>
          <a:spcPct val="110000"/>
        </a:lnSpc>
        <a:spcBef>
          <a:spcPct val="0"/>
        </a:spcBef>
        <a:spcAft>
          <a:spcPct val="0"/>
        </a:spcAft>
        <a:buFont typeface="Arial" charset="0"/>
        <a:defRPr sz="2000" b="1" kern="1200">
          <a:solidFill>
            <a:srgbClr val="005CB9"/>
          </a:solidFill>
          <a:latin typeface="+mn-lt"/>
          <a:ea typeface="+mn-ea"/>
          <a:cs typeface="+mn-cs"/>
        </a:defRPr>
      </a:lvl1pPr>
      <a:lvl2pPr marL="142875" algn="l" rtl="0" eaLnBrk="0" fontAlgn="base" hangingPunct="0">
        <a:spcBef>
          <a:spcPts val="300"/>
        </a:spcBef>
        <a:spcAft>
          <a:spcPct val="0"/>
        </a:spcAft>
        <a:buFont typeface="Arial" charset="0"/>
        <a:defRPr sz="1600" b="1" kern="1200">
          <a:solidFill>
            <a:schemeClr val="tx2"/>
          </a:solidFill>
          <a:latin typeface="+mn-lt"/>
          <a:ea typeface="+mn-ea"/>
          <a:cs typeface="+mn-cs"/>
        </a:defRPr>
      </a:lvl2pPr>
      <a:lvl3pPr marL="142875" indent="107950" algn="l" rtl="0" eaLnBrk="0" fontAlgn="base" hangingPunct="0">
        <a:spcBef>
          <a:spcPts val="300"/>
        </a:spcBef>
        <a:spcAft>
          <a:spcPct val="0"/>
        </a:spcAft>
        <a:buSzPct val="100000"/>
        <a:buFont typeface="Arial" charset="0"/>
        <a:buChar char="•"/>
        <a:defRPr sz="1400" b="1" kern="1200">
          <a:solidFill>
            <a:schemeClr val="tx2"/>
          </a:solidFill>
          <a:latin typeface="+mn-lt"/>
          <a:ea typeface="+mn-ea"/>
          <a:cs typeface="+mn-cs"/>
        </a:defRPr>
      </a:lvl3pPr>
      <a:lvl4pPr marL="358775" algn="l" rtl="0" eaLnBrk="0" fontAlgn="base" hangingPunct="0">
        <a:spcBef>
          <a:spcPts val="300"/>
        </a:spcBef>
        <a:spcAft>
          <a:spcPct val="0"/>
        </a:spcAft>
        <a:buSzPct val="100000"/>
        <a:buFont typeface="Arial" charset="0"/>
        <a:defRPr sz="1400" kern="1200">
          <a:solidFill>
            <a:schemeClr val="tx2"/>
          </a:solidFill>
          <a:latin typeface="+mn-lt"/>
          <a:ea typeface="+mn-ea"/>
          <a:cs typeface="+mn-cs"/>
        </a:defRPr>
      </a:lvl4pPr>
      <a:lvl5pPr marL="503238" indent="107950" algn="l" rtl="0" eaLnBrk="0" fontAlgn="base" hangingPunct="0">
        <a:spcBef>
          <a:spcPts val="300"/>
        </a:spcBef>
        <a:spcAft>
          <a:spcPct val="0"/>
        </a:spcAft>
        <a:buSzPct val="100000"/>
        <a:buFont typeface="Arial" charset="0"/>
        <a:buChar char="•"/>
        <a:defRPr sz="12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cxnSp>
        <p:nvCxnSpPr>
          <p:cNvPr id="11" name="Connecteur droit 10"/>
          <p:cNvCxnSpPr/>
          <p:nvPr/>
        </p:nvCxnSpPr>
        <p:spPr bwMode="gray">
          <a:xfrm flipH="1">
            <a:off x="935038" y="1116358"/>
            <a:ext cx="1584000" cy="0"/>
          </a:xfrm>
          <a:prstGeom prst="line">
            <a:avLst/>
          </a:prstGeom>
          <a:ln w="2413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3" name="Image 12" descr="Logo_suite_50x30.png"/>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bwMode="gray">
          <a:xfrm>
            <a:off x="7344000" y="5779827"/>
            <a:ext cx="1800000" cy="1078173"/>
          </a:xfrm>
          <a:prstGeom prst="rect">
            <a:avLst/>
          </a:prstGeom>
        </p:spPr>
      </p:pic>
      <p:sp>
        <p:nvSpPr>
          <p:cNvPr id="2" name="Espace réservé du titre 1"/>
          <p:cNvSpPr>
            <a:spLocks noGrp="1"/>
          </p:cNvSpPr>
          <p:nvPr>
            <p:ph type="title"/>
          </p:nvPr>
        </p:nvSpPr>
        <p:spPr bwMode="gray">
          <a:xfrm>
            <a:off x="935038" y="1"/>
            <a:ext cx="7345362" cy="1036637"/>
          </a:xfrm>
          <a:prstGeom prst="rect">
            <a:avLst/>
          </a:prstGeom>
        </p:spPr>
        <p:txBody>
          <a:bodyPr vert="horz" lIns="0" tIns="0" rIns="0" bIns="0" rtlCol="0" anchor="b" anchorCtr="0">
            <a:noAutofit/>
          </a:bodyPr>
          <a:lstStyle/>
          <a:p>
            <a:r>
              <a:rPr lang="en-US" noProof="0"/>
              <a:t>TITLE</a:t>
            </a:r>
          </a:p>
        </p:txBody>
      </p:sp>
      <p:sp>
        <p:nvSpPr>
          <p:cNvPr id="3" name="Espace réservé du texte 2"/>
          <p:cNvSpPr>
            <a:spLocks noGrp="1"/>
          </p:cNvSpPr>
          <p:nvPr>
            <p:ph type="body" idx="1"/>
          </p:nvPr>
        </p:nvSpPr>
        <p:spPr bwMode="gray">
          <a:xfrm>
            <a:off x="935038" y="1304925"/>
            <a:ext cx="7345362" cy="4716463"/>
          </a:xfrm>
          <a:prstGeom prst="rect">
            <a:avLst/>
          </a:prstGeom>
        </p:spPr>
        <p:txBody>
          <a:bodyPr vert="horz" lIns="0" tIns="0" rIns="0" bIns="0" rtlCol="0" anchor="t" anchorCtr="0">
            <a:noAutofit/>
          </a:bodyPr>
          <a:lstStyle/>
          <a:p>
            <a:pPr lvl="0"/>
            <a:r>
              <a:rPr lang="en-US" noProof="0"/>
              <a:t>Text level 1</a:t>
            </a:r>
          </a:p>
          <a:p>
            <a:pPr lvl="1"/>
            <a:r>
              <a:rPr lang="en-US" noProof="0"/>
              <a:t>Text level 2</a:t>
            </a:r>
          </a:p>
          <a:p>
            <a:pPr lvl="2"/>
            <a:r>
              <a:rPr lang="en-US" noProof="0"/>
              <a:t>Text level 3</a:t>
            </a:r>
          </a:p>
          <a:p>
            <a:pPr lvl="3"/>
            <a:r>
              <a:rPr lang="en-US" noProof="0"/>
              <a:t>Text level 4</a:t>
            </a:r>
          </a:p>
          <a:p>
            <a:pPr lvl="4"/>
            <a:r>
              <a:rPr lang="en-US" noProof="0"/>
              <a:t>Text level 5</a:t>
            </a:r>
          </a:p>
        </p:txBody>
      </p:sp>
      <p:sp>
        <p:nvSpPr>
          <p:cNvPr id="4" name="Espace réservé de la date 3"/>
          <p:cNvSpPr>
            <a:spLocks noGrp="1"/>
          </p:cNvSpPr>
          <p:nvPr>
            <p:ph type="dt" sz="half" idx="2"/>
          </p:nvPr>
        </p:nvSpPr>
        <p:spPr bwMode="gray">
          <a:xfrm>
            <a:off x="-1" y="6498000"/>
            <a:ext cx="935039" cy="360000"/>
          </a:xfrm>
          <a:prstGeom prst="rect">
            <a:avLst/>
          </a:prstGeom>
        </p:spPr>
        <p:txBody>
          <a:bodyPr vert="horz" lIns="0" tIns="0" rIns="0" bIns="0" rtlCol="0" anchor="t" anchorCtr="0">
            <a:noAutofit/>
          </a:bodyPr>
          <a:lstStyle>
            <a:lvl1pPr algn="l">
              <a:defRPr sz="100">
                <a:solidFill>
                  <a:schemeClr val="bg1">
                    <a:alpha val="0"/>
                  </a:schemeClr>
                </a:solidFill>
              </a:defRPr>
            </a:lvl1pPr>
          </a:lstStyle>
          <a:p>
            <a:r>
              <a:rPr lang="en-US">
                <a:solidFill>
                  <a:prstClr val="white">
                    <a:alpha val="0"/>
                  </a:prstClr>
                </a:solidFill>
              </a:rPr>
              <a:t>Date</a:t>
            </a:r>
          </a:p>
        </p:txBody>
      </p:sp>
      <p:sp>
        <p:nvSpPr>
          <p:cNvPr id="5" name="Espace réservé du pied de page 4"/>
          <p:cNvSpPr>
            <a:spLocks noGrp="1"/>
          </p:cNvSpPr>
          <p:nvPr>
            <p:ph type="ftr" sz="quarter" idx="3"/>
          </p:nvPr>
        </p:nvSpPr>
        <p:spPr bwMode="gray">
          <a:xfrm>
            <a:off x="2412000" y="6498000"/>
            <a:ext cx="4320000" cy="360000"/>
          </a:xfrm>
          <a:prstGeom prst="rect">
            <a:avLst/>
          </a:prstGeom>
        </p:spPr>
        <p:txBody>
          <a:bodyPr vert="horz" lIns="0" tIns="7200" rIns="0" bIns="0" rtlCol="0" anchor="t" anchorCtr="0">
            <a:noAutofit/>
          </a:bodyPr>
          <a:lstStyle>
            <a:lvl1pPr algn="ctr">
              <a:defRPr sz="1000" b="1">
                <a:solidFill>
                  <a:schemeClr val="accent4"/>
                </a:solidFill>
              </a:defRPr>
            </a:lvl1pPr>
          </a:lstStyle>
          <a:p>
            <a:r>
              <a:rPr lang="en-US">
                <a:solidFill>
                  <a:srgbClr val="005CB9"/>
                </a:solidFill>
              </a:rPr>
              <a:t>#</a:t>
            </a:r>
            <a:r>
              <a:rPr lang="en-US" err="1">
                <a:solidFill>
                  <a:srgbClr val="005CB9"/>
                </a:solidFill>
              </a:rPr>
              <a:t>vaccineswork</a:t>
            </a:r>
            <a:endParaRPr lang="en-US">
              <a:solidFill>
                <a:srgbClr val="005CB9"/>
              </a:solidFill>
            </a:endParaRPr>
          </a:p>
        </p:txBody>
      </p:sp>
      <p:sp>
        <p:nvSpPr>
          <p:cNvPr id="6" name="Espace réservé du numéro de diapositive 5"/>
          <p:cNvSpPr>
            <a:spLocks noGrp="1"/>
          </p:cNvSpPr>
          <p:nvPr>
            <p:ph type="sldNum" sz="quarter" idx="4"/>
          </p:nvPr>
        </p:nvSpPr>
        <p:spPr bwMode="gray">
          <a:xfrm>
            <a:off x="935038" y="6498000"/>
            <a:ext cx="900112" cy="360000"/>
          </a:xfrm>
          <a:prstGeom prst="rect">
            <a:avLst/>
          </a:prstGeom>
        </p:spPr>
        <p:txBody>
          <a:bodyPr vert="horz" lIns="0" tIns="21600" rIns="0" bIns="0" rtlCol="0" anchor="t" anchorCtr="0">
            <a:noAutofit/>
          </a:bodyPr>
          <a:lstStyle>
            <a:lvl1pPr algn="ctr">
              <a:defRPr sz="900" b="1">
                <a:solidFill>
                  <a:schemeClr val="tx2"/>
                </a:solidFill>
              </a:defRPr>
            </a:lvl1pPr>
          </a:lstStyle>
          <a:p>
            <a:pPr algn="l"/>
            <a:fld id="{733122C9-A0B9-462F-8757-0847AD287B63}" type="slidenum">
              <a:rPr lang="en-US" smtClean="0">
                <a:solidFill>
                  <a:srgbClr val="343434"/>
                </a:solidFill>
              </a:rPr>
              <a:pPr algn="l"/>
              <a:t>‹#›</a:t>
            </a:fld>
            <a:endParaRPr lang="en-US">
              <a:solidFill>
                <a:srgbClr val="343434"/>
              </a:solidFill>
            </a:endParaRPr>
          </a:p>
        </p:txBody>
      </p:sp>
      <p:cxnSp>
        <p:nvCxnSpPr>
          <p:cNvPr id="12" name="Connecteur droit 11"/>
          <p:cNvCxnSpPr/>
          <p:nvPr/>
        </p:nvCxnSpPr>
        <p:spPr bwMode="gray">
          <a:xfrm flipH="1">
            <a:off x="7560000" y="6040964"/>
            <a:ext cx="1584000" cy="0"/>
          </a:xfrm>
          <a:prstGeom prst="line">
            <a:avLst/>
          </a:prstGeom>
          <a:ln w="2413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73002931"/>
      </p:ext>
    </p:extLst>
  </p:cSld>
  <p:clrMap bg1="lt1" tx1="dk1" bg2="lt2" tx2="dk2" accent1="accent1" accent2="accent2" accent3="accent3" accent4="accent4" accent5="accent5" accent6="accent6" hlink="hlink" folHlink="folHlink"/>
  <p:sldLayoutIdLst>
    <p:sldLayoutId id="2147484018" r:id="rId1"/>
    <p:sldLayoutId id="2147484019" r:id="rId2"/>
    <p:sldLayoutId id="2147484020" r:id="rId3"/>
    <p:sldLayoutId id="2147484021" r:id="rId4"/>
    <p:sldLayoutId id="2147484022" r:id="rId5"/>
    <p:sldLayoutId id="2147484023" r:id="rId6"/>
    <p:sldLayoutId id="2147484024" r:id="rId7"/>
    <p:sldLayoutId id="2147484025" r:id="rId8"/>
    <p:sldLayoutId id="2147484026" r:id="rId9"/>
    <p:sldLayoutId id="2147484027" r:id="rId10"/>
  </p:sldLayoutIdLst>
  <p:hf hdr="0" dt="0"/>
  <p:txStyles>
    <p:titleStyle>
      <a:lvl1pPr algn="l" defTabSz="914400" rtl="0" eaLnBrk="1" latinLnBrk="0" hangingPunct="1">
        <a:lnSpc>
          <a:spcPct val="90000"/>
        </a:lnSpc>
        <a:spcBef>
          <a:spcPct val="0"/>
        </a:spcBef>
        <a:buNone/>
        <a:defRPr sz="2800" b="0" kern="1200" cap="none" baseline="0">
          <a:solidFill>
            <a:schemeClr val="accent4"/>
          </a:solidFill>
          <a:latin typeface="+mj-lt"/>
          <a:ea typeface="+mj-ea"/>
          <a:cs typeface="+mj-cs"/>
        </a:defRPr>
      </a:lvl1pPr>
    </p:titleStyle>
    <p:bodyStyle>
      <a:lvl1pPr marL="0" indent="0" algn="l" defTabSz="914400" rtl="0" eaLnBrk="1" latinLnBrk="0" hangingPunct="1">
        <a:lnSpc>
          <a:spcPct val="110000"/>
        </a:lnSpc>
        <a:spcBef>
          <a:spcPts val="0"/>
        </a:spcBef>
        <a:buFont typeface="Arial" pitchFamily="34" charset="0"/>
        <a:buNone/>
        <a:defRPr sz="2000" b="1" kern="1200">
          <a:solidFill>
            <a:schemeClr val="accent4"/>
          </a:solidFill>
          <a:latin typeface="+mn-lt"/>
          <a:ea typeface="+mn-ea"/>
          <a:cs typeface="+mn-cs"/>
        </a:defRPr>
      </a:lvl1pPr>
      <a:lvl2pPr marL="142875" indent="0" algn="l" defTabSz="914400" rtl="0" eaLnBrk="1" latinLnBrk="0" hangingPunct="1">
        <a:lnSpc>
          <a:spcPct val="100000"/>
        </a:lnSpc>
        <a:spcBef>
          <a:spcPts val="300"/>
        </a:spcBef>
        <a:buFont typeface="Arial" pitchFamily="34" charset="0"/>
        <a:buNone/>
        <a:defRPr sz="1600" b="1" kern="1200">
          <a:solidFill>
            <a:schemeClr val="tx2"/>
          </a:solidFill>
          <a:latin typeface="+mn-lt"/>
          <a:ea typeface="+mn-ea"/>
          <a:cs typeface="+mn-cs"/>
        </a:defRPr>
      </a:lvl2pPr>
      <a:lvl3pPr marL="144000" indent="108000" algn="l" defTabSz="914400" rtl="0" eaLnBrk="1" latinLnBrk="0" hangingPunct="1">
        <a:lnSpc>
          <a:spcPct val="100000"/>
        </a:lnSpc>
        <a:spcBef>
          <a:spcPts val="300"/>
        </a:spcBef>
        <a:buSzPct val="100000"/>
        <a:buFont typeface="Arial" pitchFamily="34" charset="0"/>
        <a:buChar char="•"/>
        <a:defRPr sz="1400" b="1" kern="1200">
          <a:solidFill>
            <a:schemeClr val="tx2"/>
          </a:solidFill>
          <a:latin typeface="+mn-lt"/>
          <a:ea typeface="+mn-ea"/>
          <a:cs typeface="+mn-cs"/>
        </a:defRPr>
      </a:lvl3pPr>
      <a:lvl4pPr marL="360000" indent="0" algn="l" defTabSz="914400" rtl="0" eaLnBrk="1" latinLnBrk="0" hangingPunct="1">
        <a:lnSpc>
          <a:spcPct val="100000"/>
        </a:lnSpc>
        <a:spcBef>
          <a:spcPts val="300"/>
        </a:spcBef>
        <a:buSzPct val="100000"/>
        <a:buFont typeface="Arial" pitchFamily="34" charset="0"/>
        <a:buNone/>
        <a:defRPr sz="1400" kern="1200">
          <a:solidFill>
            <a:schemeClr val="tx2"/>
          </a:solidFill>
          <a:latin typeface="+mn-lt"/>
          <a:ea typeface="+mn-ea"/>
          <a:cs typeface="+mn-cs"/>
        </a:defRPr>
      </a:lvl4pPr>
      <a:lvl5pPr marL="504000" indent="108000" algn="l" defTabSz="914400" rtl="0" eaLnBrk="1" latinLnBrk="0" hangingPunct="1">
        <a:lnSpc>
          <a:spcPct val="100000"/>
        </a:lnSpc>
        <a:spcBef>
          <a:spcPts val="300"/>
        </a:spcBef>
        <a:buSzPct val="100000"/>
        <a:buFont typeface="Arial" pitchFamily="34" charset="0"/>
        <a:buChar char="•"/>
        <a:defRPr sz="12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cxnSp>
        <p:nvCxnSpPr>
          <p:cNvPr id="11" name="Connecteur droit 10"/>
          <p:cNvCxnSpPr/>
          <p:nvPr/>
        </p:nvCxnSpPr>
        <p:spPr bwMode="gray">
          <a:xfrm flipH="1">
            <a:off x="935038" y="1116013"/>
            <a:ext cx="1584325" cy="0"/>
          </a:xfrm>
          <a:prstGeom prst="line">
            <a:avLst/>
          </a:prstGeom>
          <a:ln w="2413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027" name="Image 12" descr="Logo_suite_50x30.png"/>
          <p:cNvPicPr>
            <a:picLocks noChangeAspect="1"/>
          </p:cNvPicPr>
          <p:nvPr/>
        </p:nvPicPr>
        <p:blipFill>
          <a:blip r:embed="rId12">
            <a:extLst>
              <a:ext uri="{28A0092B-C50C-407E-A947-70E740481C1C}">
                <a14:useLocalDpi xmlns:a14="http://schemas.microsoft.com/office/drawing/2010/main" val="0"/>
              </a:ext>
            </a:extLst>
          </a:blip>
          <a:srcRect/>
          <a:stretch>
            <a:fillRect/>
          </a:stretch>
        </p:blipFill>
        <p:spPr bwMode="gray">
          <a:xfrm>
            <a:off x="7343775" y="5780088"/>
            <a:ext cx="1800225" cy="107791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028" name="Espace réservé du titre 1"/>
          <p:cNvSpPr>
            <a:spLocks noGrp="1"/>
          </p:cNvSpPr>
          <p:nvPr>
            <p:ph type="title"/>
          </p:nvPr>
        </p:nvSpPr>
        <p:spPr bwMode="gray">
          <a:xfrm>
            <a:off x="935038" y="0"/>
            <a:ext cx="7345362" cy="103663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bodyPr>
          <a:lstStyle/>
          <a:p>
            <a:pPr lvl="0"/>
            <a:r>
              <a:rPr lang="en-US" altLang="en-US"/>
              <a:t>TITLE</a:t>
            </a:r>
          </a:p>
        </p:txBody>
      </p:sp>
      <p:sp>
        <p:nvSpPr>
          <p:cNvPr id="1029" name="Espace réservé du texte 2"/>
          <p:cNvSpPr>
            <a:spLocks noGrp="1"/>
          </p:cNvSpPr>
          <p:nvPr>
            <p:ph type="body" idx="1"/>
          </p:nvPr>
        </p:nvSpPr>
        <p:spPr bwMode="gray">
          <a:xfrm>
            <a:off x="935038" y="1304925"/>
            <a:ext cx="7345362" cy="47164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n-US"/>
              <a:t>Text level 1</a:t>
            </a:r>
          </a:p>
          <a:p>
            <a:pPr lvl="1"/>
            <a:r>
              <a:rPr lang="en-US" altLang="en-US"/>
              <a:t>Text level 2</a:t>
            </a:r>
          </a:p>
          <a:p>
            <a:pPr lvl="2"/>
            <a:r>
              <a:rPr lang="en-US" altLang="en-US"/>
              <a:t>Text level 3</a:t>
            </a:r>
          </a:p>
          <a:p>
            <a:pPr lvl="3"/>
            <a:r>
              <a:rPr lang="en-US" altLang="en-US"/>
              <a:t>Text level 4</a:t>
            </a:r>
          </a:p>
          <a:p>
            <a:pPr lvl="4"/>
            <a:r>
              <a:rPr lang="en-US" altLang="en-US"/>
              <a:t>Text level 5</a:t>
            </a:r>
          </a:p>
        </p:txBody>
      </p:sp>
      <p:sp>
        <p:nvSpPr>
          <p:cNvPr id="4" name="Espace réservé de la date 3"/>
          <p:cNvSpPr>
            <a:spLocks noGrp="1"/>
          </p:cNvSpPr>
          <p:nvPr>
            <p:ph type="dt" sz="half" idx="2"/>
          </p:nvPr>
        </p:nvSpPr>
        <p:spPr bwMode="gray">
          <a:xfrm>
            <a:off x="0" y="6497638"/>
            <a:ext cx="935038" cy="360362"/>
          </a:xfrm>
          <a:prstGeom prst="rect">
            <a:avLst/>
          </a:prstGeom>
        </p:spPr>
        <p:txBody>
          <a:bodyPr vert="horz" lIns="0" tIns="0" rIns="0" bIns="0" rtlCol="0" anchor="t" anchorCtr="0">
            <a:noAutofit/>
          </a:bodyPr>
          <a:lstStyle>
            <a:lvl1pPr algn="l" fontAlgn="auto">
              <a:spcBef>
                <a:spcPts val="0"/>
              </a:spcBef>
              <a:spcAft>
                <a:spcPts val="0"/>
              </a:spcAft>
              <a:defRPr sz="100">
                <a:solidFill>
                  <a:schemeClr val="bg1">
                    <a:alpha val="0"/>
                  </a:schemeClr>
                </a:solidFill>
                <a:latin typeface="+mn-lt"/>
                <a:cs typeface="+mn-cs"/>
              </a:defRPr>
            </a:lvl1pPr>
          </a:lstStyle>
          <a:p>
            <a:pPr>
              <a:defRPr/>
            </a:pPr>
            <a:r>
              <a:rPr lang="en-US">
                <a:solidFill>
                  <a:prstClr val="white">
                    <a:alpha val="0"/>
                  </a:prstClr>
                </a:solidFill>
              </a:rPr>
              <a:t>Date</a:t>
            </a:r>
          </a:p>
        </p:txBody>
      </p:sp>
      <p:sp>
        <p:nvSpPr>
          <p:cNvPr id="5" name="Espace réservé du pied de page 4"/>
          <p:cNvSpPr>
            <a:spLocks noGrp="1"/>
          </p:cNvSpPr>
          <p:nvPr>
            <p:ph type="ftr" sz="quarter" idx="3"/>
          </p:nvPr>
        </p:nvSpPr>
        <p:spPr bwMode="gray">
          <a:xfrm>
            <a:off x="2411413" y="6497638"/>
            <a:ext cx="4321175" cy="360362"/>
          </a:xfrm>
          <a:prstGeom prst="rect">
            <a:avLst/>
          </a:prstGeom>
        </p:spPr>
        <p:txBody>
          <a:bodyPr vert="horz" lIns="0" tIns="7200" rIns="0" bIns="0" rtlCol="0" anchor="t" anchorCtr="0">
            <a:noAutofit/>
          </a:bodyPr>
          <a:lstStyle>
            <a:lvl1pPr algn="ctr" fontAlgn="auto">
              <a:spcBef>
                <a:spcPts val="0"/>
              </a:spcBef>
              <a:spcAft>
                <a:spcPts val="0"/>
              </a:spcAft>
              <a:defRPr sz="1000" b="1">
                <a:solidFill>
                  <a:schemeClr val="accent4"/>
                </a:solidFill>
                <a:latin typeface="+mn-lt"/>
                <a:cs typeface="+mn-cs"/>
              </a:defRPr>
            </a:lvl1pPr>
          </a:lstStyle>
          <a:p>
            <a:pPr>
              <a:defRPr/>
            </a:pPr>
            <a:r>
              <a:rPr lang="en-US">
                <a:solidFill>
                  <a:srgbClr val="005CB9"/>
                </a:solidFill>
              </a:rPr>
              <a:t>#</a:t>
            </a:r>
            <a:r>
              <a:rPr lang="en-US" err="1">
                <a:solidFill>
                  <a:srgbClr val="005CB9"/>
                </a:solidFill>
              </a:rPr>
              <a:t>vaccineswork</a:t>
            </a:r>
            <a:endParaRPr lang="en-US">
              <a:solidFill>
                <a:srgbClr val="005CB9"/>
              </a:solidFill>
            </a:endParaRPr>
          </a:p>
        </p:txBody>
      </p:sp>
      <p:sp>
        <p:nvSpPr>
          <p:cNvPr id="6" name="Espace réservé du numéro de diapositive 5"/>
          <p:cNvSpPr>
            <a:spLocks noGrp="1"/>
          </p:cNvSpPr>
          <p:nvPr>
            <p:ph type="sldNum" sz="quarter" idx="4"/>
          </p:nvPr>
        </p:nvSpPr>
        <p:spPr bwMode="gray">
          <a:xfrm>
            <a:off x="935038" y="6497638"/>
            <a:ext cx="900112" cy="360362"/>
          </a:xfrm>
          <a:prstGeom prst="rect">
            <a:avLst/>
          </a:prstGeom>
        </p:spPr>
        <p:txBody>
          <a:bodyPr vert="horz" lIns="0" tIns="21600" rIns="0" bIns="0" rtlCol="0" anchor="t" anchorCtr="0">
            <a:noAutofit/>
          </a:bodyPr>
          <a:lstStyle>
            <a:lvl1pPr algn="l" fontAlgn="auto">
              <a:spcBef>
                <a:spcPts val="0"/>
              </a:spcBef>
              <a:spcAft>
                <a:spcPts val="0"/>
              </a:spcAft>
              <a:defRPr sz="900" b="1">
                <a:solidFill>
                  <a:schemeClr val="tx2"/>
                </a:solidFill>
                <a:latin typeface="+mn-lt"/>
                <a:cs typeface="+mn-cs"/>
              </a:defRPr>
            </a:lvl1pPr>
          </a:lstStyle>
          <a:p>
            <a:pPr>
              <a:defRPr/>
            </a:pPr>
            <a:fld id="{554E5E40-990A-4474-BD97-03BADD847FA0}" type="slidenum">
              <a:rPr lang="en-US">
                <a:solidFill>
                  <a:srgbClr val="343434"/>
                </a:solidFill>
              </a:rPr>
              <a:pPr>
                <a:defRPr/>
              </a:pPr>
              <a:t>‹#›</a:t>
            </a:fld>
            <a:endParaRPr lang="en-US">
              <a:solidFill>
                <a:srgbClr val="343434"/>
              </a:solidFill>
            </a:endParaRPr>
          </a:p>
        </p:txBody>
      </p:sp>
      <p:cxnSp>
        <p:nvCxnSpPr>
          <p:cNvPr id="12" name="Connecteur droit 11"/>
          <p:cNvCxnSpPr/>
          <p:nvPr/>
        </p:nvCxnSpPr>
        <p:spPr bwMode="gray">
          <a:xfrm flipH="1">
            <a:off x="7559675" y="6040438"/>
            <a:ext cx="1584325" cy="0"/>
          </a:xfrm>
          <a:prstGeom prst="line">
            <a:avLst/>
          </a:prstGeom>
          <a:ln w="2413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67669840"/>
      </p:ext>
    </p:extLst>
  </p:cSld>
  <p:clrMap bg1="lt1" tx1="dk1" bg2="lt2" tx2="dk2" accent1="accent1" accent2="accent2" accent3="accent3" accent4="accent4" accent5="accent5" accent6="accent6" hlink="hlink" folHlink="folHlink"/>
  <p:sldLayoutIdLst>
    <p:sldLayoutId id="2147484029" r:id="rId1"/>
    <p:sldLayoutId id="2147484030" r:id="rId2"/>
    <p:sldLayoutId id="2147484031" r:id="rId3"/>
    <p:sldLayoutId id="2147484032" r:id="rId4"/>
    <p:sldLayoutId id="2147484033" r:id="rId5"/>
    <p:sldLayoutId id="2147484034" r:id="rId6"/>
    <p:sldLayoutId id="2147484035" r:id="rId7"/>
    <p:sldLayoutId id="2147484036" r:id="rId8"/>
    <p:sldLayoutId id="2147484037" r:id="rId9"/>
    <p:sldLayoutId id="2147484038" r:id="rId10"/>
  </p:sldLayoutIdLst>
  <p:hf hdr="0" dt="0"/>
  <p:txStyles>
    <p:titleStyle>
      <a:lvl1pPr algn="l" rtl="0" eaLnBrk="0" fontAlgn="base" hangingPunct="0">
        <a:lnSpc>
          <a:spcPct val="90000"/>
        </a:lnSpc>
        <a:spcBef>
          <a:spcPct val="0"/>
        </a:spcBef>
        <a:spcAft>
          <a:spcPct val="0"/>
        </a:spcAft>
        <a:defRPr sz="2800" kern="1200">
          <a:solidFill>
            <a:srgbClr val="005CB9"/>
          </a:solidFill>
          <a:latin typeface="+mj-lt"/>
          <a:ea typeface="+mj-ea"/>
          <a:cs typeface="+mj-cs"/>
        </a:defRPr>
      </a:lvl1pPr>
      <a:lvl2pPr algn="l" rtl="0" eaLnBrk="0" fontAlgn="base" hangingPunct="0">
        <a:lnSpc>
          <a:spcPct val="90000"/>
        </a:lnSpc>
        <a:spcBef>
          <a:spcPct val="0"/>
        </a:spcBef>
        <a:spcAft>
          <a:spcPct val="0"/>
        </a:spcAft>
        <a:defRPr sz="2800">
          <a:solidFill>
            <a:srgbClr val="005CB9"/>
          </a:solidFill>
          <a:latin typeface="Arial" charset="0"/>
        </a:defRPr>
      </a:lvl2pPr>
      <a:lvl3pPr algn="l" rtl="0" eaLnBrk="0" fontAlgn="base" hangingPunct="0">
        <a:lnSpc>
          <a:spcPct val="90000"/>
        </a:lnSpc>
        <a:spcBef>
          <a:spcPct val="0"/>
        </a:spcBef>
        <a:spcAft>
          <a:spcPct val="0"/>
        </a:spcAft>
        <a:defRPr sz="2800">
          <a:solidFill>
            <a:srgbClr val="005CB9"/>
          </a:solidFill>
          <a:latin typeface="Arial" charset="0"/>
        </a:defRPr>
      </a:lvl3pPr>
      <a:lvl4pPr algn="l" rtl="0" eaLnBrk="0" fontAlgn="base" hangingPunct="0">
        <a:lnSpc>
          <a:spcPct val="90000"/>
        </a:lnSpc>
        <a:spcBef>
          <a:spcPct val="0"/>
        </a:spcBef>
        <a:spcAft>
          <a:spcPct val="0"/>
        </a:spcAft>
        <a:defRPr sz="2800">
          <a:solidFill>
            <a:srgbClr val="005CB9"/>
          </a:solidFill>
          <a:latin typeface="Arial" charset="0"/>
        </a:defRPr>
      </a:lvl4pPr>
      <a:lvl5pPr algn="l" rtl="0" eaLnBrk="0" fontAlgn="base" hangingPunct="0">
        <a:lnSpc>
          <a:spcPct val="90000"/>
        </a:lnSpc>
        <a:spcBef>
          <a:spcPct val="0"/>
        </a:spcBef>
        <a:spcAft>
          <a:spcPct val="0"/>
        </a:spcAft>
        <a:defRPr sz="2800">
          <a:solidFill>
            <a:srgbClr val="005CB9"/>
          </a:solidFill>
          <a:latin typeface="Arial" charset="0"/>
        </a:defRPr>
      </a:lvl5pPr>
      <a:lvl6pPr marL="457200" algn="l" rtl="0" fontAlgn="base">
        <a:lnSpc>
          <a:spcPct val="90000"/>
        </a:lnSpc>
        <a:spcBef>
          <a:spcPct val="0"/>
        </a:spcBef>
        <a:spcAft>
          <a:spcPct val="0"/>
        </a:spcAft>
        <a:defRPr sz="2800">
          <a:solidFill>
            <a:srgbClr val="005CB9"/>
          </a:solidFill>
          <a:latin typeface="Arial" charset="0"/>
        </a:defRPr>
      </a:lvl6pPr>
      <a:lvl7pPr marL="914400" algn="l" rtl="0" fontAlgn="base">
        <a:lnSpc>
          <a:spcPct val="90000"/>
        </a:lnSpc>
        <a:spcBef>
          <a:spcPct val="0"/>
        </a:spcBef>
        <a:spcAft>
          <a:spcPct val="0"/>
        </a:spcAft>
        <a:defRPr sz="2800">
          <a:solidFill>
            <a:srgbClr val="005CB9"/>
          </a:solidFill>
          <a:latin typeface="Arial" charset="0"/>
        </a:defRPr>
      </a:lvl7pPr>
      <a:lvl8pPr marL="1371600" algn="l" rtl="0" fontAlgn="base">
        <a:lnSpc>
          <a:spcPct val="90000"/>
        </a:lnSpc>
        <a:spcBef>
          <a:spcPct val="0"/>
        </a:spcBef>
        <a:spcAft>
          <a:spcPct val="0"/>
        </a:spcAft>
        <a:defRPr sz="2800">
          <a:solidFill>
            <a:srgbClr val="005CB9"/>
          </a:solidFill>
          <a:latin typeface="Arial" charset="0"/>
        </a:defRPr>
      </a:lvl8pPr>
      <a:lvl9pPr marL="1828800" algn="l" rtl="0" fontAlgn="base">
        <a:lnSpc>
          <a:spcPct val="90000"/>
        </a:lnSpc>
        <a:spcBef>
          <a:spcPct val="0"/>
        </a:spcBef>
        <a:spcAft>
          <a:spcPct val="0"/>
        </a:spcAft>
        <a:defRPr sz="2800">
          <a:solidFill>
            <a:srgbClr val="005CB9"/>
          </a:solidFill>
          <a:latin typeface="Arial" charset="0"/>
        </a:defRPr>
      </a:lvl9pPr>
    </p:titleStyle>
    <p:bodyStyle>
      <a:lvl1pPr algn="l" rtl="0" eaLnBrk="0" fontAlgn="base" hangingPunct="0">
        <a:lnSpc>
          <a:spcPct val="110000"/>
        </a:lnSpc>
        <a:spcBef>
          <a:spcPct val="0"/>
        </a:spcBef>
        <a:spcAft>
          <a:spcPct val="0"/>
        </a:spcAft>
        <a:buFont typeface="Arial" charset="0"/>
        <a:defRPr sz="2000" b="1" kern="1200">
          <a:solidFill>
            <a:srgbClr val="005CB9"/>
          </a:solidFill>
          <a:latin typeface="+mn-lt"/>
          <a:ea typeface="+mn-ea"/>
          <a:cs typeface="+mn-cs"/>
        </a:defRPr>
      </a:lvl1pPr>
      <a:lvl2pPr marL="142875" algn="l" rtl="0" eaLnBrk="0" fontAlgn="base" hangingPunct="0">
        <a:spcBef>
          <a:spcPts val="300"/>
        </a:spcBef>
        <a:spcAft>
          <a:spcPct val="0"/>
        </a:spcAft>
        <a:buFont typeface="Arial" charset="0"/>
        <a:defRPr sz="1600" b="1" kern="1200">
          <a:solidFill>
            <a:schemeClr val="tx2"/>
          </a:solidFill>
          <a:latin typeface="+mn-lt"/>
          <a:ea typeface="+mn-ea"/>
          <a:cs typeface="+mn-cs"/>
        </a:defRPr>
      </a:lvl2pPr>
      <a:lvl3pPr marL="142875" indent="107950" algn="l" rtl="0" eaLnBrk="0" fontAlgn="base" hangingPunct="0">
        <a:spcBef>
          <a:spcPts val="300"/>
        </a:spcBef>
        <a:spcAft>
          <a:spcPct val="0"/>
        </a:spcAft>
        <a:buSzPct val="100000"/>
        <a:buFont typeface="Arial" charset="0"/>
        <a:buChar char="•"/>
        <a:defRPr sz="1400" b="1" kern="1200">
          <a:solidFill>
            <a:schemeClr val="tx2"/>
          </a:solidFill>
          <a:latin typeface="+mn-lt"/>
          <a:ea typeface="+mn-ea"/>
          <a:cs typeface="+mn-cs"/>
        </a:defRPr>
      </a:lvl3pPr>
      <a:lvl4pPr marL="358775" algn="l" rtl="0" eaLnBrk="0" fontAlgn="base" hangingPunct="0">
        <a:spcBef>
          <a:spcPts val="300"/>
        </a:spcBef>
        <a:spcAft>
          <a:spcPct val="0"/>
        </a:spcAft>
        <a:buSzPct val="100000"/>
        <a:buFont typeface="Arial" charset="0"/>
        <a:defRPr sz="1400" kern="1200">
          <a:solidFill>
            <a:schemeClr val="tx2"/>
          </a:solidFill>
          <a:latin typeface="+mn-lt"/>
          <a:ea typeface="+mn-ea"/>
          <a:cs typeface="+mn-cs"/>
        </a:defRPr>
      </a:lvl4pPr>
      <a:lvl5pPr marL="503238" indent="107950" algn="l" rtl="0" eaLnBrk="0" fontAlgn="base" hangingPunct="0">
        <a:spcBef>
          <a:spcPts val="300"/>
        </a:spcBef>
        <a:spcAft>
          <a:spcPct val="0"/>
        </a:spcAft>
        <a:buSzPct val="100000"/>
        <a:buFont typeface="Arial" charset="0"/>
        <a:buChar char="•"/>
        <a:defRPr sz="12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4" name="Rectangle 13"/>
          <p:cNvSpPr/>
          <p:nvPr/>
        </p:nvSpPr>
        <p:spPr bwMode="gray">
          <a:xfrm>
            <a:off x="935038" y="1100645"/>
            <a:ext cx="1583668" cy="252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solidFill>
                <a:prstClr val="white"/>
              </a:solidFill>
              <a:sym typeface="Arial"/>
            </a:endParaRPr>
          </a:p>
        </p:txBody>
      </p:sp>
      <p:sp>
        <p:nvSpPr>
          <p:cNvPr id="2" name="Espace réservé du titre 1"/>
          <p:cNvSpPr>
            <a:spLocks noGrp="1"/>
          </p:cNvSpPr>
          <p:nvPr>
            <p:ph type="title"/>
          </p:nvPr>
        </p:nvSpPr>
        <p:spPr bwMode="gray">
          <a:xfrm>
            <a:off x="935038" y="3"/>
            <a:ext cx="7345362" cy="1036637"/>
          </a:xfrm>
          <a:prstGeom prst="rect">
            <a:avLst/>
          </a:prstGeom>
        </p:spPr>
        <p:txBody>
          <a:bodyPr vert="horz" lIns="0" tIns="0" rIns="0" bIns="0" rtlCol="0" anchor="b" anchorCtr="0">
            <a:noAutofit/>
          </a:bodyPr>
          <a:lstStyle/>
          <a:p>
            <a:r>
              <a:rPr lang="en-GB" noProof="0"/>
              <a:t>TITLE</a:t>
            </a:r>
          </a:p>
        </p:txBody>
      </p:sp>
      <p:sp>
        <p:nvSpPr>
          <p:cNvPr id="3" name="Espace réservé du texte 2"/>
          <p:cNvSpPr>
            <a:spLocks noGrp="1"/>
          </p:cNvSpPr>
          <p:nvPr>
            <p:ph type="body" idx="1"/>
          </p:nvPr>
        </p:nvSpPr>
        <p:spPr bwMode="gray">
          <a:xfrm>
            <a:off x="935038" y="1304927"/>
            <a:ext cx="7345362" cy="4716463"/>
          </a:xfrm>
          <a:prstGeom prst="rect">
            <a:avLst/>
          </a:prstGeom>
        </p:spPr>
        <p:txBody>
          <a:bodyPr vert="horz" lIns="0" tIns="0" rIns="0" bIns="0" rtlCol="0" anchor="t" anchorCtr="0">
            <a:noAutofit/>
          </a:body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4" name="Espace réservé de la date 3"/>
          <p:cNvSpPr>
            <a:spLocks noGrp="1"/>
          </p:cNvSpPr>
          <p:nvPr>
            <p:ph type="dt" sz="half" idx="2"/>
          </p:nvPr>
        </p:nvSpPr>
        <p:spPr bwMode="gray">
          <a:xfrm>
            <a:off x="-1" y="6498000"/>
            <a:ext cx="935039" cy="360000"/>
          </a:xfrm>
          <a:prstGeom prst="rect">
            <a:avLst/>
          </a:prstGeom>
        </p:spPr>
        <p:txBody>
          <a:bodyPr vert="horz" lIns="0" tIns="0" rIns="0" bIns="0" rtlCol="0" anchor="t" anchorCtr="0">
            <a:noAutofit/>
          </a:bodyPr>
          <a:lstStyle>
            <a:lvl1pPr algn="l">
              <a:defRPr sz="100">
                <a:solidFill>
                  <a:schemeClr val="bg1">
                    <a:alpha val="0"/>
                  </a:schemeClr>
                </a:solidFill>
              </a:defRPr>
            </a:lvl1pPr>
          </a:lstStyle>
          <a:p>
            <a:r>
              <a:rPr lang="en-GB">
                <a:solidFill>
                  <a:prstClr val="white">
                    <a:alpha val="0"/>
                  </a:prstClr>
                </a:solidFill>
                <a:cs typeface="Arial"/>
                <a:sym typeface="Arial"/>
              </a:rPr>
              <a:t>Date</a:t>
            </a:r>
          </a:p>
        </p:txBody>
      </p:sp>
      <p:sp>
        <p:nvSpPr>
          <p:cNvPr id="6" name="Espace réservé du numéro de diapositive 5"/>
          <p:cNvSpPr>
            <a:spLocks noGrp="1"/>
          </p:cNvSpPr>
          <p:nvPr>
            <p:ph type="sldNum" sz="quarter" idx="4"/>
          </p:nvPr>
        </p:nvSpPr>
        <p:spPr bwMode="gray">
          <a:xfrm>
            <a:off x="935038" y="6498000"/>
            <a:ext cx="900112" cy="360000"/>
          </a:xfrm>
          <a:prstGeom prst="rect">
            <a:avLst/>
          </a:prstGeom>
        </p:spPr>
        <p:txBody>
          <a:bodyPr vert="horz" lIns="0" tIns="21600" rIns="0" bIns="0" rtlCol="0" anchor="t" anchorCtr="0">
            <a:noAutofit/>
          </a:bodyPr>
          <a:lstStyle>
            <a:lvl1pPr algn="l">
              <a:defRPr sz="675" b="1">
                <a:solidFill>
                  <a:schemeClr val="tx1"/>
                </a:solidFill>
              </a:defRPr>
            </a:lvl1pPr>
          </a:lstStyle>
          <a:p>
            <a:fld id="{733122C9-A0B9-462F-8757-0847AD287B63}" type="slidenum">
              <a:rPr lang="en-GB" smtClean="0">
                <a:solidFill>
                  <a:srgbClr val="343434"/>
                </a:solidFill>
                <a:cs typeface="Arial"/>
                <a:sym typeface="Arial"/>
              </a:rPr>
              <a:pPr/>
              <a:t>‹#›</a:t>
            </a:fld>
            <a:endParaRPr lang="en-GB">
              <a:solidFill>
                <a:srgbClr val="343434"/>
              </a:solidFill>
              <a:cs typeface="Arial"/>
              <a:sym typeface="Arial"/>
            </a:endParaRPr>
          </a:p>
        </p:txBody>
      </p:sp>
      <p:pic>
        <p:nvPicPr>
          <p:cNvPr id="15" name="Picture 14" descr="gavi-logo.png"/>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8052487" y="6160000"/>
            <a:ext cx="936182" cy="504289"/>
          </a:xfrm>
          <a:prstGeom prst="rect">
            <a:avLst/>
          </a:prstGeom>
        </p:spPr>
      </p:pic>
    </p:spTree>
    <p:extLst>
      <p:ext uri="{BB962C8B-B14F-4D97-AF65-F5344CB8AC3E}">
        <p14:creationId xmlns:p14="http://schemas.microsoft.com/office/powerpoint/2010/main" val="1131545226"/>
      </p:ext>
    </p:extLst>
  </p:cSld>
  <p:clrMap bg1="lt1" tx1="dk1" bg2="lt2" tx2="dk2" accent1="accent1" accent2="accent2" accent3="accent3" accent4="accent4" accent5="accent5" accent6="accent6" hlink="hlink" folHlink="folHlink"/>
  <p:sldLayoutIdLst>
    <p:sldLayoutId id="2147484040" r:id="rId1"/>
    <p:sldLayoutId id="2147484041" r:id="rId2"/>
    <p:sldLayoutId id="2147484042" r:id="rId3"/>
    <p:sldLayoutId id="2147484043" r:id="rId4"/>
    <p:sldLayoutId id="2147484044" r:id="rId5"/>
    <p:sldLayoutId id="2147484045" r:id="rId6"/>
    <p:sldLayoutId id="2147484046" r:id="rId7"/>
    <p:sldLayoutId id="2147484047" r:id="rId8"/>
    <p:sldLayoutId id="2147484048" r:id="rId9"/>
    <p:sldLayoutId id="2147484049" r:id="rId10"/>
    <p:sldLayoutId id="2147484050" r:id="rId11"/>
    <p:sldLayoutId id="2147484051" r:id="rId12"/>
    <p:sldLayoutId id="2147484052" r:id="rId13"/>
    <p:sldLayoutId id="2147484053" r:id="rId14"/>
    <p:sldLayoutId id="2147484054" r:id="rId15"/>
    <p:sldLayoutId id="2147484055" r:id="rId16"/>
    <p:sldLayoutId id="2147484056" r:id="rId17"/>
    <p:sldLayoutId id="2147484057" r:id="rId18"/>
    <p:sldLayoutId id="2147484058" r:id="rId19"/>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685800" rtl="0" eaLnBrk="1" latinLnBrk="0" hangingPunct="1">
        <a:lnSpc>
          <a:spcPct val="90000"/>
        </a:lnSpc>
        <a:spcBef>
          <a:spcPct val="0"/>
        </a:spcBef>
        <a:buNone/>
        <a:defRPr sz="2100" b="0" kern="1200" cap="none" baseline="0">
          <a:solidFill>
            <a:schemeClr val="accent1"/>
          </a:solidFill>
          <a:latin typeface="+mj-lt"/>
          <a:ea typeface="+mj-ea"/>
          <a:cs typeface="+mj-cs"/>
        </a:defRPr>
      </a:lvl1pPr>
    </p:titleStyle>
    <p:bodyStyle>
      <a:lvl1pPr marL="0" indent="0" algn="l" defTabSz="685800" rtl="0" eaLnBrk="1" latinLnBrk="0" hangingPunct="1">
        <a:lnSpc>
          <a:spcPct val="110000"/>
        </a:lnSpc>
        <a:spcBef>
          <a:spcPts val="0"/>
        </a:spcBef>
        <a:buFont typeface="Arial" pitchFamily="34" charset="0"/>
        <a:buNone/>
        <a:defRPr sz="1500" b="1" kern="1200">
          <a:solidFill>
            <a:schemeClr val="accent1"/>
          </a:solidFill>
          <a:latin typeface="+mn-lt"/>
          <a:ea typeface="+mn-ea"/>
          <a:cs typeface="+mn-cs"/>
        </a:defRPr>
      </a:lvl1pPr>
      <a:lvl2pPr marL="243000" indent="-135000" algn="l" defTabSz="685800" rtl="0" eaLnBrk="1" latinLnBrk="0" hangingPunct="1">
        <a:lnSpc>
          <a:spcPct val="100000"/>
        </a:lnSpc>
        <a:spcBef>
          <a:spcPts val="225"/>
        </a:spcBef>
        <a:buClr>
          <a:schemeClr val="accent3"/>
        </a:buClr>
        <a:buFont typeface="Arial" pitchFamily="34" charset="0"/>
        <a:buChar char="•"/>
        <a:defRPr sz="1350" b="1" kern="1200">
          <a:solidFill>
            <a:schemeClr val="tx1"/>
          </a:solidFill>
          <a:latin typeface="+mn-lt"/>
          <a:ea typeface="+mn-ea"/>
          <a:cs typeface="+mn-cs"/>
        </a:defRPr>
      </a:lvl2pPr>
      <a:lvl3pPr marL="378000" indent="-135000" algn="l" defTabSz="685800" rtl="0" eaLnBrk="1" latinLnBrk="0" hangingPunct="1">
        <a:lnSpc>
          <a:spcPct val="100000"/>
        </a:lnSpc>
        <a:spcBef>
          <a:spcPts val="225"/>
        </a:spcBef>
        <a:buSzPct val="100000"/>
        <a:buFont typeface="Arial" pitchFamily="34" charset="0"/>
        <a:buChar char="•"/>
        <a:defRPr sz="1200" b="0" kern="1200">
          <a:solidFill>
            <a:schemeClr val="tx1"/>
          </a:solidFill>
          <a:latin typeface="+mn-lt"/>
          <a:ea typeface="+mn-ea"/>
          <a:cs typeface="+mn-cs"/>
        </a:defRPr>
      </a:lvl3pPr>
      <a:lvl4pPr marL="378000" indent="0" algn="l" defTabSz="685800" rtl="0" eaLnBrk="1" latinLnBrk="0" hangingPunct="1">
        <a:lnSpc>
          <a:spcPct val="100000"/>
        </a:lnSpc>
        <a:spcBef>
          <a:spcPts val="225"/>
        </a:spcBef>
        <a:buSzPct val="100000"/>
        <a:buFont typeface="Arial" pitchFamily="34" charset="0"/>
        <a:buNone/>
        <a:defRPr sz="1200" kern="1200">
          <a:solidFill>
            <a:schemeClr val="tx1"/>
          </a:solidFill>
          <a:latin typeface="+mn-lt"/>
          <a:ea typeface="+mn-ea"/>
          <a:cs typeface="+mn-cs"/>
        </a:defRPr>
      </a:lvl4pPr>
      <a:lvl5pPr marL="513000" indent="-135000" algn="l" defTabSz="685800" rtl="0" eaLnBrk="1" latinLnBrk="0" hangingPunct="1">
        <a:lnSpc>
          <a:spcPct val="100000"/>
        </a:lnSpc>
        <a:spcBef>
          <a:spcPts val="225"/>
        </a:spcBef>
        <a:buSzPct val="100000"/>
        <a:buFont typeface="Arial" pitchFamily="34" charset="0"/>
        <a:buChar char="•"/>
        <a:defRPr sz="1050" kern="1200">
          <a:solidFill>
            <a:schemeClr val="tx1"/>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fr-FR"/>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cxnSp>
        <p:nvCxnSpPr>
          <p:cNvPr id="11" name="Connecteur droit 10"/>
          <p:cNvCxnSpPr/>
          <p:nvPr/>
        </p:nvCxnSpPr>
        <p:spPr bwMode="gray">
          <a:xfrm flipH="1">
            <a:off x="935038" y="1116358"/>
            <a:ext cx="1584000" cy="0"/>
          </a:xfrm>
          <a:prstGeom prst="line">
            <a:avLst/>
          </a:prstGeom>
          <a:ln w="2413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3" name="Image 12" descr="Logo_suite_50x30.png"/>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bwMode="gray">
          <a:xfrm>
            <a:off x="7344000" y="5779827"/>
            <a:ext cx="1800000" cy="1078173"/>
          </a:xfrm>
          <a:prstGeom prst="rect">
            <a:avLst/>
          </a:prstGeom>
        </p:spPr>
      </p:pic>
      <p:sp>
        <p:nvSpPr>
          <p:cNvPr id="2" name="Espace réservé du titre 1"/>
          <p:cNvSpPr>
            <a:spLocks noGrp="1"/>
          </p:cNvSpPr>
          <p:nvPr>
            <p:ph type="title"/>
          </p:nvPr>
        </p:nvSpPr>
        <p:spPr bwMode="gray">
          <a:xfrm>
            <a:off x="935038" y="1"/>
            <a:ext cx="7345362" cy="1036637"/>
          </a:xfrm>
          <a:prstGeom prst="rect">
            <a:avLst/>
          </a:prstGeom>
        </p:spPr>
        <p:txBody>
          <a:bodyPr vert="horz" lIns="0" tIns="0" rIns="0" bIns="0" rtlCol="0" anchor="b" anchorCtr="0">
            <a:noAutofit/>
          </a:bodyPr>
          <a:lstStyle/>
          <a:p>
            <a:r>
              <a:rPr lang="en-US" noProof="0"/>
              <a:t>TITLE</a:t>
            </a:r>
          </a:p>
        </p:txBody>
      </p:sp>
      <p:sp>
        <p:nvSpPr>
          <p:cNvPr id="3" name="Espace réservé du texte 2"/>
          <p:cNvSpPr>
            <a:spLocks noGrp="1"/>
          </p:cNvSpPr>
          <p:nvPr>
            <p:ph type="body" idx="1"/>
          </p:nvPr>
        </p:nvSpPr>
        <p:spPr bwMode="gray">
          <a:xfrm>
            <a:off x="935038" y="1304925"/>
            <a:ext cx="7345362" cy="4716463"/>
          </a:xfrm>
          <a:prstGeom prst="rect">
            <a:avLst/>
          </a:prstGeom>
        </p:spPr>
        <p:txBody>
          <a:bodyPr vert="horz" lIns="0" tIns="0" rIns="0" bIns="0" rtlCol="0" anchor="t" anchorCtr="0">
            <a:noAutofit/>
          </a:bodyPr>
          <a:lstStyle/>
          <a:p>
            <a:pPr lvl="0"/>
            <a:r>
              <a:rPr lang="en-US" noProof="0"/>
              <a:t>Text level 1</a:t>
            </a:r>
          </a:p>
          <a:p>
            <a:pPr lvl="1"/>
            <a:r>
              <a:rPr lang="en-US" noProof="0"/>
              <a:t>Text level 2</a:t>
            </a:r>
          </a:p>
          <a:p>
            <a:pPr lvl="2"/>
            <a:r>
              <a:rPr lang="en-US" noProof="0"/>
              <a:t>Text level 3</a:t>
            </a:r>
          </a:p>
          <a:p>
            <a:pPr lvl="3"/>
            <a:r>
              <a:rPr lang="en-US" noProof="0"/>
              <a:t>Text level 4</a:t>
            </a:r>
          </a:p>
          <a:p>
            <a:pPr lvl="4"/>
            <a:r>
              <a:rPr lang="en-US" noProof="0"/>
              <a:t>Text level 5</a:t>
            </a:r>
          </a:p>
        </p:txBody>
      </p:sp>
      <p:sp>
        <p:nvSpPr>
          <p:cNvPr id="4" name="Espace réservé de la date 3"/>
          <p:cNvSpPr>
            <a:spLocks noGrp="1"/>
          </p:cNvSpPr>
          <p:nvPr>
            <p:ph type="dt" sz="half" idx="2"/>
          </p:nvPr>
        </p:nvSpPr>
        <p:spPr bwMode="gray">
          <a:xfrm>
            <a:off x="-1" y="6498000"/>
            <a:ext cx="935039" cy="360000"/>
          </a:xfrm>
          <a:prstGeom prst="rect">
            <a:avLst/>
          </a:prstGeom>
        </p:spPr>
        <p:txBody>
          <a:bodyPr vert="horz" lIns="0" tIns="0" rIns="0" bIns="0" rtlCol="0" anchor="t" anchorCtr="0">
            <a:noAutofit/>
          </a:bodyPr>
          <a:lstStyle>
            <a:lvl1pPr algn="l">
              <a:defRPr sz="100">
                <a:solidFill>
                  <a:schemeClr val="bg1">
                    <a:alpha val="0"/>
                  </a:schemeClr>
                </a:solidFill>
              </a:defRPr>
            </a:lvl1pPr>
          </a:lstStyle>
          <a:p>
            <a:r>
              <a:rPr lang="en-US">
                <a:solidFill>
                  <a:prstClr val="white">
                    <a:alpha val="0"/>
                  </a:prstClr>
                </a:solidFill>
              </a:rPr>
              <a:t>Date</a:t>
            </a:r>
          </a:p>
        </p:txBody>
      </p:sp>
      <p:sp>
        <p:nvSpPr>
          <p:cNvPr id="5" name="Espace réservé du pied de page 4"/>
          <p:cNvSpPr>
            <a:spLocks noGrp="1"/>
          </p:cNvSpPr>
          <p:nvPr>
            <p:ph type="ftr" sz="quarter" idx="3"/>
          </p:nvPr>
        </p:nvSpPr>
        <p:spPr bwMode="gray">
          <a:xfrm>
            <a:off x="2412000" y="6498000"/>
            <a:ext cx="4320000" cy="360000"/>
          </a:xfrm>
          <a:prstGeom prst="rect">
            <a:avLst/>
          </a:prstGeom>
        </p:spPr>
        <p:txBody>
          <a:bodyPr vert="horz" lIns="0" tIns="7200" rIns="0" bIns="0" rtlCol="0" anchor="t" anchorCtr="0">
            <a:noAutofit/>
          </a:bodyPr>
          <a:lstStyle>
            <a:lvl1pPr algn="ctr">
              <a:defRPr sz="1000" b="1">
                <a:solidFill>
                  <a:schemeClr val="accent4"/>
                </a:solidFill>
              </a:defRPr>
            </a:lvl1pPr>
          </a:lstStyle>
          <a:p>
            <a:r>
              <a:rPr lang="en-US">
                <a:solidFill>
                  <a:srgbClr val="005CB9"/>
                </a:solidFill>
              </a:rPr>
              <a:t>#</a:t>
            </a:r>
            <a:r>
              <a:rPr lang="en-US" err="1">
                <a:solidFill>
                  <a:srgbClr val="005CB9"/>
                </a:solidFill>
              </a:rPr>
              <a:t>vaccineswork</a:t>
            </a:r>
            <a:endParaRPr lang="en-US">
              <a:solidFill>
                <a:srgbClr val="005CB9"/>
              </a:solidFill>
            </a:endParaRPr>
          </a:p>
        </p:txBody>
      </p:sp>
      <p:sp>
        <p:nvSpPr>
          <p:cNvPr id="6" name="Espace réservé du numéro de diapositive 5"/>
          <p:cNvSpPr>
            <a:spLocks noGrp="1"/>
          </p:cNvSpPr>
          <p:nvPr>
            <p:ph type="sldNum" sz="quarter" idx="4"/>
          </p:nvPr>
        </p:nvSpPr>
        <p:spPr bwMode="gray">
          <a:xfrm>
            <a:off x="935038" y="6498000"/>
            <a:ext cx="900112" cy="360000"/>
          </a:xfrm>
          <a:prstGeom prst="rect">
            <a:avLst/>
          </a:prstGeom>
        </p:spPr>
        <p:txBody>
          <a:bodyPr vert="horz" lIns="0" tIns="21600" rIns="0" bIns="0" rtlCol="0" anchor="t" anchorCtr="0">
            <a:noAutofit/>
          </a:bodyPr>
          <a:lstStyle>
            <a:lvl1pPr algn="ctr">
              <a:defRPr sz="900" b="1">
                <a:solidFill>
                  <a:schemeClr val="tx2"/>
                </a:solidFill>
              </a:defRPr>
            </a:lvl1pPr>
          </a:lstStyle>
          <a:p>
            <a:pPr algn="l"/>
            <a:fld id="{733122C9-A0B9-462F-8757-0847AD287B63}" type="slidenum">
              <a:rPr lang="en-US" smtClean="0">
                <a:solidFill>
                  <a:srgbClr val="343434"/>
                </a:solidFill>
              </a:rPr>
              <a:pPr algn="l"/>
              <a:t>‹#›</a:t>
            </a:fld>
            <a:endParaRPr lang="en-US">
              <a:solidFill>
                <a:srgbClr val="343434"/>
              </a:solidFill>
            </a:endParaRPr>
          </a:p>
        </p:txBody>
      </p:sp>
      <p:cxnSp>
        <p:nvCxnSpPr>
          <p:cNvPr id="12" name="Connecteur droit 11"/>
          <p:cNvCxnSpPr/>
          <p:nvPr/>
        </p:nvCxnSpPr>
        <p:spPr bwMode="gray">
          <a:xfrm flipH="1">
            <a:off x="7560000" y="6040964"/>
            <a:ext cx="1584000" cy="0"/>
          </a:xfrm>
          <a:prstGeom prst="line">
            <a:avLst/>
          </a:prstGeom>
          <a:ln w="2413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66502370"/>
      </p:ext>
    </p:extLst>
  </p:cSld>
  <p:clrMap bg1="lt1" tx1="dk1" bg2="lt2" tx2="dk2" accent1="accent1" accent2="accent2" accent3="accent3" accent4="accent4" accent5="accent5" accent6="accent6" hlink="hlink" folHlink="folHlink"/>
  <p:sldLayoutIdLst>
    <p:sldLayoutId id="2147483835" r:id="rId1"/>
    <p:sldLayoutId id="2147483836" r:id="rId2"/>
    <p:sldLayoutId id="2147483837" r:id="rId3"/>
    <p:sldLayoutId id="2147483838" r:id="rId4"/>
    <p:sldLayoutId id="2147483839" r:id="rId5"/>
    <p:sldLayoutId id="2147483840" r:id="rId6"/>
    <p:sldLayoutId id="2147483841" r:id="rId7"/>
    <p:sldLayoutId id="2147483842" r:id="rId8"/>
    <p:sldLayoutId id="2147483843" r:id="rId9"/>
    <p:sldLayoutId id="2147483844" r:id="rId10"/>
  </p:sldLayoutIdLst>
  <p:hf hdr="0" dt="0"/>
  <p:txStyles>
    <p:titleStyle>
      <a:lvl1pPr algn="l" defTabSz="914400" rtl="0" eaLnBrk="1" latinLnBrk="0" hangingPunct="1">
        <a:lnSpc>
          <a:spcPct val="90000"/>
        </a:lnSpc>
        <a:spcBef>
          <a:spcPct val="0"/>
        </a:spcBef>
        <a:buNone/>
        <a:defRPr sz="2800" b="0" kern="1200" cap="none" baseline="0">
          <a:solidFill>
            <a:schemeClr val="accent4"/>
          </a:solidFill>
          <a:latin typeface="+mj-lt"/>
          <a:ea typeface="+mj-ea"/>
          <a:cs typeface="+mj-cs"/>
        </a:defRPr>
      </a:lvl1pPr>
    </p:titleStyle>
    <p:bodyStyle>
      <a:lvl1pPr marL="0" indent="0" algn="l" defTabSz="914400" rtl="0" eaLnBrk="1" latinLnBrk="0" hangingPunct="1">
        <a:lnSpc>
          <a:spcPct val="110000"/>
        </a:lnSpc>
        <a:spcBef>
          <a:spcPts val="0"/>
        </a:spcBef>
        <a:buFont typeface="Arial" pitchFamily="34" charset="0"/>
        <a:buNone/>
        <a:defRPr sz="2000" b="1" kern="1200">
          <a:solidFill>
            <a:schemeClr val="accent4"/>
          </a:solidFill>
          <a:latin typeface="+mn-lt"/>
          <a:ea typeface="+mn-ea"/>
          <a:cs typeface="+mn-cs"/>
        </a:defRPr>
      </a:lvl1pPr>
      <a:lvl2pPr marL="142875" indent="0" algn="l" defTabSz="914400" rtl="0" eaLnBrk="1" latinLnBrk="0" hangingPunct="1">
        <a:lnSpc>
          <a:spcPct val="100000"/>
        </a:lnSpc>
        <a:spcBef>
          <a:spcPts val="300"/>
        </a:spcBef>
        <a:buFont typeface="Arial" pitchFamily="34" charset="0"/>
        <a:buNone/>
        <a:defRPr sz="1600" b="1" kern="1200">
          <a:solidFill>
            <a:schemeClr val="tx2"/>
          </a:solidFill>
          <a:latin typeface="+mn-lt"/>
          <a:ea typeface="+mn-ea"/>
          <a:cs typeface="+mn-cs"/>
        </a:defRPr>
      </a:lvl2pPr>
      <a:lvl3pPr marL="144000" indent="108000" algn="l" defTabSz="914400" rtl="0" eaLnBrk="1" latinLnBrk="0" hangingPunct="1">
        <a:lnSpc>
          <a:spcPct val="100000"/>
        </a:lnSpc>
        <a:spcBef>
          <a:spcPts val="300"/>
        </a:spcBef>
        <a:buSzPct val="100000"/>
        <a:buFont typeface="Arial" pitchFamily="34" charset="0"/>
        <a:buChar char="•"/>
        <a:defRPr sz="1400" b="1" kern="1200">
          <a:solidFill>
            <a:schemeClr val="tx2"/>
          </a:solidFill>
          <a:latin typeface="+mn-lt"/>
          <a:ea typeface="+mn-ea"/>
          <a:cs typeface="+mn-cs"/>
        </a:defRPr>
      </a:lvl3pPr>
      <a:lvl4pPr marL="360000" indent="0" algn="l" defTabSz="914400" rtl="0" eaLnBrk="1" latinLnBrk="0" hangingPunct="1">
        <a:lnSpc>
          <a:spcPct val="100000"/>
        </a:lnSpc>
        <a:spcBef>
          <a:spcPts val="300"/>
        </a:spcBef>
        <a:buSzPct val="100000"/>
        <a:buFont typeface="Arial" pitchFamily="34" charset="0"/>
        <a:buNone/>
        <a:defRPr sz="1400" kern="1200">
          <a:solidFill>
            <a:schemeClr val="tx2"/>
          </a:solidFill>
          <a:latin typeface="+mn-lt"/>
          <a:ea typeface="+mn-ea"/>
          <a:cs typeface="+mn-cs"/>
        </a:defRPr>
      </a:lvl4pPr>
      <a:lvl5pPr marL="504000" indent="108000" algn="l" defTabSz="914400" rtl="0" eaLnBrk="1" latinLnBrk="0" hangingPunct="1">
        <a:lnSpc>
          <a:spcPct val="100000"/>
        </a:lnSpc>
        <a:spcBef>
          <a:spcPts val="300"/>
        </a:spcBef>
        <a:buSzPct val="100000"/>
        <a:buFont typeface="Arial" pitchFamily="34" charset="0"/>
        <a:buChar char="•"/>
        <a:defRPr sz="12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cxnSp>
        <p:nvCxnSpPr>
          <p:cNvPr id="11" name="Connecteur droit 10"/>
          <p:cNvCxnSpPr/>
          <p:nvPr/>
        </p:nvCxnSpPr>
        <p:spPr bwMode="gray">
          <a:xfrm flipH="1">
            <a:off x="935038" y="1116013"/>
            <a:ext cx="1584325" cy="0"/>
          </a:xfrm>
          <a:prstGeom prst="line">
            <a:avLst/>
          </a:prstGeom>
          <a:ln w="2413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027" name="Image 12" descr="Logo_suite_50x30.png"/>
          <p:cNvPicPr>
            <a:picLocks noChangeAspect="1"/>
          </p:cNvPicPr>
          <p:nvPr/>
        </p:nvPicPr>
        <p:blipFill>
          <a:blip r:embed="rId12">
            <a:extLst>
              <a:ext uri="{28A0092B-C50C-407E-A947-70E740481C1C}">
                <a14:useLocalDpi xmlns:a14="http://schemas.microsoft.com/office/drawing/2010/main" val="0"/>
              </a:ext>
            </a:extLst>
          </a:blip>
          <a:srcRect/>
          <a:stretch>
            <a:fillRect/>
          </a:stretch>
        </p:blipFill>
        <p:spPr bwMode="gray">
          <a:xfrm>
            <a:off x="7343775" y="5780088"/>
            <a:ext cx="1800225" cy="107791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028" name="Espace réservé du titre 1"/>
          <p:cNvSpPr>
            <a:spLocks noGrp="1"/>
          </p:cNvSpPr>
          <p:nvPr>
            <p:ph type="title"/>
          </p:nvPr>
        </p:nvSpPr>
        <p:spPr bwMode="gray">
          <a:xfrm>
            <a:off x="935038" y="0"/>
            <a:ext cx="7345362" cy="103663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bodyPr>
          <a:lstStyle/>
          <a:p>
            <a:pPr lvl="0"/>
            <a:r>
              <a:rPr lang="en-US" altLang="en-US" smtClean="0"/>
              <a:t>TITLE</a:t>
            </a:r>
          </a:p>
        </p:txBody>
      </p:sp>
      <p:sp>
        <p:nvSpPr>
          <p:cNvPr id="1029" name="Espace réservé du texte 2"/>
          <p:cNvSpPr>
            <a:spLocks noGrp="1"/>
          </p:cNvSpPr>
          <p:nvPr>
            <p:ph type="body" idx="1"/>
          </p:nvPr>
        </p:nvSpPr>
        <p:spPr bwMode="gray">
          <a:xfrm>
            <a:off x="935038" y="1304925"/>
            <a:ext cx="7345362" cy="47164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n-US" smtClean="0"/>
              <a:t>Text level 1</a:t>
            </a:r>
          </a:p>
          <a:p>
            <a:pPr lvl="1"/>
            <a:r>
              <a:rPr lang="en-US" altLang="en-US" smtClean="0"/>
              <a:t>Text level 2</a:t>
            </a:r>
          </a:p>
          <a:p>
            <a:pPr lvl="2"/>
            <a:r>
              <a:rPr lang="en-US" altLang="en-US" smtClean="0"/>
              <a:t>Text level 3</a:t>
            </a:r>
          </a:p>
          <a:p>
            <a:pPr lvl="3"/>
            <a:r>
              <a:rPr lang="en-US" altLang="en-US" smtClean="0"/>
              <a:t>Text level 4</a:t>
            </a:r>
          </a:p>
          <a:p>
            <a:pPr lvl="4"/>
            <a:r>
              <a:rPr lang="en-US" altLang="en-US" smtClean="0"/>
              <a:t>Text level 5</a:t>
            </a:r>
          </a:p>
        </p:txBody>
      </p:sp>
      <p:sp>
        <p:nvSpPr>
          <p:cNvPr id="4" name="Espace réservé de la date 3"/>
          <p:cNvSpPr>
            <a:spLocks noGrp="1"/>
          </p:cNvSpPr>
          <p:nvPr>
            <p:ph type="dt" sz="half" idx="2"/>
          </p:nvPr>
        </p:nvSpPr>
        <p:spPr bwMode="gray">
          <a:xfrm>
            <a:off x="0" y="6497638"/>
            <a:ext cx="935038" cy="360362"/>
          </a:xfrm>
          <a:prstGeom prst="rect">
            <a:avLst/>
          </a:prstGeom>
        </p:spPr>
        <p:txBody>
          <a:bodyPr vert="horz" lIns="0" tIns="0" rIns="0" bIns="0" rtlCol="0" anchor="t" anchorCtr="0">
            <a:noAutofit/>
          </a:bodyPr>
          <a:lstStyle>
            <a:lvl1pPr algn="l" fontAlgn="auto">
              <a:spcBef>
                <a:spcPts val="0"/>
              </a:spcBef>
              <a:spcAft>
                <a:spcPts val="0"/>
              </a:spcAft>
              <a:defRPr sz="100">
                <a:solidFill>
                  <a:schemeClr val="bg1">
                    <a:alpha val="0"/>
                  </a:schemeClr>
                </a:solidFill>
                <a:latin typeface="+mn-lt"/>
                <a:cs typeface="+mn-cs"/>
              </a:defRPr>
            </a:lvl1pPr>
          </a:lstStyle>
          <a:p>
            <a:pPr>
              <a:defRPr/>
            </a:pPr>
            <a:r>
              <a:rPr lang="en-US">
                <a:solidFill>
                  <a:prstClr val="white">
                    <a:alpha val="0"/>
                  </a:prstClr>
                </a:solidFill>
              </a:rPr>
              <a:t>Date</a:t>
            </a:r>
          </a:p>
        </p:txBody>
      </p:sp>
      <p:sp>
        <p:nvSpPr>
          <p:cNvPr id="5" name="Espace réservé du pied de page 4"/>
          <p:cNvSpPr>
            <a:spLocks noGrp="1"/>
          </p:cNvSpPr>
          <p:nvPr>
            <p:ph type="ftr" sz="quarter" idx="3"/>
          </p:nvPr>
        </p:nvSpPr>
        <p:spPr bwMode="gray">
          <a:xfrm>
            <a:off x="2411413" y="6497638"/>
            <a:ext cx="4321175" cy="360362"/>
          </a:xfrm>
          <a:prstGeom prst="rect">
            <a:avLst/>
          </a:prstGeom>
        </p:spPr>
        <p:txBody>
          <a:bodyPr vert="horz" lIns="0" tIns="7200" rIns="0" bIns="0" rtlCol="0" anchor="t" anchorCtr="0">
            <a:noAutofit/>
          </a:bodyPr>
          <a:lstStyle>
            <a:lvl1pPr algn="ctr" fontAlgn="auto">
              <a:spcBef>
                <a:spcPts val="0"/>
              </a:spcBef>
              <a:spcAft>
                <a:spcPts val="0"/>
              </a:spcAft>
              <a:defRPr sz="1000" b="1">
                <a:solidFill>
                  <a:schemeClr val="accent4"/>
                </a:solidFill>
                <a:latin typeface="+mn-lt"/>
                <a:cs typeface="+mn-cs"/>
              </a:defRPr>
            </a:lvl1pPr>
          </a:lstStyle>
          <a:p>
            <a:pPr>
              <a:defRPr/>
            </a:pPr>
            <a:r>
              <a:rPr lang="en-US">
                <a:solidFill>
                  <a:srgbClr val="005CB9"/>
                </a:solidFill>
              </a:rPr>
              <a:t>#</a:t>
            </a:r>
            <a:r>
              <a:rPr lang="en-US" err="1">
                <a:solidFill>
                  <a:srgbClr val="005CB9"/>
                </a:solidFill>
              </a:rPr>
              <a:t>vaccineswork</a:t>
            </a:r>
            <a:endParaRPr lang="en-US">
              <a:solidFill>
                <a:srgbClr val="005CB9"/>
              </a:solidFill>
            </a:endParaRPr>
          </a:p>
        </p:txBody>
      </p:sp>
      <p:sp>
        <p:nvSpPr>
          <p:cNvPr id="6" name="Espace réservé du numéro de diapositive 5"/>
          <p:cNvSpPr>
            <a:spLocks noGrp="1"/>
          </p:cNvSpPr>
          <p:nvPr>
            <p:ph type="sldNum" sz="quarter" idx="4"/>
          </p:nvPr>
        </p:nvSpPr>
        <p:spPr bwMode="gray">
          <a:xfrm>
            <a:off x="935038" y="6497638"/>
            <a:ext cx="900112" cy="360362"/>
          </a:xfrm>
          <a:prstGeom prst="rect">
            <a:avLst/>
          </a:prstGeom>
        </p:spPr>
        <p:txBody>
          <a:bodyPr vert="horz" lIns="0" tIns="21600" rIns="0" bIns="0" rtlCol="0" anchor="t" anchorCtr="0">
            <a:noAutofit/>
          </a:bodyPr>
          <a:lstStyle>
            <a:lvl1pPr algn="l" fontAlgn="auto">
              <a:spcBef>
                <a:spcPts val="0"/>
              </a:spcBef>
              <a:spcAft>
                <a:spcPts val="0"/>
              </a:spcAft>
              <a:defRPr sz="900" b="1">
                <a:solidFill>
                  <a:schemeClr val="tx2"/>
                </a:solidFill>
                <a:latin typeface="+mn-lt"/>
                <a:cs typeface="+mn-cs"/>
              </a:defRPr>
            </a:lvl1pPr>
          </a:lstStyle>
          <a:p>
            <a:pPr>
              <a:defRPr/>
            </a:pPr>
            <a:fld id="{554E5E40-990A-4474-BD97-03BADD847FA0}" type="slidenum">
              <a:rPr lang="en-US">
                <a:solidFill>
                  <a:srgbClr val="343434"/>
                </a:solidFill>
              </a:rPr>
              <a:pPr>
                <a:defRPr/>
              </a:pPr>
              <a:t>‹#›</a:t>
            </a:fld>
            <a:endParaRPr lang="en-US">
              <a:solidFill>
                <a:srgbClr val="343434"/>
              </a:solidFill>
            </a:endParaRPr>
          </a:p>
        </p:txBody>
      </p:sp>
      <p:cxnSp>
        <p:nvCxnSpPr>
          <p:cNvPr id="12" name="Connecteur droit 11"/>
          <p:cNvCxnSpPr/>
          <p:nvPr/>
        </p:nvCxnSpPr>
        <p:spPr bwMode="gray">
          <a:xfrm flipH="1">
            <a:off x="7559675" y="6040438"/>
            <a:ext cx="1584325" cy="0"/>
          </a:xfrm>
          <a:prstGeom prst="line">
            <a:avLst/>
          </a:prstGeom>
          <a:ln w="2413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53581853"/>
      </p:ext>
    </p:extLst>
  </p:cSld>
  <p:clrMap bg1="lt1" tx1="dk1" bg2="lt2" tx2="dk2" accent1="accent1" accent2="accent2" accent3="accent3" accent4="accent4" accent5="accent5" accent6="accent6" hlink="hlink" folHlink="folHlink"/>
  <p:sldLayoutIdLst>
    <p:sldLayoutId id="2147484060" r:id="rId1"/>
    <p:sldLayoutId id="2147484061" r:id="rId2"/>
    <p:sldLayoutId id="2147484062" r:id="rId3"/>
    <p:sldLayoutId id="2147484063" r:id="rId4"/>
    <p:sldLayoutId id="2147484065" r:id="rId5"/>
    <p:sldLayoutId id="2147484066" r:id="rId6"/>
    <p:sldLayoutId id="2147484067" r:id="rId7"/>
    <p:sldLayoutId id="2147484068" r:id="rId8"/>
    <p:sldLayoutId id="2147484069" r:id="rId9"/>
    <p:sldLayoutId id="2147484070" r:id="rId10"/>
  </p:sldLayoutIdLst>
  <p:timing>
    <p:tnLst>
      <p:par>
        <p:cTn id="1" dur="indefinite" restart="never" nodeType="tmRoot"/>
      </p:par>
    </p:tnLst>
  </p:timing>
  <p:hf hdr="0" dt="0"/>
  <p:txStyles>
    <p:titleStyle>
      <a:lvl1pPr algn="l" rtl="0" eaLnBrk="0" fontAlgn="base" hangingPunct="0">
        <a:lnSpc>
          <a:spcPct val="90000"/>
        </a:lnSpc>
        <a:spcBef>
          <a:spcPct val="0"/>
        </a:spcBef>
        <a:spcAft>
          <a:spcPct val="0"/>
        </a:spcAft>
        <a:defRPr sz="2800" kern="1200">
          <a:solidFill>
            <a:srgbClr val="005CB9"/>
          </a:solidFill>
          <a:latin typeface="+mj-lt"/>
          <a:ea typeface="+mj-ea"/>
          <a:cs typeface="+mj-cs"/>
        </a:defRPr>
      </a:lvl1pPr>
      <a:lvl2pPr algn="l" rtl="0" eaLnBrk="0" fontAlgn="base" hangingPunct="0">
        <a:lnSpc>
          <a:spcPct val="90000"/>
        </a:lnSpc>
        <a:spcBef>
          <a:spcPct val="0"/>
        </a:spcBef>
        <a:spcAft>
          <a:spcPct val="0"/>
        </a:spcAft>
        <a:defRPr sz="2800">
          <a:solidFill>
            <a:srgbClr val="005CB9"/>
          </a:solidFill>
          <a:latin typeface="Arial" charset="0"/>
        </a:defRPr>
      </a:lvl2pPr>
      <a:lvl3pPr algn="l" rtl="0" eaLnBrk="0" fontAlgn="base" hangingPunct="0">
        <a:lnSpc>
          <a:spcPct val="90000"/>
        </a:lnSpc>
        <a:spcBef>
          <a:spcPct val="0"/>
        </a:spcBef>
        <a:spcAft>
          <a:spcPct val="0"/>
        </a:spcAft>
        <a:defRPr sz="2800">
          <a:solidFill>
            <a:srgbClr val="005CB9"/>
          </a:solidFill>
          <a:latin typeface="Arial" charset="0"/>
        </a:defRPr>
      </a:lvl3pPr>
      <a:lvl4pPr algn="l" rtl="0" eaLnBrk="0" fontAlgn="base" hangingPunct="0">
        <a:lnSpc>
          <a:spcPct val="90000"/>
        </a:lnSpc>
        <a:spcBef>
          <a:spcPct val="0"/>
        </a:spcBef>
        <a:spcAft>
          <a:spcPct val="0"/>
        </a:spcAft>
        <a:defRPr sz="2800">
          <a:solidFill>
            <a:srgbClr val="005CB9"/>
          </a:solidFill>
          <a:latin typeface="Arial" charset="0"/>
        </a:defRPr>
      </a:lvl4pPr>
      <a:lvl5pPr algn="l" rtl="0" eaLnBrk="0" fontAlgn="base" hangingPunct="0">
        <a:lnSpc>
          <a:spcPct val="90000"/>
        </a:lnSpc>
        <a:spcBef>
          <a:spcPct val="0"/>
        </a:spcBef>
        <a:spcAft>
          <a:spcPct val="0"/>
        </a:spcAft>
        <a:defRPr sz="2800">
          <a:solidFill>
            <a:srgbClr val="005CB9"/>
          </a:solidFill>
          <a:latin typeface="Arial" charset="0"/>
        </a:defRPr>
      </a:lvl5pPr>
      <a:lvl6pPr marL="457200" algn="l" rtl="0" fontAlgn="base">
        <a:lnSpc>
          <a:spcPct val="90000"/>
        </a:lnSpc>
        <a:spcBef>
          <a:spcPct val="0"/>
        </a:spcBef>
        <a:spcAft>
          <a:spcPct val="0"/>
        </a:spcAft>
        <a:defRPr sz="2800">
          <a:solidFill>
            <a:srgbClr val="005CB9"/>
          </a:solidFill>
          <a:latin typeface="Arial" charset="0"/>
        </a:defRPr>
      </a:lvl6pPr>
      <a:lvl7pPr marL="914400" algn="l" rtl="0" fontAlgn="base">
        <a:lnSpc>
          <a:spcPct val="90000"/>
        </a:lnSpc>
        <a:spcBef>
          <a:spcPct val="0"/>
        </a:spcBef>
        <a:spcAft>
          <a:spcPct val="0"/>
        </a:spcAft>
        <a:defRPr sz="2800">
          <a:solidFill>
            <a:srgbClr val="005CB9"/>
          </a:solidFill>
          <a:latin typeface="Arial" charset="0"/>
        </a:defRPr>
      </a:lvl7pPr>
      <a:lvl8pPr marL="1371600" algn="l" rtl="0" fontAlgn="base">
        <a:lnSpc>
          <a:spcPct val="90000"/>
        </a:lnSpc>
        <a:spcBef>
          <a:spcPct val="0"/>
        </a:spcBef>
        <a:spcAft>
          <a:spcPct val="0"/>
        </a:spcAft>
        <a:defRPr sz="2800">
          <a:solidFill>
            <a:srgbClr val="005CB9"/>
          </a:solidFill>
          <a:latin typeface="Arial" charset="0"/>
        </a:defRPr>
      </a:lvl8pPr>
      <a:lvl9pPr marL="1828800" algn="l" rtl="0" fontAlgn="base">
        <a:lnSpc>
          <a:spcPct val="90000"/>
        </a:lnSpc>
        <a:spcBef>
          <a:spcPct val="0"/>
        </a:spcBef>
        <a:spcAft>
          <a:spcPct val="0"/>
        </a:spcAft>
        <a:defRPr sz="2800">
          <a:solidFill>
            <a:srgbClr val="005CB9"/>
          </a:solidFill>
          <a:latin typeface="Arial" charset="0"/>
        </a:defRPr>
      </a:lvl9pPr>
    </p:titleStyle>
    <p:bodyStyle>
      <a:lvl1pPr algn="l" rtl="0" eaLnBrk="0" fontAlgn="base" hangingPunct="0">
        <a:lnSpc>
          <a:spcPct val="110000"/>
        </a:lnSpc>
        <a:spcBef>
          <a:spcPct val="0"/>
        </a:spcBef>
        <a:spcAft>
          <a:spcPct val="0"/>
        </a:spcAft>
        <a:buFont typeface="Arial" charset="0"/>
        <a:defRPr sz="2000" b="1" kern="1200">
          <a:solidFill>
            <a:srgbClr val="005CB9"/>
          </a:solidFill>
          <a:latin typeface="+mn-lt"/>
          <a:ea typeface="+mn-ea"/>
          <a:cs typeface="+mn-cs"/>
        </a:defRPr>
      </a:lvl1pPr>
      <a:lvl2pPr marL="142875" algn="l" rtl="0" eaLnBrk="0" fontAlgn="base" hangingPunct="0">
        <a:spcBef>
          <a:spcPts val="300"/>
        </a:spcBef>
        <a:spcAft>
          <a:spcPct val="0"/>
        </a:spcAft>
        <a:buFont typeface="Arial" charset="0"/>
        <a:defRPr sz="1600" b="1" kern="1200">
          <a:solidFill>
            <a:schemeClr val="tx2"/>
          </a:solidFill>
          <a:latin typeface="+mn-lt"/>
          <a:ea typeface="+mn-ea"/>
          <a:cs typeface="+mn-cs"/>
        </a:defRPr>
      </a:lvl2pPr>
      <a:lvl3pPr marL="142875" indent="107950" algn="l" rtl="0" eaLnBrk="0" fontAlgn="base" hangingPunct="0">
        <a:spcBef>
          <a:spcPts val="300"/>
        </a:spcBef>
        <a:spcAft>
          <a:spcPct val="0"/>
        </a:spcAft>
        <a:buSzPct val="100000"/>
        <a:buFont typeface="Arial" charset="0"/>
        <a:buChar char="•"/>
        <a:defRPr sz="1400" b="1" kern="1200">
          <a:solidFill>
            <a:schemeClr val="tx2"/>
          </a:solidFill>
          <a:latin typeface="+mn-lt"/>
          <a:ea typeface="+mn-ea"/>
          <a:cs typeface="+mn-cs"/>
        </a:defRPr>
      </a:lvl3pPr>
      <a:lvl4pPr marL="358775" algn="l" rtl="0" eaLnBrk="0" fontAlgn="base" hangingPunct="0">
        <a:spcBef>
          <a:spcPts val="300"/>
        </a:spcBef>
        <a:spcAft>
          <a:spcPct val="0"/>
        </a:spcAft>
        <a:buSzPct val="100000"/>
        <a:buFont typeface="Arial" charset="0"/>
        <a:defRPr sz="1400" kern="1200">
          <a:solidFill>
            <a:schemeClr val="tx2"/>
          </a:solidFill>
          <a:latin typeface="+mn-lt"/>
          <a:ea typeface="+mn-ea"/>
          <a:cs typeface="+mn-cs"/>
        </a:defRPr>
      </a:lvl4pPr>
      <a:lvl5pPr marL="503238" indent="107950" algn="l" rtl="0" eaLnBrk="0" fontAlgn="base" hangingPunct="0">
        <a:spcBef>
          <a:spcPts val="300"/>
        </a:spcBef>
        <a:spcAft>
          <a:spcPct val="0"/>
        </a:spcAft>
        <a:buSzPct val="100000"/>
        <a:buFont typeface="Arial" charset="0"/>
        <a:buChar char="•"/>
        <a:defRPr sz="12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cxnSp>
        <p:nvCxnSpPr>
          <p:cNvPr id="11" name="Connecteur droit 10"/>
          <p:cNvCxnSpPr/>
          <p:nvPr/>
        </p:nvCxnSpPr>
        <p:spPr bwMode="gray">
          <a:xfrm flipH="1">
            <a:off x="935038" y="1116013"/>
            <a:ext cx="1584325" cy="0"/>
          </a:xfrm>
          <a:prstGeom prst="line">
            <a:avLst/>
          </a:prstGeom>
          <a:ln w="2413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027" name="Image 12" descr="Logo_suite_50x30.png"/>
          <p:cNvPicPr>
            <a:picLocks noChangeAspect="1"/>
          </p:cNvPicPr>
          <p:nvPr/>
        </p:nvPicPr>
        <p:blipFill>
          <a:blip r:embed="rId12">
            <a:extLst>
              <a:ext uri="{28A0092B-C50C-407E-A947-70E740481C1C}">
                <a14:useLocalDpi xmlns:a14="http://schemas.microsoft.com/office/drawing/2010/main" val="0"/>
              </a:ext>
            </a:extLst>
          </a:blip>
          <a:srcRect/>
          <a:stretch>
            <a:fillRect/>
          </a:stretch>
        </p:blipFill>
        <p:spPr bwMode="gray">
          <a:xfrm>
            <a:off x="7343775" y="5780088"/>
            <a:ext cx="1800225" cy="107791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028" name="Espace réservé du titre 1"/>
          <p:cNvSpPr>
            <a:spLocks noGrp="1"/>
          </p:cNvSpPr>
          <p:nvPr>
            <p:ph type="title"/>
          </p:nvPr>
        </p:nvSpPr>
        <p:spPr bwMode="gray">
          <a:xfrm>
            <a:off x="935038" y="0"/>
            <a:ext cx="7345362" cy="103663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bodyPr>
          <a:lstStyle/>
          <a:p>
            <a:pPr lvl="0"/>
            <a:r>
              <a:rPr lang="en-US" altLang="en-US" smtClean="0"/>
              <a:t>TITLE</a:t>
            </a:r>
          </a:p>
        </p:txBody>
      </p:sp>
      <p:sp>
        <p:nvSpPr>
          <p:cNvPr id="1029" name="Espace réservé du texte 2"/>
          <p:cNvSpPr>
            <a:spLocks noGrp="1"/>
          </p:cNvSpPr>
          <p:nvPr>
            <p:ph type="body" idx="1"/>
          </p:nvPr>
        </p:nvSpPr>
        <p:spPr bwMode="gray">
          <a:xfrm>
            <a:off x="935038" y="1304925"/>
            <a:ext cx="7345362" cy="47164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n-US" smtClean="0"/>
              <a:t>Text level 1</a:t>
            </a:r>
          </a:p>
          <a:p>
            <a:pPr lvl="1"/>
            <a:r>
              <a:rPr lang="en-US" altLang="en-US" smtClean="0"/>
              <a:t>Text level 2</a:t>
            </a:r>
          </a:p>
          <a:p>
            <a:pPr lvl="2"/>
            <a:r>
              <a:rPr lang="en-US" altLang="en-US" smtClean="0"/>
              <a:t>Text level 3</a:t>
            </a:r>
          </a:p>
          <a:p>
            <a:pPr lvl="3"/>
            <a:r>
              <a:rPr lang="en-US" altLang="en-US" smtClean="0"/>
              <a:t>Text level 4</a:t>
            </a:r>
          </a:p>
          <a:p>
            <a:pPr lvl="4"/>
            <a:r>
              <a:rPr lang="en-US" altLang="en-US" smtClean="0"/>
              <a:t>Text level 5</a:t>
            </a:r>
          </a:p>
        </p:txBody>
      </p:sp>
      <p:sp>
        <p:nvSpPr>
          <p:cNvPr id="4" name="Espace réservé de la date 3"/>
          <p:cNvSpPr>
            <a:spLocks noGrp="1"/>
          </p:cNvSpPr>
          <p:nvPr>
            <p:ph type="dt" sz="half" idx="2"/>
          </p:nvPr>
        </p:nvSpPr>
        <p:spPr bwMode="gray">
          <a:xfrm>
            <a:off x="0" y="6497638"/>
            <a:ext cx="935038" cy="360362"/>
          </a:xfrm>
          <a:prstGeom prst="rect">
            <a:avLst/>
          </a:prstGeom>
        </p:spPr>
        <p:txBody>
          <a:bodyPr vert="horz" lIns="0" tIns="0" rIns="0" bIns="0" rtlCol="0" anchor="t" anchorCtr="0">
            <a:noAutofit/>
          </a:bodyPr>
          <a:lstStyle>
            <a:lvl1pPr algn="l" fontAlgn="auto">
              <a:spcBef>
                <a:spcPts val="0"/>
              </a:spcBef>
              <a:spcAft>
                <a:spcPts val="0"/>
              </a:spcAft>
              <a:defRPr sz="100">
                <a:solidFill>
                  <a:schemeClr val="bg1">
                    <a:alpha val="0"/>
                  </a:schemeClr>
                </a:solidFill>
                <a:latin typeface="+mn-lt"/>
                <a:cs typeface="+mn-cs"/>
              </a:defRPr>
            </a:lvl1pPr>
          </a:lstStyle>
          <a:p>
            <a:pPr>
              <a:defRPr/>
            </a:pPr>
            <a:r>
              <a:rPr lang="en-US">
                <a:solidFill>
                  <a:prstClr val="white">
                    <a:alpha val="0"/>
                  </a:prstClr>
                </a:solidFill>
              </a:rPr>
              <a:t>Date</a:t>
            </a:r>
          </a:p>
        </p:txBody>
      </p:sp>
      <p:sp>
        <p:nvSpPr>
          <p:cNvPr id="5" name="Espace réservé du pied de page 4"/>
          <p:cNvSpPr>
            <a:spLocks noGrp="1"/>
          </p:cNvSpPr>
          <p:nvPr>
            <p:ph type="ftr" sz="quarter" idx="3"/>
          </p:nvPr>
        </p:nvSpPr>
        <p:spPr bwMode="gray">
          <a:xfrm>
            <a:off x="2411413" y="6497638"/>
            <a:ext cx="4321175" cy="360362"/>
          </a:xfrm>
          <a:prstGeom prst="rect">
            <a:avLst/>
          </a:prstGeom>
        </p:spPr>
        <p:txBody>
          <a:bodyPr vert="horz" lIns="0" tIns="7200" rIns="0" bIns="0" rtlCol="0" anchor="t" anchorCtr="0">
            <a:noAutofit/>
          </a:bodyPr>
          <a:lstStyle>
            <a:lvl1pPr algn="ctr" fontAlgn="auto">
              <a:spcBef>
                <a:spcPts val="0"/>
              </a:spcBef>
              <a:spcAft>
                <a:spcPts val="0"/>
              </a:spcAft>
              <a:defRPr sz="1000" b="1">
                <a:solidFill>
                  <a:schemeClr val="accent4"/>
                </a:solidFill>
                <a:latin typeface="+mn-lt"/>
                <a:cs typeface="+mn-cs"/>
              </a:defRPr>
            </a:lvl1pPr>
          </a:lstStyle>
          <a:p>
            <a:pPr>
              <a:defRPr/>
            </a:pPr>
            <a:r>
              <a:rPr lang="en-US">
                <a:solidFill>
                  <a:srgbClr val="005CB9"/>
                </a:solidFill>
              </a:rPr>
              <a:t>#</a:t>
            </a:r>
            <a:r>
              <a:rPr lang="en-US" err="1">
                <a:solidFill>
                  <a:srgbClr val="005CB9"/>
                </a:solidFill>
              </a:rPr>
              <a:t>vaccineswork</a:t>
            </a:r>
            <a:endParaRPr lang="en-US">
              <a:solidFill>
                <a:srgbClr val="005CB9"/>
              </a:solidFill>
            </a:endParaRPr>
          </a:p>
        </p:txBody>
      </p:sp>
      <p:sp>
        <p:nvSpPr>
          <p:cNvPr id="6" name="Espace réservé du numéro de diapositive 5"/>
          <p:cNvSpPr>
            <a:spLocks noGrp="1"/>
          </p:cNvSpPr>
          <p:nvPr>
            <p:ph type="sldNum" sz="quarter" idx="4"/>
          </p:nvPr>
        </p:nvSpPr>
        <p:spPr bwMode="gray">
          <a:xfrm>
            <a:off x="935038" y="6497638"/>
            <a:ext cx="900112" cy="360362"/>
          </a:xfrm>
          <a:prstGeom prst="rect">
            <a:avLst/>
          </a:prstGeom>
        </p:spPr>
        <p:txBody>
          <a:bodyPr vert="horz" lIns="0" tIns="21600" rIns="0" bIns="0" rtlCol="0" anchor="t" anchorCtr="0">
            <a:noAutofit/>
          </a:bodyPr>
          <a:lstStyle>
            <a:lvl1pPr algn="l" fontAlgn="auto">
              <a:spcBef>
                <a:spcPts val="0"/>
              </a:spcBef>
              <a:spcAft>
                <a:spcPts val="0"/>
              </a:spcAft>
              <a:defRPr sz="900" b="1">
                <a:solidFill>
                  <a:schemeClr val="tx2"/>
                </a:solidFill>
                <a:latin typeface="+mn-lt"/>
                <a:cs typeface="+mn-cs"/>
              </a:defRPr>
            </a:lvl1pPr>
          </a:lstStyle>
          <a:p>
            <a:pPr>
              <a:defRPr/>
            </a:pPr>
            <a:fld id="{554E5E40-990A-4474-BD97-03BADD847FA0}" type="slidenum">
              <a:rPr lang="en-US">
                <a:solidFill>
                  <a:srgbClr val="343434"/>
                </a:solidFill>
              </a:rPr>
              <a:pPr>
                <a:defRPr/>
              </a:pPr>
              <a:t>‹#›</a:t>
            </a:fld>
            <a:endParaRPr lang="en-US">
              <a:solidFill>
                <a:srgbClr val="343434"/>
              </a:solidFill>
            </a:endParaRPr>
          </a:p>
        </p:txBody>
      </p:sp>
      <p:cxnSp>
        <p:nvCxnSpPr>
          <p:cNvPr id="12" name="Connecteur droit 11"/>
          <p:cNvCxnSpPr/>
          <p:nvPr/>
        </p:nvCxnSpPr>
        <p:spPr bwMode="gray">
          <a:xfrm flipH="1">
            <a:off x="7559675" y="6040438"/>
            <a:ext cx="1584325" cy="0"/>
          </a:xfrm>
          <a:prstGeom prst="line">
            <a:avLst/>
          </a:prstGeom>
          <a:ln w="2413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93691477"/>
      </p:ext>
    </p:extLst>
  </p:cSld>
  <p:clrMap bg1="lt1" tx1="dk1" bg2="lt2" tx2="dk2" accent1="accent1" accent2="accent2" accent3="accent3" accent4="accent4" accent5="accent5" accent6="accent6" hlink="hlink" folHlink="folHlink"/>
  <p:sldLayoutIdLst>
    <p:sldLayoutId id="2147484072" r:id="rId1"/>
    <p:sldLayoutId id="2147484073" r:id="rId2"/>
    <p:sldLayoutId id="2147484074" r:id="rId3"/>
    <p:sldLayoutId id="2147484075" r:id="rId4"/>
    <p:sldLayoutId id="2147484077" r:id="rId5"/>
    <p:sldLayoutId id="2147484078" r:id="rId6"/>
    <p:sldLayoutId id="2147484079" r:id="rId7"/>
    <p:sldLayoutId id="2147484080" r:id="rId8"/>
    <p:sldLayoutId id="2147484081" r:id="rId9"/>
    <p:sldLayoutId id="2147484082" r:id="rId10"/>
  </p:sldLayoutIdLst>
  <p:timing>
    <p:tnLst>
      <p:par>
        <p:cTn id="1" dur="indefinite" restart="never" nodeType="tmRoot"/>
      </p:par>
    </p:tnLst>
  </p:timing>
  <p:hf hdr="0" dt="0"/>
  <p:txStyles>
    <p:titleStyle>
      <a:lvl1pPr algn="l" rtl="0" eaLnBrk="0" fontAlgn="base" hangingPunct="0">
        <a:lnSpc>
          <a:spcPct val="90000"/>
        </a:lnSpc>
        <a:spcBef>
          <a:spcPct val="0"/>
        </a:spcBef>
        <a:spcAft>
          <a:spcPct val="0"/>
        </a:spcAft>
        <a:defRPr sz="2800" kern="1200">
          <a:solidFill>
            <a:srgbClr val="005CB9"/>
          </a:solidFill>
          <a:latin typeface="+mj-lt"/>
          <a:ea typeface="+mj-ea"/>
          <a:cs typeface="+mj-cs"/>
        </a:defRPr>
      </a:lvl1pPr>
      <a:lvl2pPr algn="l" rtl="0" eaLnBrk="0" fontAlgn="base" hangingPunct="0">
        <a:lnSpc>
          <a:spcPct val="90000"/>
        </a:lnSpc>
        <a:spcBef>
          <a:spcPct val="0"/>
        </a:spcBef>
        <a:spcAft>
          <a:spcPct val="0"/>
        </a:spcAft>
        <a:defRPr sz="2800">
          <a:solidFill>
            <a:srgbClr val="005CB9"/>
          </a:solidFill>
          <a:latin typeface="Arial" charset="0"/>
        </a:defRPr>
      </a:lvl2pPr>
      <a:lvl3pPr algn="l" rtl="0" eaLnBrk="0" fontAlgn="base" hangingPunct="0">
        <a:lnSpc>
          <a:spcPct val="90000"/>
        </a:lnSpc>
        <a:spcBef>
          <a:spcPct val="0"/>
        </a:spcBef>
        <a:spcAft>
          <a:spcPct val="0"/>
        </a:spcAft>
        <a:defRPr sz="2800">
          <a:solidFill>
            <a:srgbClr val="005CB9"/>
          </a:solidFill>
          <a:latin typeface="Arial" charset="0"/>
        </a:defRPr>
      </a:lvl3pPr>
      <a:lvl4pPr algn="l" rtl="0" eaLnBrk="0" fontAlgn="base" hangingPunct="0">
        <a:lnSpc>
          <a:spcPct val="90000"/>
        </a:lnSpc>
        <a:spcBef>
          <a:spcPct val="0"/>
        </a:spcBef>
        <a:spcAft>
          <a:spcPct val="0"/>
        </a:spcAft>
        <a:defRPr sz="2800">
          <a:solidFill>
            <a:srgbClr val="005CB9"/>
          </a:solidFill>
          <a:latin typeface="Arial" charset="0"/>
        </a:defRPr>
      </a:lvl4pPr>
      <a:lvl5pPr algn="l" rtl="0" eaLnBrk="0" fontAlgn="base" hangingPunct="0">
        <a:lnSpc>
          <a:spcPct val="90000"/>
        </a:lnSpc>
        <a:spcBef>
          <a:spcPct val="0"/>
        </a:spcBef>
        <a:spcAft>
          <a:spcPct val="0"/>
        </a:spcAft>
        <a:defRPr sz="2800">
          <a:solidFill>
            <a:srgbClr val="005CB9"/>
          </a:solidFill>
          <a:latin typeface="Arial" charset="0"/>
        </a:defRPr>
      </a:lvl5pPr>
      <a:lvl6pPr marL="457200" algn="l" rtl="0" fontAlgn="base">
        <a:lnSpc>
          <a:spcPct val="90000"/>
        </a:lnSpc>
        <a:spcBef>
          <a:spcPct val="0"/>
        </a:spcBef>
        <a:spcAft>
          <a:spcPct val="0"/>
        </a:spcAft>
        <a:defRPr sz="2800">
          <a:solidFill>
            <a:srgbClr val="005CB9"/>
          </a:solidFill>
          <a:latin typeface="Arial" charset="0"/>
        </a:defRPr>
      </a:lvl6pPr>
      <a:lvl7pPr marL="914400" algn="l" rtl="0" fontAlgn="base">
        <a:lnSpc>
          <a:spcPct val="90000"/>
        </a:lnSpc>
        <a:spcBef>
          <a:spcPct val="0"/>
        </a:spcBef>
        <a:spcAft>
          <a:spcPct val="0"/>
        </a:spcAft>
        <a:defRPr sz="2800">
          <a:solidFill>
            <a:srgbClr val="005CB9"/>
          </a:solidFill>
          <a:latin typeface="Arial" charset="0"/>
        </a:defRPr>
      </a:lvl7pPr>
      <a:lvl8pPr marL="1371600" algn="l" rtl="0" fontAlgn="base">
        <a:lnSpc>
          <a:spcPct val="90000"/>
        </a:lnSpc>
        <a:spcBef>
          <a:spcPct val="0"/>
        </a:spcBef>
        <a:spcAft>
          <a:spcPct val="0"/>
        </a:spcAft>
        <a:defRPr sz="2800">
          <a:solidFill>
            <a:srgbClr val="005CB9"/>
          </a:solidFill>
          <a:latin typeface="Arial" charset="0"/>
        </a:defRPr>
      </a:lvl8pPr>
      <a:lvl9pPr marL="1828800" algn="l" rtl="0" fontAlgn="base">
        <a:lnSpc>
          <a:spcPct val="90000"/>
        </a:lnSpc>
        <a:spcBef>
          <a:spcPct val="0"/>
        </a:spcBef>
        <a:spcAft>
          <a:spcPct val="0"/>
        </a:spcAft>
        <a:defRPr sz="2800">
          <a:solidFill>
            <a:srgbClr val="005CB9"/>
          </a:solidFill>
          <a:latin typeface="Arial" charset="0"/>
        </a:defRPr>
      </a:lvl9pPr>
    </p:titleStyle>
    <p:bodyStyle>
      <a:lvl1pPr algn="l" rtl="0" eaLnBrk="0" fontAlgn="base" hangingPunct="0">
        <a:lnSpc>
          <a:spcPct val="110000"/>
        </a:lnSpc>
        <a:spcBef>
          <a:spcPct val="0"/>
        </a:spcBef>
        <a:spcAft>
          <a:spcPct val="0"/>
        </a:spcAft>
        <a:buFont typeface="Arial" charset="0"/>
        <a:defRPr sz="2000" b="1" kern="1200">
          <a:solidFill>
            <a:srgbClr val="005CB9"/>
          </a:solidFill>
          <a:latin typeface="+mn-lt"/>
          <a:ea typeface="+mn-ea"/>
          <a:cs typeface="+mn-cs"/>
        </a:defRPr>
      </a:lvl1pPr>
      <a:lvl2pPr marL="142875" algn="l" rtl="0" eaLnBrk="0" fontAlgn="base" hangingPunct="0">
        <a:spcBef>
          <a:spcPts val="300"/>
        </a:spcBef>
        <a:spcAft>
          <a:spcPct val="0"/>
        </a:spcAft>
        <a:buFont typeface="Arial" charset="0"/>
        <a:defRPr sz="1600" b="1" kern="1200">
          <a:solidFill>
            <a:schemeClr val="tx2"/>
          </a:solidFill>
          <a:latin typeface="+mn-lt"/>
          <a:ea typeface="+mn-ea"/>
          <a:cs typeface="+mn-cs"/>
        </a:defRPr>
      </a:lvl2pPr>
      <a:lvl3pPr marL="142875" indent="107950" algn="l" rtl="0" eaLnBrk="0" fontAlgn="base" hangingPunct="0">
        <a:spcBef>
          <a:spcPts val="300"/>
        </a:spcBef>
        <a:spcAft>
          <a:spcPct val="0"/>
        </a:spcAft>
        <a:buSzPct val="100000"/>
        <a:buFont typeface="Arial" charset="0"/>
        <a:buChar char="•"/>
        <a:defRPr sz="1400" b="1" kern="1200">
          <a:solidFill>
            <a:schemeClr val="tx2"/>
          </a:solidFill>
          <a:latin typeface="+mn-lt"/>
          <a:ea typeface="+mn-ea"/>
          <a:cs typeface="+mn-cs"/>
        </a:defRPr>
      </a:lvl3pPr>
      <a:lvl4pPr marL="358775" algn="l" rtl="0" eaLnBrk="0" fontAlgn="base" hangingPunct="0">
        <a:spcBef>
          <a:spcPts val="300"/>
        </a:spcBef>
        <a:spcAft>
          <a:spcPct val="0"/>
        </a:spcAft>
        <a:buSzPct val="100000"/>
        <a:buFont typeface="Arial" charset="0"/>
        <a:defRPr sz="1400" kern="1200">
          <a:solidFill>
            <a:schemeClr val="tx2"/>
          </a:solidFill>
          <a:latin typeface="+mn-lt"/>
          <a:ea typeface="+mn-ea"/>
          <a:cs typeface="+mn-cs"/>
        </a:defRPr>
      </a:lvl4pPr>
      <a:lvl5pPr marL="503238" indent="107950" algn="l" rtl="0" eaLnBrk="0" fontAlgn="base" hangingPunct="0">
        <a:spcBef>
          <a:spcPts val="300"/>
        </a:spcBef>
        <a:spcAft>
          <a:spcPct val="0"/>
        </a:spcAft>
        <a:buSzPct val="100000"/>
        <a:buFont typeface="Arial" charset="0"/>
        <a:buChar char="•"/>
        <a:defRPr sz="12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cxnSp>
        <p:nvCxnSpPr>
          <p:cNvPr id="11" name="Connecteur droit 10"/>
          <p:cNvCxnSpPr/>
          <p:nvPr/>
        </p:nvCxnSpPr>
        <p:spPr bwMode="gray">
          <a:xfrm flipH="1">
            <a:off x="935038" y="1116013"/>
            <a:ext cx="1584325" cy="0"/>
          </a:xfrm>
          <a:prstGeom prst="line">
            <a:avLst/>
          </a:prstGeom>
          <a:ln w="2413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027" name="Image 12" descr="Logo_suite_50x30.png"/>
          <p:cNvPicPr>
            <a:picLocks noChangeAspect="1"/>
          </p:cNvPicPr>
          <p:nvPr/>
        </p:nvPicPr>
        <p:blipFill>
          <a:blip r:embed="rId12">
            <a:extLst>
              <a:ext uri="{28A0092B-C50C-407E-A947-70E740481C1C}">
                <a14:useLocalDpi xmlns:a14="http://schemas.microsoft.com/office/drawing/2010/main" val="0"/>
              </a:ext>
            </a:extLst>
          </a:blip>
          <a:srcRect/>
          <a:stretch>
            <a:fillRect/>
          </a:stretch>
        </p:blipFill>
        <p:spPr bwMode="gray">
          <a:xfrm>
            <a:off x="7343775" y="5780088"/>
            <a:ext cx="1800225" cy="107791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028" name="Espace réservé du titre 1"/>
          <p:cNvSpPr>
            <a:spLocks noGrp="1"/>
          </p:cNvSpPr>
          <p:nvPr>
            <p:ph type="title"/>
          </p:nvPr>
        </p:nvSpPr>
        <p:spPr bwMode="gray">
          <a:xfrm>
            <a:off x="935038" y="0"/>
            <a:ext cx="7345362" cy="103663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bodyPr>
          <a:lstStyle/>
          <a:p>
            <a:pPr lvl="0"/>
            <a:r>
              <a:rPr lang="en-US" altLang="en-US"/>
              <a:t>TITLE</a:t>
            </a:r>
          </a:p>
        </p:txBody>
      </p:sp>
      <p:sp>
        <p:nvSpPr>
          <p:cNvPr id="1029" name="Espace réservé du texte 2"/>
          <p:cNvSpPr>
            <a:spLocks noGrp="1"/>
          </p:cNvSpPr>
          <p:nvPr>
            <p:ph type="body" idx="1"/>
          </p:nvPr>
        </p:nvSpPr>
        <p:spPr bwMode="gray">
          <a:xfrm>
            <a:off x="935038" y="1304925"/>
            <a:ext cx="7345362" cy="47164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n-US"/>
              <a:t>Text level 1</a:t>
            </a:r>
          </a:p>
          <a:p>
            <a:pPr lvl="1"/>
            <a:r>
              <a:rPr lang="en-US" altLang="en-US"/>
              <a:t>Text level 2</a:t>
            </a:r>
          </a:p>
          <a:p>
            <a:pPr lvl="2"/>
            <a:r>
              <a:rPr lang="en-US" altLang="en-US"/>
              <a:t>Text level 3</a:t>
            </a:r>
          </a:p>
          <a:p>
            <a:pPr lvl="3"/>
            <a:r>
              <a:rPr lang="en-US" altLang="en-US"/>
              <a:t>Text level 4</a:t>
            </a:r>
          </a:p>
          <a:p>
            <a:pPr lvl="4"/>
            <a:r>
              <a:rPr lang="en-US" altLang="en-US"/>
              <a:t>Text level 5</a:t>
            </a:r>
          </a:p>
        </p:txBody>
      </p:sp>
      <p:sp>
        <p:nvSpPr>
          <p:cNvPr id="4" name="Espace réservé de la date 3"/>
          <p:cNvSpPr>
            <a:spLocks noGrp="1"/>
          </p:cNvSpPr>
          <p:nvPr>
            <p:ph type="dt" sz="half" idx="2"/>
          </p:nvPr>
        </p:nvSpPr>
        <p:spPr bwMode="gray">
          <a:xfrm>
            <a:off x="0" y="6497638"/>
            <a:ext cx="935038" cy="360362"/>
          </a:xfrm>
          <a:prstGeom prst="rect">
            <a:avLst/>
          </a:prstGeom>
        </p:spPr>
        <p:txBody>
          <a:bodyPr vert="horz" lIns="0" tIns="0" rIns="0" bIns="0" rtlCol="0" anchor="t" anchorCtr="0">
            <a:noAutofit/>
          </a:bodyPr>
          <a:lstStyle>
            <a:lvl1pPr algn="l" fontAlgn="auto">
              <a:spcBef>
                <a:spcPts val="0"/>
              </a:spcBef>
              <a:spcAft>
                <a:spcPts val="0"/>
              </a:spcAft>
              <a:defRPr sz="100">
                <a:solidFill>
                  <a:schemeClr val="bg1">
                    <a:alpha val="0"/>
                  </a:schemeClr>
                </a:solidFill>
                <a:latin typeface="+mn-lt"/>
                <a:cs typeface="+mn-cs"/>
              </a:defRPr>
            </a:lvl1pPr>
          </a:lstStyle>
          <a:p>
            <a:pPr>
              <a:defRPr/>
            </a:pPr>
            <a:r>
              <a:rPr lang="en-US">
                <a:solidFill>
                  <a:prstClr val="white">
                    <a:alpha val="0"/>
                  </a:prstClr>
                </a:solidFill>
              </a:rPr>
              <a:t>Date</a:t>
            </a:r>
          </a:p>
        </p:txBody>
      </p:sp>
      <p:sp>
        <p:nvSpPr>
          <p:cNvPr id="5" name="Espace réservé du pied de page 4"/>
          <p:cNvSpPr>
            <a:spLocks noGrp="1"/>
          </p:cNvSpPr>
          <p:nvPr>
            <p:ph type="ftr" sz="quarter" idx="3"/>
          </p:nvPr>
        </p:nvSpPr>
        <p:spPr bwMode="gray">
          <a:xfrm>
            <a:off x="2411413" y="6497638"/>
            <a:ext cx="4321175" cy="360362"/>
          </a:xfrm>
          <a:prstGeom prst="rect">
            <a:avLst/>
          </a:prstGeom>
        </p:spPr>
        <p:txBody>
          <a:bodyPr vert="horz" lIns="0" tIns="7200" rIns="0" bIns="0" rtlCol="0" anchor="t" anchorCtr="0">
            <a:noAutofit/>
          </a:bodyPr>
          <a:lstStyle>
            <a:lvl1pPr algn="ctr" fontAlgn="auto">
              <a:spcBef>
                <a:spcPts val="0"/>
              </a:spcBef>
              <a:spcAft>
                <a:spcPts val="0"/>
              </a:spcAft>
              <a:defRPr sz="1000" b="1">
                <a:solidFill>
                  <a:schemeClr val="accent4"/>
                </a:solidFill>
                <a:latin typeface="+mn-lt"/>
                <a:cs typeface="+mn-cs"/>
              </a:defRPr>
            </a:lvl1pPr>
          </a:lstStyle>
          <a:p>
            <a:pPr>
              <a:defRPr/>
            </a:pPr>
            <a:r>
              <a:rPr lang="en-US">
                <a:solidFill>
                  <a:srgbClr val="005CB9"/>
                </a:solidFill>
              </a:rPr>
              <a:t>#</a:t>
            </a:r>
            <a:r>
              <a:rPr lang="en-US" err="1">
                <a:solidFill>
                  <a:srgbClr val="005CB9"/>
                </a:solidFill>
              </a:rPr>
              <a:t>vaccineswork</a:t>
            </a:r>
            <a:endParaRPr lang="en-US">
              <a:solidFill>
                <a:srgbClr val="005CB9"/>
              </a:solidFill>
            </a:endParaRPr>
          </a:p>
        </p:txBody>
      </p:sp>
      <p:sp>
        <p:nvSpPr>
          <p:cNvPr id="6" name="Espace réservé du numéro de diapositive 5"/>
          <p:cNvSpPr>
            <a:spLocks noGrp="1"/>
          </p:cNvSpPr>
          <p:nvPr>
            <p:ph type="sldNum" sz="quarter" idx="4"/>
          </p:nvPr>
        </p:nvSpPr>
        <p:spPr bwMode="gray">
          <a:xfrm>
            <a:off x="935038" y="6497638"/>
            <a:ext cx="900112" cy="360362"/>
          </a:xfrm>
          <a:prstGeom prst="rect">
            <a:avLst/>
          </a:prstGeom>
        </p:spPr>
        <p:txBody>
          <a:bodyPr vert="horz" lIns="0" tIns="21600" rIns="0" bIns="0" rtlCol="0" anchor="t" anchorCtr="0">
            <a:noAutofit/>
          </a:bodyPr>
          <a:lstStyle>
            <a:lvl1pPr algn="l" fontAlgn="auto">
              <a:spcBef>
                <a:spcPts val="0"/>
              </a:spcBef>
              <a:spcAft>
                <a:spcPts val="0"/>
              </a:spcAft>
              <a:defRPr sz="900" b="1">
                <a:solidFill>
                  <a:schemeClr val="tx2"/>
                </a:solidFill>
                <a:latin typeface="+mn-lt"/>
                <a:cs typeface="+mn-cs"/>
              </a:defRPr>
            </a:lvl1pPr>
          </a:lstStyle>
          <a:p>
            <a:pPr>
              <a:defRPr/>
            </a:pPr>
            <a:fld id="{554E5E40-990A-4474-BD97-03BADD847FA0}" type="slidenum">
              <a:rPr lang="en-US">
                <a:solidFill>
                  <a:srgbClr val="343434"/>
                </a:solidFill>
              </a:rPr>
              <a:pPr>
                <a:defRPr/>
              </a:pPr>
              <a:t>‹#›</a:t>
            </a:fld>
            <a:endParaRPr lang="en-US">
              <a:solidFill>
                <a:srgbClr val="343434"/>
              </a:solidFill>
            </a:endParaRPr>
          </a:p>
        </p:txBody>
      </p:sp>
      <p:cxnSp>
        <p:nvCxnSpPr>
          <p:cNvPr id="12" name="Connecteur droit 11"/>
          <p:cNvCxnSpPr/>
          <p:nvPr/>
        </p:nvCxnSpPr>
        <p:spPr bwMode="gray">
          <a:xfrm flipH="1">
            <a:off x="7559675" y="6040438"/>
            <a:ext cx="1584325" cy="0"/>
          </a:xfrm>
          <a:prstGeom prst="line">
            <a:avLst/>
          </a:prstGeom>
          <a:ln w="2413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88734522"/>
      </p:ext>
    </p:extLst>
  </p:cSld>
  <p:clrMap bg1="lt1" tx1="dk1" bg2="lt2" tx2="dk2" accent1="accent1" accent2="accent2" accent3="accent3" accent4="accent4" accent5="accent5" accent6="accent6" hlink="hlink" folHlink="folHlink"/>
  <p:sldLayoutIdLst>
    <p:sldLayoutId id="2147483846" r:id="rId1"/>
    <p:sldLayoutId id="2147483847" r:id="rId2"/>
    <p:sldLayoutId id="2147483848" r:id="rId3"/>
    <p:sldLayoutId id="2147483849" r:id="rId4"/>
    <p:sldLayoutId id="2147483851" r:id="rId5"/>
    <p:sldLayoutId id="2147483852" r:id="rId6"/>
    <p:sldLayoutId id="2147483853" r:id="rId7"/>
    <p:sldLayoutId id="2147483854" r:id="rId8"/>
    <p:sldLayoutId id="2147483855" r:id="rId9"/>
    <p:sldLayoutId id="2147483856" r:id="rId10"/>
  </p:sldLayoutIdLst>
  <p:hf hdr="0" dt="0"/>
  <p:txStyles>
    <p:titleStyle>
      <a:lvl1pPr algn="l" rtl="0" eaLnBrk="0" fontAlgn="base" hangingPunct="0">
        <a:lnSpc>
          <a:spcPct val="90000"/>
        </a:lnSpc>
        <a:spcBef>
          <a:spcPct val="0"/>
        </a:spcBef>
        <a:spcAft>
          <a:spcPct val="0"/>
        </a:spcAft>
        <a:defRPr sz="2800" kern="1200">
          <a:solidFill>
            <a:srgbClr val="005CB9"/>
          </a:solidFill>
          <a:latin typeface="+mj-lt"/>
          <a:ea typeface="+mj-ea"/>
          <a:cs typeface="+mj-cs"/>
        </a:defRPr>
      </a:lvl1pPr>
      <a:lvl2pPr algn="l" rtl="0" eaLnBrk="0" fontAlgn="base" hangingPunct="0">
        <a:lnSpc>
          <a:spcPct val="90000"/>
        </a:lnSpc>
        <a:spcBef>
          <a:spcPct val="0"/>
        </a:spcBef>
        <a:spcAft>
          <a:spcPct val="0"/>
        </a:spcAft>
        <a:defRPr sz="2800">
          <a:solidFill>
            <a:srgbClr val="005CB9"/>
          </a:solidFill>
          <a:latin typeface="Arial" charset="0"/>
        </a:defRPr>
      </a:lvl2pPr>
      <a:lvl3pPr algn="l" rtl="0" eaLnBrk="0" fontAlgn="base" hangingPunct="0">
        <a:lnSpc>
          <a:spcPct val="90000"/>
        </a:lnSpc>
        <a:spcBef>
          <a:spcPct val="0"/>
        </a:spcBef>
        <a:spcAft>
          <a:spcPct val="0"/>
        </a:spcAft>
        <a:defRPr sz="2800">
          <a:solidFill>
            <a:srgbClr val="005CB9"/>
          </a:solidFill>
          <a:latin typeface="Arial" charset="0"/>
        </a:defRPr>
      </a:lvl3pPr>
      <a:lvl4pPr algn="l" rtl="0" eaLnBrk="0" fontAlgn="base" hangingPunct="0">
        <a:lnSpc>
          <a:spcPct val="90000"/>
        </a:lnSpc>
        <a:spcBef>
          <a:spcPct val="0"/>
        </a:spcBef>
        <a:spcAft>
          <a:spcPct val="0"/>
        </a:spcAft>
        <a:defRPr sz="2800">
          <a:solidFill>
            <a:srgbClr val="005CB9"/>
          </a:solidFill>
          <a:latin typeface="Arial" charset="0"/>
        </a:defRPr>
      </a:lvl4pPr>
      <a:lvl5pPr algn="l" rtl="0" eaLnBrk="0" fontAlgn="base" hangingPunct="0">
        <a:lnSpc>
          <a:spcPct val="90000"/>
        </a:lnSpc>
        <a:spcBef>
          <a:spcPct val="0"/>
        </a:spcBef>
        <a:spcAft>
          <a:spcPct val="0"/>
        </a:spcAft>
        <a:defRPr sz="2800">
          <a:solidFill>
            <a:srgbClr val="005CB9"/>
          </a:solidFill>
          <a:latin typeface="Arial" charset="0"/>
        </a:defRPr>
      </a:lvl5pPr>
      <a:lvl6pPr marL="457200" algn="l" rtl="0" fontAlgn="base">
        <a:lnSpc>
          <a:spcPct val="90000"/>
        </a:lnSpc>
        <a:spcBef>
          <a:spcPct val="0"/>
        </a:spcBef>
        <a:spcAft>
          <a:spcPct val="0"/>
        </a:spcAft>
        <a:defRPr sz="2800">
          <a:solidFill>
            <a:srgbClr val="005CB9"/>
          </a:solidFill>
          <a:latin typeface="Arial" charset="0"/>
        </a:defRPr>
      </a:lvl6pPr>
      <a:lvl7pPr marL="914400" algn="l" rtl="0" fontAlgn="base">
        <a:lnSpc>
          <a:spcPct val="90000"/>
        </a:lnSpc>
        <a:spcBef>
          <a:spcPct val="0"/>
        </a:spcBef>
        <a:spcAft>
          <a:spcPct val="0"/>
        </a:spcAft>
        <a:defRPr sz="2800">
          <a:solidFill>
            <a:srgbClr val="005CB9"/>
          </a:solidFill>
          <a:latin typeface="Arial" charset="0"/>
        </a:defRPr>
      </a:lvl7pPr>
      <a:lvl8pPr marL="1371600" algn="l" rtl="0" fontAlgn="base">
        <a:lnSpc>
          <a:spcPct val="90000"/>
        </a:lnSpc>
        <a:spcBef>
          <a:spcPct val="0"/>
        </a:spcBef>
        <a:spcAft>
          <a:spcPct val="0"/>
        </a:spcAft>
        <a:defRPr sz="2800">
          <a:solidFill>
            <a:srgbClr val="005CB9"/>
          </a:solidFill>
          <a:latin typeface="Arial" charset="0"/>
        </a:defRPr>
      </a:lvl8pPr>
      <a:lvl9pPr marL="1828800" algn="l" rtl="0" fontAlgn="base">
        <a:lnSpc>
          <a:spcPct val="90000"/>
        </a:lnSpc>
        <a:spcBef>
          <a:spcPct val="0"/>
        </a:spcBef>
        <a:spcAft>
          <a:spcPct val="0"/>
        </a:spcAft>
        <a:defRPr sz="2800">
          <a:solidFill>
            <a:srgbClr val="005CB9"/>
          </a:solidFill>
          <a:latin typeface="Arial" charset="0"/>
        </a:defRPr>
      </a:lvl9pPr>
    </p:titleStyle>
    <p:bodyStyle>
      <a:lvl1pPr algn="l" rtl="0" eaLnBrk="0" fontAlgn="base" hangingPunct="0">
        <a:lnSpc>
          <a:spcPct val="110000"/>
        </a:lnSpc>
        <a:spcBef>
          <a:spcPct val="0"/>
        </a:spcBef>
        <a:spcAft>
          <a:spcPct val="0"/>
        </a:spcAft>
        <a:buFont typeface="Arial" charset="0"/>
        <a:defRPr sz="2000" b="1" kern="1200">
          <a:solidFill>
            <a:srgbClr val="005CB9"/>
          </a:solidFill>
          <a:latin typeface="+mn-lt"/>
          <a:ea typeface="+mn-ea"/>
          <a:cs typeface="+mn-cs"/>
        </a:defRPr>
      </a:lvl1pPr>
      <a:lvl2pPr marL="142875" algn="l" rtl="0" eaLnBrk="0" fontAlgn="base" hangingPunct="0">
        <a:spcBef>
          <a:spcPts val="300"/>
        </a:spcBef>
        <a:spcAft>
          <a:spcPct val="0"/>
        </a:spcAft>
        <a:buFont typeface="Arial" charset="0"/>
        <a:defRPr sz="1600" b="1" kern="1200">
          <a:solidFill>
            <a:schemeClr val="tx2"/>
          </a:solidFill>
          <a:latin typeface="+mn-lt"/>
          <a:ea typeface="+mn-ea"/>
          <a:cs typeface="+mn-cs"/>
        </a:defRPr>
      </a:lvl2pPr>
      <a:lvl3pPr marL="142875" indent="107950" algn="l" rtl="0" eaLnBrk="0" fontAlgn="base" hangingPunct="0">
        <a:spcBef>
          <a:spcPts val="300"/>
        </a:spcBef>
        <a:spcAft>
          <a:spcPct val="0"/>
        </a:spcAft>
        <a:buSzPct val="100000"/>
        <a:buFont typeface="Arial" charset="0"/>
        <a:buChar char="•"/>
        <a:defRPr sz="1400" b="1" kern="1200">
          <a:solidFill>
            <a:schemeClr val="tx2"/>
          </a:solidFill>
          <a:latin typeface="+mn-lt"/>
          <a:ea typeface="+mn-ea"/>
          <a:cs typeface="+mn-cs"/>
        </a:defRPr>
      </a:lvl3pPr>
      <a:lvl4pPr marL="358775" algn="l" rtl="0" eaLnBrk="0" fontAlgn="base" hangingPunct="0">
        <a:spcBef>
          <a:spcPts val="300"/>
        </a:spcBef>
        <a:spcAft>
          <a:spcPct val="0"/>
        </a:spcAft>
        <a:buSzPct val="100000"/>
        <a:buFont typeface="Arial" charset="0"/>
        <a:defRPr sz="1400" kern="1200">
          <a:solidFill>
            <a:schemeClr val="tx2"/>
          </a:solidFill>
          <a:latin typeface="+mn-lt"/>
          <a:ea typeface="+mn-ea"/>
          <a:cs typeface="+mn-cs"/>
        </a:defRPr>
      </a:lvl4pPr>
      <a:lvl5pPr marL="503238" indent="107950" algn="l" rtl="0" eaLnBrk="0" fontAlgn="base" hangingPunct="0">
        <a:spcBef>
          <a:spcPts val="300"/>
        </a:spcBef>
        <a:spcAft>
          <a:spcPct val="0"/>
        </a:spcAft>
        <a:buSzPct val="100000"/>
        <a:buFont typeface="Arial" charset="0"/>
        <a:buChar char="•"/>
        <a:defRPr sz="12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cxnSp>
        <p:nvCxnSpPr>
          <p:cNvPr id="11" name="Connecteur droit 10"/>
          <p:cNvCxnSpPr/>
          <p:nvPr/>
        </p:nvCxnSpPr>
        <p:spPr bwMode="gray">
          <a:xfrm flipH="1">
            <a:off x="935038" y="1116013"/>
            <a:ext cx="1584325" cy="0"/>
          </a:xfrm>
          <a:prstGeom prst="line">
            <a:avLst/>
          </a:prstGeom>
          <a:ln w="2413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027" name="Image 12" descr="Logo_suite_50x30.png"/>
          <p:cNvPicPr>
            <a:picLocks noChangeAspect="1"/>
          </p:cNvPicPr>
          <p:nvPr/>
        </p:nvPicPr>
        <p:blipFill>
          <a:blip r:embed="rId14">
            <a:extLst>
              <a:ext uri="{28A0092B-C50C-407E-A947-70E740481C1C}">
                <a14:useLocalDpi xmlns:a14="http://schemas.microsoft.com/office/drawing/2010/main" val="0"/>
              </a:ext>
            </a:extLst>
          </a:blip>
          <a:srcRect/>
          <a:stretch>
            <a:fillRect/>
          </a:stretch>
        </p:blipFill>
        <p:spPr bwMode="gray">
          <a:xfrm>
            <a:off x="7343775" y="5780088"/>
            <a:ext cx="1800225" cy="107791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028" name="Espace réservé du titre 1"/>
          <p:cNvSpPr>
            <a:spLocks noGrp="1"/>
          </p:cNvSpPr>
          <p:nvPr>
            <p:ph type="title"/>
          </p:nvPr>
        </p:nvSpPr>
        <p:spPr bwMode="gray">
          <a:xfrm>
            <a:off x="935038" y="0"/>
            <a:ext cx="7345362" cy="103663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bodyPr>
          <a:lstStyle/>
          <a:p>
            <a:pPr lvl="0"/>
            <a:r>
              <a:rPr lang="en-US" altLang="en-US"/>
              <a:t>TITLE</a:t>
            </a:r>
          </a:p>
        </p:txBody>
      </p:sp>
      <p:sp>
        <p:nvSpPr>
          <p:cNvPr id="1029" name="Espace réservé du texte 2"/>
          <p:cNvSpPr>
            <a:spLocks noGrp="1"/>
          </p:cNvSpPr>
          <p:nvPr>
            <p:ph type="body" idx="1"/>
          </p:nvPr>
        </p:nvSpPr>
        <p:spPr bwMode="gray">
          <a:xfrm>
            <a:off x="935038" y="1304925"/>
            <a:ext cx="7345362" cy="47164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n-US"/>
              <a:t>Text level 1</a:t>
            </a:r>
          </a:p>
          <a:p>
            <a:pPr lvl="1"/>
            <a:r>
              <a:rPr lang="en-US" altLang="en-US"/>
              <a:t>Text level 2</a:t>
            </a:r>
          </a:p>
          <a:p>
            <a:pPr lvl="2"/>
            <a:r>
              <a:rPr lang="en-US" altLang="en-US"/>
              <a:t>Text level 3</a:t>
            </a:r>
          </a:p>
          <a:p>
            <a:pPr lvl="3"/>
            <a:r>
              <a:rPr lang="en-US" altLang="en-US"/>
              <a:t>Text level 4</a:t>
            </a:r>
          </a:p>
          <a:p>
            <a:pPr lvl="4"/>
            <a:r>
              <a:rPr lang="en-US" altLang="en-US"/>
              <a:t>Text level 5</a:t>
            </a:r>
          </a:p>
        </p:txBody>
      </p:sp>
      <p:sp>
        <p:nvSpPr>
          <p:cNvPr id="4" name="Espace réservé de la date 3"/>
          <p:cNvSpPr>
            <a:spLocks noGrp="1"/>
          </p:cNvSpPr>
          <p:nvPr>
            <p:ph type="dt" sz="half" idx="2"/>
          </p:nvPr>
        </p:nvSpPr>
        <p:spPr bwMode="gray">
          <a:xfrm>
            <a:off x="0" y="6497638"/>
            <a:ext cx="935038" cy="360362"/>
          </a:xfrm>
          <a:prstGeom prst="rect">
            <a:avLst/>
          </a:prstGeom>
        </p:spPr>
        <p:txBody>
          <a:bodyPr vert="horz" lIns="0" tIns="0" rIns="0" bIns="0" rtlCol="0" anchor="t" anchorCtr="0">
            <a:noAutofit/>
          </a:bodyPr>
          <a:lstStyle>
            <a:lvl1pPr algn="l" fontAlgn="auto">
              <a:spcBef>
                <a:spcPts val="0"/>
              </a:spcBef>
              <a:spcAft>
                <a:spcPts val="0"/>
              </a:spcAft>
              <a:defRPr sz="100">
                <a:solidFill>
                  <a:schemeClr val="bg1">
                    <a:alpha val="0"/>
                  </a:schemeClr>
                </a:solidFill>
                <a:latin typeface="+mn-lt"/>
                <a:cs typeface="+mn-cs"/>
              </a:defRPr>
            </a:lvl1pPr>
          </a:lstStyle>
          <a:p>
            <a:pPr>
              <a:defRPr/>
            </a:pPr>
            <a:r>
              <a:rPr lang="en-US">
                <a:solidFill>
                  <a:prstClr val="white">
                    <a:alpha val="0"/>
                  </a:prstClr>
                </a:solidFill>
              </a:rPr>
              <a:t>Date</a:t>
            </a:r>
          </a:p>
        </p:txBody>
      </p:sp>
      <p:sp>
        <p:nvSpPr>
          <p:cNvPr id="5" name="Espace réservé du pied de page 4"/>
          <p:cNvSpPr>
            <a:spLocks noGrp="1"/>
          </p:cNvSpPr>
          <p:nvPr>
            <p:ph type="ftr" sz="quarter" idx="3"/>
          </p:nvPr>
        </p:nvSpPr>
        <p:spPr bwMode="gray">
          <a:xfrm>
            <a:off x="2411413" y="6497638"/>
            <a:ext cx="4321175" cy="360362"/>
          </a:xfrm>
          <a:prstGeom prst="rect">
            <a:avLst/>
          </a:prstGeom>
        </p:spPr>
        <p:txBody>
          <a:bodyPr vert="horz" lIns="0" tIns="7200" rIns="0" bIns="0" rtlCol="0" anchor="t" anchorCtr="0">
            <a:noAutofit/>
          </a:bodyPr>
          <a:lstStyle>
            <a:lvl1pPr algn="ctr" fontAlgn="auto">
              <a:spcBef>
                <a:spcPts val="0"/>
              </a:spcBef>
              <a:spcAft>
                <a:spcPts val="0"/>
              </a:spcAft>
              <a:defRPr sz="1000" b="1">
                <a:solidFill>
                  <a:schemeClr val="accent4"/>
                </a:solidFill>
                <a:latin typeface="+mn-lt"/>
                <a:cs typeface="+mn-cs"/>
              </a:defRPr>
            </a:lvl1pPr>
          </a:lstStyle>
          <a:p>
            <a:pPr>
              <a:defRPr/>
            </a:pPr>
            <a:r>
              <a:rPr lang="en-US">
                <a:solidFill>
                  <a:srgbClr val="005CB9"/>
                </a:solidFill>
              </a:rPr>
              <a:t>#</a:t>
            </a:r>
            <a:r>
              <a:rPr lang="en-US" err="1">
                <a:solidFill>
                  <a:srgbClr val="005CB9"/>
                </a:solidFill>
              </a:rPr>
              <a:t>vaccineswork</a:t>
            </a:r>
            <a:endParaRPr lang="en-US">
              <a:solidFill>
                <a:srgbClr val="005CB9"/>
              </a:solidFill>
            </a:endParaRPr>
          </a:p>
        </p:txBody>
      </p:sp>
      <p:sp>
        <p:nvSpPr>
          <p:cNvPr id="6" name="Espace réservé du numéro de diapositive 5"/>
          <p:cNvSpPr>
            <a:spLocks noGrp="1"/>
          </p:cNvSpPr>
          <p:nvPr>
            <p:ph type="sldNum" sz="quarter" idx="4"/>
          </p:nvPr>
        </p:nvSpPr>
        <p:spPr bwMode="gray">
          <a:xfrm>
            <a:off x="935038" y="6497638"/>
            <a:ext cx="900112" cy="360362"/>
          </a:xfrm>
          <a:prstGeom prst="rect">
            <a:avLst/>
          </a:prstGeom>
        </p:spPr>
        <p:txBody>
          <a:bodyPr vert="horz" lIns="0" tIns="21600" rIns="0" bIns="0" rtlCol="0" anchor="t" anchorCtr="0">
            <a:noAutofit/>
          </a:bodyPr>
          <a:lstStyle>
            <a:lvl1pPr algn="l" fontAlgn="auto">
              <a:spcBef>
                <a:spcPts val="0"/>
              </a:spcBef>
              <a:spcAft>
                <a:spcPts val="0"/>
              </a:spcAft>
              <a:defRPr sz="900" b="1">
                <a:solidFill>
                  <a:schemeClr val="tx2"/>
                </a:solidFill>
                <a:latin typeface="+mn-lt"/>
                <a:cs typeface="+mn-cs"/>
              </a:defRPr>
            </a:lvl1pPr>
          </a:lstStyle>
          <a:p>
            <a:pPr>
              <a:defRPr/>
            </a:pPr>
            <a:fld id="{554E5E40-990A-4474-BD97-03BADD847FA0}" type="slidenum">
              <a:rPr lang="en-US">
                <a:solidFill>
                  <a:srgbClr val="343434"/>
                </a:solidFill>
              </a:rPr>
              <a:pPr>
                <a:defRPr/>
              </a:pPr>
              <a:t>‹#›</a:t>
            </a:fld>
            <a:endParaRPr lang="en-US">
              <a:solidFill>
                <a:srgbClr val="343434"/>
              </a:solidFill>
            </a:endParaRPr>
          </a:p>
        </p:txBody>
      </p:sp>
      <p:cxnSp>
        <p:nvCxnSpPr>
          <p:cNvPr id="12" name="Connecteur droit 11"/>
          <p:cNvCxnSpPr/>
          <p:nvPr/>
        </p:nvCxnSpPr>
        <p:spPr bwMode="gray">
          <a:xfrm flipH="1">
            <a:off x="7559675" y="6040438"/>
            <a:ext cx="1584325" cy="0"/>
          </a:xfrm>
          <a:prstGeom prst="line">
            <a:avLst/>
          </a:prstGeom>
          <a:ln w="2413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20211761"/>
      </p:ext>
    </p:extLst>
  </p:cSld>
  <p:clrMap bg1="lt1" tx1="dk1" bg2="lt2" tx2="dk2" accent1="accent1" accent2="accent2" accent3="accent3" accent4="accent4" accent5="accent5" accent6="accent6" hlink="hlink" folHlink="folHlink"/>
  <p:sldLayoutIdLst>
    <p:sldLayoutId id="2147483858" r:id="rId1"/>
    <p:sldLayoutId id="2147483859" r:id="rId2"/>
    <p:sldLayoutId id="2147483860" r:id="rId3"/>
    <p:sldLayoutId id="2147483861" r:id="rId4"/>
    <p:sldLayoutId id="2147483862" r:id="rId5"/>
    <p:sldLayoutId id="2147483863" r:id="rId6"/>
    <p:sldLayoutId id="2147483864" r:id="rId7"/>
    <p:sldLayoutId id="2147483865" r:id="rId8"/>
    <p:sldLayoutId id="2147483866" r:id="rId9"/>
    <p:sldLayoutId id="2147483867" r:id="rId10"/>
    <p:sldLayoutId id="2147483868" r:id="rId11"/>
    <p:sldLayoutId id="2147483869" r:id="rId12"/>
  </p:sldLayoutIdLst>
  <p:hf hdr="0" dt="0"/>
  <p:txStyles>
    <p:titleStyle>
      <a:lvl1pPr algn="l" rtl="0" eaLnBrk="0" fontAlgn="base" hangingPunct="0">
        <a:lnSpc>
          <a:spcPct val="90000"/>
        </a:lnSpc>
        <a:spcBef>
          <a:spcPct val="0"/>
        </a:spcBef>
        <a:spcAft>
          <a:spcPct val="0"/>
        </a:spcAft>
        <a:defRPr sz="2800" kern="1200">
          <a:solidFill>
            <a:srgbClr val="005CB9"/>
          </a:solidFill>
          <a:latin typeface="+mj-lt"/>
          <a:ea typeface="+mj-ea"/>
          <a:cs typeface="+mj-cs"/>
        </a:defRPr>
      </a:lvl1pPr>
      <a:lvl2pPr algn="l" rtl="0" eaLnBrk="0" fontAlgn="base" hangingPunct="0">
        <a:lnSpc>
          <a:spcPct val="90000"/>
        </a:lnSpc>
        <a:spcBef>
          <a:spcPct val="0"/>
        </a:spcBef>
        <a:spcAft>
          <a:spcPct val="0"/>
        </a:spcAft>
        <a:defRPr sz="2800">
          <a:solidFill>
            <a:srgbClr val="005CB9"/>
          </a:solidFill>
          <a:latin typeface="Arial" charset="0"/>
        </a:defRPr>
      </a:lvl2pPr>
      <a:lvl3pPr algn="l" rtl="0" eaLnBrk="0" fontAlgn="base" hangingPunct="0">
        <a:lnSpc>
          <a:spcPct val="90000"/>
        </a:lnSpc>
        <a:spcBef>
          <a:spcPct val="0"/>
        </a:spcBef>
        <a:spcAft>
          <a:spcPct val="0"/>
        </a:spcAft>
        <a:defRPr sz="2800">
          <a:solidFill>
            <a:srgbClr val="005CB9"/>
          </a:solidFill>
          <a:latin typeface="Arial" charset="0"/>
        </a:defRPr>
      </a:lvl3pPr>
      <a:lvl4pPr algn="l" rtl="0" eaLnBrk="0" fontAlgn="base" hangingPunct="0">
        <a:lnSpc>
          <a:spcPct val="90000"/>
        </a:lnSpc>
        <a:spcBef>
          <a:spcPct val="0"/>
        </a:spcBef>
        <a:spcAft>
          <a:spcPct val="0"/>
        </a:spcAft>
        <a:defRPr sz="2800">
          <a:solidFill>
            <a:srgbClr val="005CB9"/>
          </a:solidFill>
          <a:latin typeface="Arial" charset="0"/>
        </a:defRPr>
      </a:lvl4pPr>
      <a:lvl5pPr algn="l" rtl="0" eaLnBrk="0" fontAlgn="base" hangingPunct="0">
        <a:lnSpc>
          <a:spcPct val="90000"/>
        </a:lnSpc>
        <a:spcBef>
          <a:spcPct val="0"/>
        </a:spcBef>
        <a:spcAft>
          <a:spcPct val="0"/>
        </a:spcAft>
        <a:defRPr sz="2800">
          <a:solidFill>
            <a:srgbClr val="005CB9"/>
          </a:solidFill>
          <a:latin typeface="Arial" charset="0"/>
        </a:defRPr>
      </a:lvl5pPr>
      <a:lvl6pPr marL="457200" algn="l" rtl="0" fontAlgn="base">
        <a:lnSpc>
          <a:spcPct val="90000"/>
        </a:lnSpc>
        <a:spcBef>
          <a:spcPct val="0"/>
        </a:spcBef>
        <a:spcAft>
          <a:spcPct val="0"/>
        </a:spcAft>
        <a:defRPr sz="2800">
          <a:solidFill>
            <a:srgbClr val="005CB9"/>
          </a:solidFill>
          <a:latin typeface="Arial" charset="0"/>
        </a:defRPr>
      </a:lvl6pPr>
      <a:lvl7pPr marL="914400" algn="l" rtl="0" fontAlgn="base">
        <a:lnSpc>
          <a:spcPct val="90000"/>
        </a:lnSpc>
        <a:spcBef>
          <a:spcPct val="0"/>
        </a:spcBef>
        <a:spcAft>
          <a:spcPct val="0"/>
        </a:spcAft>
        <a:defRPr sz="2800">
          <a:solidFill>
            <a:srgbClr val="005CB9"/>
          </a:solidFill>
          <a:latin typeface="Arial" charset="0"/>
        </a:defRPr>
      </a:lvl7pPr>
      <a:lvl8pPr marL="1371600" algn="l" rtl="0" fontAlgn="base">
        <a:lnSpc>
          <a:spcPct val="90000"/>
        </a:lnSpc>
        <a:spcBef>
          <a:spcPct val="0"/>
        </a:spcBef>
        <a:spcAft>
          <a:spcPct val="0"/>
        </a:spcAft>
        <a:defRPr sz="2800">
          <a:solidFill>
            <a:srgbClr val="005CB9"/>
          </a:solidFill>
          <a:latin typeface="Arial" charset="0"/>
        </a:defRPr>
      </a:lvl8pPr>
      <a:lvl9pPr marL="1828800" algn="l" rtl="0" fontAlgn="base">
        <a:lnSpc>
          <a:spcPct val="90000"/>
        </a:lnSpc>
        <a:spcBef>
          <a:spcPct val="0"/>
        </a:spcBef>
        <a:spcAft>
          <a:spcPct val="0"/>
        </a:spcAft>
        <a:defRPr sz="2800">
          <a:solidFill>
            <a:srgbClr val="005CB9"/>
          </a:solidFill>
          <a:latin typeface="Arial" charset="0"/>
        </a:defRPr>
      </a:lvl9pPr>
    </p:titleStyle>
    <p:bodyStyle>
      <a:lvl1pPr algn="l" rtl="0" eaLnBrk="0" fontAlgn="base" hangingPunct="0">
        <a:lnSpc>
          <a:spcPct val="110000"/>
        </a:lnSpc>
        <a:spcBef>
          <a:spcPct val="0"/>
        </a:spcBef>
        <a:spcAft>
          <a:spcPct val="0"/>
        </a:spcAft>
        <a:buFont typeface="Arial" charset="0"/>
        <a:defRPr sz="2000" b="1" kern="1200">
          <a:solidFill>
            <a:srgbClr val="005CB9"/>
          </a:solidFill>
          <a:latin typeface="+mn-lt"/>
          <a:ea typeface="+mn-ea"/>
          <a:cs typeface="+mn-cs"/>
        </a:defRPr>
      </a:lvl1pPr>
      <a:lvl2pPr marL="142875" algn="l" rtl="0" eaLnBrk="0" fontAlgn="base" hangingPunct="0">
        <a:spcBef>
          <a:spcPts val="300"/>
        </a:spcBef>
        <a:spcAft>
          <a:spcPct val="0"/>
        </a:spcAft>
        <a:buFont typeface="Arial" charset="0"/>
        <a:defRPr sz="1600" b="1" kern="1200">
          <a:solidFill>
            <a:schemeClr val="tx2"/>
          </a:solidFill>
          <a:latin typeface="+mn-lt"/>
          <a:ea typeface="+mn-ea"/>
          <a:cs typeface="+mn-cs"/>
        </a:defRPr>
      </a:lvl2pPr>
      <a:lvl3pPr marL="142875" indent="107950" algn="l" rtl="0" eaLnBrk="0" fontAlgn="base" hangingPunct="0">
        <a:spcBef>
          <a:spcPts val="300"/>
        </a:spcBef>
        <a:spcAft>
          <a:spcPct val="0"/>
        </a:spcAft>
        <a:buSzPct val="100000"/>
        <a:buFont typeface="Arial" charset="0"/>
        <a:buChar char="•"/>
        <a:defRPr sz="1400" b="1" kern="1200">
          <a:solidFill>
            <a:schemeClr val="tx2"/>
          </a:solidFill>
          <a:latin typeface="+mn-lt"/>
          <a:ea typeface="+mn-ea"/>
          <a:cs typeface="+mn-cs"/>
        </a:defRPr>
      </a:lvl3pPr>
      <a:lvl4pPr marL="358775" algn="l" rtl="0" eaLnBrk="0" fontAlgn="base" hangingPunct="0">
        <a:spcBef>
          <a:spcPts val="300"/>
        </a:spcBef>
        <a:spcAft>
          <a:spcPct val="0"/>
        </a:spcAft>
        <a:buSzPct val="100000"/>
        <a:buFont typeface="Arial" charset="0"/>
        <a:defRPr sz="1400" kern="1200">
          <a:solidFill>
            <a:schemeClr val="tx2"/>
          </a:solidFill>
          <a:latin typeface="+mn-lt"/>
          <a:ea typeface="+mn-ea"/>
          <a:cs typeface="+mn-cs"/>
        </a:defRPr>
      </a:lvl4pPr>
      <a:lvl5pPr marL="503238" indent="107950" algn="l" rtl="0" eaLnBrk="0" fontAlgn="base" hangingPunct="0">
        <a:spcBef>
          <a:spcPts val="300"/>
        </a:spcBef>
        <a:spcAft>
          <a:spcPct val="0"/>
        </a:spcAft>
        <a:buSzPct val="100000"/>
        <a:buFont typeface="Arial" charset="0"/>
        <a:buChar char="•"/>
        <a:defRPr sz="12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cxnSp>
        <p:nvCxnSpPr>
          <p:cNvPr id="11" name="Connecteur droit 10"/>
          <p:cNvCxnSpPr/>
          <p:nvPr/>
        </p:nvCxnSpPr>
        <p:spPr bwMode="gray">
          <a:xfrm flipH="1">
            <a:off x="935038" y="1116013"/>
            <a:ext cx="1584325" cy="0"/>
          </a:xfrm>
          <a:prstGeom prst="line">
            <a:avLst/>
          </a:prstGeom>
          <a:ln w="2413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027" name="Image 12" descr="Logo_suite_50x30.png"/>
          <p:cNvPicPr>
            <a:picLocks noChangeAspect="1"/>
          </p:cNvPicPr>
          <p:nvPr/>
        </p:nvPicPr>
        <p:blipFill>
          <a:blip r:embed="rId12">
            <a:extLst>
              <a:ext uri="{28A0092B-C50C-407E-A947-70E740481C1C}">
                <a14:useLocalDpi xmlns:a14="http://schemas.microsoft.com/office/drawing/2010/main" val="0"/>
              </a:ext>
            </a:extLst>
          </a:blip>
          <a:srcRect/>
          <a:stretch>
            <a:fillRect/>
          </a:stretch>
        </p:blipFill>
        <p:spPr bwMode="gray">
          <a:xfrm>
            <a:off x="7343775" y="5780088"/>
            <a:ext cx="1800225" cy="107791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028" name="Espace réservé du titre 1"/>
          <p:cNvSpPr>
            <a:spLocks noGrp="1"/>
          </p:cNvSpPr>
          <p:nvPr>
            <p:ph type="title"/>
          </p:nvPr>
        </p:nvSpPr>
        <p:spPr bwMode="gray">
          <a:xfrm>
            <a:off x="935038" y="0"/>
            <a:ext cx="7345362" cy="103663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bodyPr>
          <a:lstStyle/>
          <a:p>
            <a:pPr lvl="0"/>
            <a:r>
              <a:rPr lang="en-US" altLang="en-US"/>
              <a:t>TITLE</a:t>
            </a:r>
          </a:p>
        </p:txBody>
      </p:sp>
      <p:sp>
        <p:nvSpPr>
          <p:cNvPr id="1029" name="Espace réservé du texte 2"/>
          <p:cNvSpPr>
            <a:spLocks noGrp="1"/>
          </p:cNvSpPr>
          <p:nvPr>
            <p:ph type="body" idx="1"/>
          </p:nvPr>
        </p:nvSpPr>
        <p:spPr bwMode="gray">
          <a:xfrm>
            <a:off x="935038" y="1304925"/>
            <a:ext cx="7345362" cy="47164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n-US"/>
              <a:t>Text level 1</a:t>
            </a:r>
          </a:p>
          <a:p>
            <a:pPr lvl="1"/>
            <a:r>
              <a:rPr lang="en-US" altLang="en-US"/>
              <a:t>Text level 2</a:t>
            </a:r>
          </a:p>
          <a:p>
            <a:pPr lvl="2"/>
            <a:r>
              <a:rPr lang="en-US" altLang="en-US"/>
              <a:t>Text level 3</a:t>
            </a:r>
          </a:p>
          <a:p>
            <a:pPr lvl="3"/>
            <a:r>
              <a:rPr lang="en-US" altLang="en-US"/>
              <a:t>Text level 4</a:t>
            </a:r>
          </a:p>
          <a:p>
            <a:pPr lvl="4"/>
            <a:r>
              <a:rPr lang="en-US" altLang="en-US"/>
              <a:t>Text level 5</a:t>
            </a:r>
          </a:p>
        </p:txBody>
      </p:sp>
      <p:sp>
        <p:nvSpPr>
          <p:cNvPr id="4" name="Espace réservé de la date 3"/>
          <p:cNvSpPr>
            <a:spLocks noGrp="1"/>
          </p:cNvSpPr>
          <p:nvPr>
            <p:ph type="dt" sz="half" idx="2"/>
          </p:nvPr>
        </p:nvSpPr>
        <p:spPr bwMode="gray">
          <a:xfrm>
            <a:off x="0" y="6497638"/>
            <a:ext cx="935038" cy="360362"/>
          </a:xfrm>
          <a:prstGeom prst="rect">
            <a:avLst/>
          </a:prstGeom>
        </p:spPr>
        <p:txBody>
          <a:bodyPr vert="horz" lIns="0" tIns="0" rIns="0" bIns="0" rtlCol="0" anchor="t" anchorCtr="0">
            <a:noAutofit/>
          </a:bodyPr>
          <a:lstStyle>
            <a:lvl1pPr algn="l" fontAlgn="auto">
              <a:spcBef>
                <a:spcPts val="0"/>
              </a:spcBef>
              <a:spcAft>
                <a:spcPts val="0"/>
              </a:spcAft>
              <a:defRPr sz="100">
                <a:solidFill>
                  <a:schemeClr val="bg1">
                    <a:alpha val="0"/>
                  </a:schemeClr>
                </a:solidFill>
                <a:latin typeface="+mn-lt"/>
                <a:cs typeface="+mn-cs"/>
              </a:defRPr>
            </a:lvl1pPr>
          </a:lstStyle>
          <a:p>
            <a:pPr>
              <a:defRPr/>
            </a:pPr>
            <a:r>
              <a:rPr lang="en-US">
                <a:solidFill>
                  <a:prstClr val="white">
                    <a:alpha val="0"/>
                  </a:prstClr>
                </a:solidFill>
              </a:rPr>
              <a:t>Date</a:t>
            </a:r>
          </a:p>
        </p:txBody>
      </p:sp>
      <p:sp>
        <p:nvSpPr>
          <p:cNvPr id="5" name="Espace réservé du pied de page 4"/>
          <p:cNvSpPr>
            <a:spLocks noGrp="1"/>
          </p:cNvSpPr>
          <p:nvPr>
            <p:ph type="ftr" sz="quarter" idx="3"/>
          </p:nvPr>
        </p:nvSpPr>
        <p:spPr bwMode="gray">
          <a:xfrm>
            <a:off x="2411413" y="6497638"/>
            <a:ext cx="4321175" cy="360362"/>
          </a:xfrm>
          <a:prstGeom prst="rect">
            <a:avLst/>
          </a:prstGeom>
        </p:spPr>
        <p:txBody>
          <a:bodyPr vert="horz" lIns="0" tIns="7200" rIns="0" bIns="0" rtlCol="0" anchor="t" anchorCtr="0">
            <a:noAutofit/>
          </a:bodyPr>
          <a:lstStyle>
            <a:lvl1pPr algn="ctr" fontAlgn="auto">
              <a:spcBef>
                <a:spcPts val="0"/>
              </a:spcBef>
              <a:spcAft>
                <a:spcPts val="0"/>
              </a:spcAft>
              <a:defRPr sz="1000" b="1">
                <a:solidFill>
                  <a:schemeClr val="accent4"/>
                </a:solidFill>
                <a:latin typeface="+mn-lt"/>
                <a:cs typeface="+mn-cs"/>
              </a:defRPr>
            </a:lvl1pPr>
          </a:lstStyle>
          <a:p>
            <a:pPr>
              <a:defRPr/>
            </a:pPr>
            <a:r>
              <a:rPr lang="en-US">
                <a:solidFill>
                  <a:srgbClr val="005CB9"/>
                </a:solidFill>
              </a:rPr>
              <a:t>#</a:t>
            </a:r>
            <a:r>
              <a:rPr lang="en-US" err="1">
                <a:solidFill>
                  <a:srgbClr val="005CB9"/>
                </a:solidFill>
              </a:rPr>
              <a:t>vaccineswork</a:t>
            </a:r>
            <a:endParaRPr lang="en-US">
              <a:solidFill>
                <a:srgbClr val="005CB9"/>
              </a:solidFill>
            </a:endParaRPr>
          </a:p>
        </p:txBody>
      </p:sp>
      <p:sp>
        <p:nvSpPr>
          <p:cNvPr id="6" name="Espace réservé du numéro de diapositive 5"/>
          <p:cNvSpPr>
            <a:spLocks noGrp="1"/>
          </p:cNvSpPr>
          <p:nvPr>
            <p:ph type="sldNum" sz="quarter" idx="4"/>
          </p:nvPr>
        </p:nvSpPr>
        <p:spPr bwMode="gray">
          <a:xfrm>
            <a:off x="935038" y="6497638"/>
            <a:ext cx="900112" cy="360362"/>
          </a:xfrm>
          <a:prstGeom prst="rect">
            <a:avLst/>
          </a:prstGeom>
        </p:spPr>
        <p:txBody>
          <a:bodyPr vert="horz" lIns="0" tIns="21600" rIns="0" bIns="0" rtlCol="0" anchor="t" anchorCtr="0">
            <a:noAutofit/>
          </a:bodyPr>
          <a:lstStyle>
            <a:lvl1pPr algn="l" fontAlgn="auto">
              <a:spcBef>
                <a:spcPts val="0"/>
              </a:spcBef>
              <a:spcAft>
                <a:spcPts val="0"/>
              </a:spcAft>
              <a:defRPr sz="900" b="1">
                <a:solidFill>
                  <a:schemeClr val="tx2"/>
                </a:solidFill>
                <a:latin typeface="+mn-lt"/>
                <a:cs typeface="+mn-cs"/>
              </a:defRPr>
            </a:lvl1pPr>
          </a:lstStyle>
          <a:p>
            <a:pPr>
              <a:defRPr/>
            </a:pPr>
            <a:fld id="{554E5E40-990A-4474-BD97-03BADD847FA0}" type="slidenum">
              <a:rPr lang="en-US">
                <a:solidFill>
                  <a:srgbClr val="343434"/>
                </a:solidFill>
              </a:rPr>
              <a:pPr>
                <a:defRPr/>
              </a:pPr>
              <a:t>‹#›</a:t>
            </a:fld>
            <a:endParaRPr lang="en-US">
              <a:solidFill>
                <a:srgbClr val="343434"/>
              </a:solidFill>
            </a:endParaRPr>
          </a:p>
        </p:txBody>
      </p:sp>
      <p:cxnSp>
        <p:nvCxnSpPr>
          <p:cNvPr id="12" name="Connecteur droit 11"/>
          <p:cNvCxnSpPr/>
          <p:nvPr/>
        </p:nvCxnSpPr>
        <p:spPr bwMode="gray">
          <a:xfrm flipH="1">
            <a:off x="7559675" y="6040438"/>
            <a:ext cx="1584325" cy="0"/>
          </a:xfrm>
          <a:prstGeom prst="line">
            <a:avLst/>
          </a:prstGeom>
          <a:ln w="2413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47698745"/>
      </p:ext>
    </p:extLst>
  </p:cSld>
  <p:clrMap bg1="lt1" tx1="dk1" bg2="lt2" tx2="dk2" accent1="accent1" accent2="accent2" accent3="accent3" accent4="accent4" accent5="accent5" accent6="accent6" hlink="hlink" folHlink="folHlink"/>
  <p:sldLayoutIdLst>
    <p:sldLayoutId id="2147483872" r:id="rId1"/>
    <p:sldLayoutId id="2147483873" r:id="rId2"/>
    <p:sldLayoutId id="2147483874" r:id="rId3"/>
    <p:sldLayoutId id="2147483875" r:id="rId4"/>
    <p:sldLayoutId id="2147483877" r:id="rId5"/>
    <p:sldLayoutId id="2147483878" r:id="rId6"/>
    <p:sldLayoutId id="2147483879" r:id="rId7"/>
    <p:sldLayoutId id="2147483880" r:id="rId8"/>
    <p:sldLayoutId id="2147483881" r:id="rId9"/>
    <p:sldLayoutId id="2147483882" r:id="rId10"/>
  </p:sldLayoutIdLst>
  <p:hf hdr="0" dt="0"/>
  <p:txStyles>
    <p:titleStyle>
      <a:lvl1pPr algn="l" rtl="0" eaLnBrk="0" fontAlgn="base" hangingPunct="0">
        <a:lnSpc>
          <a:spcPct val="90000"/>
        </a:lnSpc>
        <a:spcBef>
          <a:spcPct val="0"/>
        </a:spcBef>
        <a:spcAft>
          <a:spcPct val="0"/>
        </a:spcAft>
        <a:defRPr sz="2800" kern="1200">
          <a:solidFill>
            <a:srgbClr val="005CB9"/>
          </a:solidFill>
          <a:latin typeface="+mj-lt"/>
          <a:ea typeface="+mj-ea"/>
          <a:cs typeface="+mj-cs"/>
        </a:defRPr>
      </a:lvl1pPr>
      <a:lvl2pPr algn="l" rtl="0" eaLnBrk="0" fontAlgn="base" hangingPunct="0">
        <a:lnSpc>
          <a:spcPct val="90000"/>
        </a:lnSpc>
        <a:spcBef>
          <a:spcPct val="0"/>
        </a:spcBef>
        <a:spcAft>
          <a:spcPct val="0"/>
        </a:spcAft>
        <a:defRPr sz="2800">
          <a:solidFill>
            <a:srgbClr val="005CB9"/>
          </a:solidFill>
          <a:latin typeface="Arial" charset="0"/>
        </a:defRPr>
      </a:lvl2pPr>
      <a:lvl3pPr algn="l" rtl="0" eaLnBrk="0" fontAlgn="base" hangingPunct="0">
        <a:lnSpc>
          <a:spcPct val="90000"/>
        </a:lnSpc>
        <a:spcBef>
          <a:spcPct val="0"/>
        </a:spcBef>
        <a:spcAft>
          <a:spcPct val="0"/>
        </a:spcAft>
        <a:defRPr sz="2800">
          <a:solidFill>
            <a:srgbClr val="005CB9"/>
          </a:solidFill>
          <a:latin typeface="Arial" charset="0"/>
        </a:defRPr>
      </a:lvl3pPr>
      <a:lvl4pPr algn="l" rtl="0" eaLnBrk="0" fontAlgn="base" hangingPunct="0">
        <a:lnSpc>
          <a:spcPct val="90000"/>
        </a:lnSpc>
        <a:spcBef>
          <a:spcPct val="0"/>
        </a:spcBef>
        <a:spcAft>
          <a:spcPct val="0"/>
        </a:spcAft>
        <a:defRPr sz="2800">
          <a:solidFill>
            <a:srgbClr val="005CB9"/>
          </a:solidFill>
          <a:latin typeface="Arial" charset="0"/>
        </a:defRPr>
      </a:lvl4pPr>
      <a:lvl5pPr algn="l" rtl="0" eaLnBrk="0" fontAlgn="base" hangingPunct="0">
        <a:lnSpc>
          <a:spcPct val="90000"/>
        </a:lnSpc>
        <a:spcBef>
          <a:spcPct val="0"/>
        </a:spcBef>
        <a:spcAft>
          <a:spcPct val="0"/>
        </a:spcAft>
        <a:defRPr sz="2800">
          <a:solidFill>
            <a:srgbClr val="005CB9"/>
          </a:solidFill>
          <a:latin typeface="Arial" charset="0"/>
        </a:defRPr>
      </a:lvl5pPr>
      <a:lvl6pPr marL="457200" algn="l" rtl="0" fontAlgn="base">
        <a:lnSpc>
          <a:spcPct val="90000"/>
        </a:lnSpc>
        <a:spcBef>
          <a:spcPct val="0"/>
        </a:spcBef>
        <a:spcAft>
          <a:spcPct val="0"/>
        </a:spcAft>
        <a:defRPr sz="2800">
          <a:solidFill>
            <a:srgbClr val="005CB9"/>
          </a:solidFill>
          <a:latin typeface="Arial" charset="0"/>
        </a:defRPr>
      </a:lvl6pPr>
      <a:lvl7pPr marL="914400" algn="l" rtl="0" fontAlgn="base">
        <a:lnSpc>
          <a:spcPct val="90000"/>
        </a:lnSpc>
        <a:spcBef>
          <a:spcPct val="0"/>
        </a:spcBef>
        <a:spcAft>
          <a:spcPct val="0"/>
        </a:spcAft>
        <a:defRPr sz="2800">
          <a:solidFill>
            <a:srgbClr val="005CB9"/>
          </a:solidFill>
          <a:latin typeface="Arial" charset="0"/>
        </a:defRPr>
      </a:lvl7pPr>
      <a:lvl8pPr marL="1371600" algn="l" rtl="0" fontAlgn="base">
        <a:lnSpc>
          <a:spcPct val="90000"/>
        </a:lnSpc>
        <a:spcBef>
          <a:spcPct val="0"/>
        </a:spcBef>
        <a:spcAft>
          <a:spcPct val="0"/>
        </a:spcAft>
        <a:defRPr sz="2800">
          <a:solidFill>
            <a:srgbClr val="005CB9"/>
          </a:solidFill>
          <a:latin typeface="Arial" charset="0"/>
        </a:defRPr>
      </a:lvl8pPr>
      <a:lvl9pPr marL="1828800" algn="l" rtl="0" fontAlgn="base">
        <a:lnSpc>
          <a:spcPct val="90000"/>
        </a:lnSpc>
        <a:spcBef>
          <a:spcPct val="0"/>
        </a:spcBef>
        <a:spcAft>
          <a:spcPct val="0"/>
        </a:spcAft>
        <a:defRPr sz="2800">
          <a:solidFill>
            <a:srgbClr val="005CB9"/>
          </a:solidFill>
          <a:latin typeface="Arial" charset="0"/>
        </a:defRPr>
      </a:lvl9pPr>
    </p:titleStyle>
    <p:bodyStyle>
      <a:lvl1pPr algn="l" rtl="0" eaLnBrk="0" fontAlgn="base" hangingPunct="0">
        <a:lnSpc>
          <a:spcPct val="110000"/>
        </a:lnSpc>
        <a:spcBef>
          <a:spcPct val="0"/>
        </a:spcBef>
        <a:spcAft>
          <a:spcPct val="0"/>
        </a:spcAft>
        <a:buFont typeface="Arial" charset="0"/>
        <a:defRPr sz="2000" b="1" kern="1200">
          <a:solidFill>
            <a:srgbClr val="005CB9"/>
          </a:solidFill>
          <a:latin typeface="+mn-lt"/>
          <a:ea typeface="+mn-ea"/>
          <a:cs typeface="+mn-cs"/>
        </a:defRPr>
      </a:lvl1pPr>
      <a:lvl2pPr marL="142875" algn="l" rtl="0" eaLnBrk="0" fontAlgn="base" hangingPunct="0">
        <a:spcBef>
          <a:spcPts val="300"/>
        </a:spcBef>
        <a:spcAft>
          <a:spcPct val="0"/>
        </a:spcAft>
        <a:buFont typeface="Arial" charset="0"/>
        <a:defRPr sz="1600" b="1" kern="1200">
          <a:solidFill>
            <a:schemeClr val="tx2"/>
          </a:solidFill>
          <a:latin typeface="+mn-lt"/>
          <a:ea typeface="+mn-ea"/>
          <a:cs typeface="+mn-cs"/>
        </a:defRPr>
      </a:lvl2pPr>
      <a:lvl3pPr marL="142875" indent="107950" algn="l" rtl="0" eaLnBrk="0" fontAlgn="base" hangingPunct="0">
        <a:spcBef>
          <a:spcPts val="300"/>
        </a:spcBef>
        <a:spcAft>
          <a:spcPct val="0"/>
        </a:spcAft>
        <a:buSzPct val="100000"/>
        <a:buFont typeface="Arial" charset="0"/>
        <a:buChar char="•"/>
        <a:defRPr sz="1400" b="1" kern="1200">
          <a:solidFill>
            <a:schemeClr val="tx2"/>
          </a:solidFill>
          <a:latin typeface="+mn-lt"/>
          <a:ea typeface="+mn-ea"/>
          <a:cs typeface="+mn-cs"/>
        </a:defRPr>
      </a:lvl3pPr>
      <a:lvl4pPr marL="358775" algn="l" rtl="0" eaLnBrk="0" fontAlgn="base" hangingPunct="0">
        <a:spcBef>
          <a:spcPts val="300"/>
        </a:spcBef>
        <a:spcAft>
          <a:spcPct val="0"/>
        </a:spcAft>
        <a:buSzPct val="100000"/>
        <a:buFont typeface="Arial" charset="0"/>
        <a:defRPr sz="1400" kern="1200">
          <a:solidFill>
            <a:schemeClr val="tx2"/>
          </a:solidFill>
          <a:latin typeface="+mn-lt"/>
          <a:ea typeface="+mn-ea"/>
          <a:cs typeface="+mn-cs"/>
        </a:defRPr>
      </a:lvl4pPr>
      <a:lvl5pPr marL="503238" indent="107950" algn="l" rtl="0" eaLnBrk="0" fontAlgn="base" hangingPunct="0">
        <a:spcBef>
          <a:spcPts val="300"/>
        </a:spcBef>
        <a:spcAft>
          <a:spcPct val="0"/>
        </a:spcAft>
        <a:buSzPct val="100000"/>
        <a:buFont typeface="Arial" charset="0"/>
        <a:buChar char="•"/>
        <a:defRPr sz="12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cxnSp>
        <p:nvCxnSpPr>
          <p:cNvPr id="11" name="Connecteur droit 10"/>
          <p:cNvCxnSpPr/>
          <p:nvPr/>
        </p:nvCxnSpPr>
        <p:spPr bwMode="gray">
          <a:xfrm flipH="1">
            <a:off x="935038" y="1116013"/>
            <a:ext cx="1584325" cy="0"/>
          </a:xfrm>
          <a:prstGeom prst="line">
            <a:avLst/>
          </a:prstGeom>
          <a:ln w="2413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027" name="Image 12" descr="Logo_suite_50x30.png"/>
          <p:cNvPicPr>
            <a:picLocks noChangeAspect="1"/>
          </p:cNvPicPr>
          <p:nvPr/>
        </p:nvPicPr>
        <p:blipFill>
          <a:blip r:embed="rId15">
            <a:extLst>
              <a:ext uri="{28A0092B-C50C-407E-A947-70E740481C1C}">
                <a14:useLocalDpi xmlns:a14="http://schemas.microsoft.com/office/drawing/2010/main" val="0"/>
              </a:ext>
            </a:extLst>
          </a:blip>
          <a:srcRect/>
          <a:stretch>
            <a:fillRect/>
          </a:stretch>
        </p:blipFill>
        <p:spPr bwMode="gray">
          <a:xfrm>
            <a:off x="7343775" y="5780088"/>
            <a:ext cx="1800225" cy="107791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028" name="Espace réservé du titre 1"/>
          <p:cNvSpPr>
            <a:spLocks noGrp="1"/>
          </p:cNvSpPr>
          <p:nvPr>
            <p:ph type="title"/>
          </p:nvPr>
        </p:nvSpPr>
        <p:spPr bwMode="gray">
          <a:xfrm>
            <a:off x="935038" y="0"/>
            <a:ext cx="7345362" cy="103663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bodyPr>
          <a:lstStyle/>
          <a:p>
            <a:pPr lvl="0"/>
            <a:r>
              <a:rPr lang="en-US" altLang="en-US"/>
              <a:t>TITLE</a:t>
            </a:r>
          </a:p>
        </p:txBody>
      </p:sp>
      <p:sp>
        <p:nvSpPr>
          <p:cNvPr id="1029" name="Espace réservé du texte 2"/>
          <p:cNvSpPr>
            <a:spLocks noGrp="1"/>
          </p:cNvSpPr>
          <p:nvPr>
            <p:ph type="body" idx="1"/>
          </p:nvPr>
        </p:nvSpPr>
        <p:spPr bwMode="gray">
          <a:xfrm>
            <a:off x="935038" y="1304925"/>
            <a:ext cx="7345362" cy="47164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n-US"/>
              <a:t>Text level 1</a:t>
            </a:r>
          </a:p>
          <a:p>
            <a:pPr lvl="1"/>
            <a:r>
              <a:rPr lang="en-US" altLang="en-US"/>
              <a:t>Text level 2</a:t>
            </a:r>
          </a:p>
          <a:p>
            <a:pPr lvl="2"/>
            <a:r>
              <a:rPr lang="en-US" altLang="en-US"/>
              <a:t>Text level 3</a:t>
            </a:r>
          </a:p>
          <a:p>
            <a:pPr lvl="3"/>
            <a:r>
              <a:rPr lang="en-US" altLang="en-US"/>
              <a:t>Text level 4</a:t>
            </a:r>
          </a:p>
          <a:p>
            <a:pPr lvl="4"/>
            <a:r>
              <a:rPr lang="en-US" altLang="en-US"/>
              <a:t>Text level 5</a:t>
            </a:r>
          </a:p>
        </p:txBody>
      </p:sp>
      <p:sp>
        <p:nvSpPr>
          <p:cNvPr id="4" name="Espace réservé de la date 3"/>
          <p:cNvSpPr>
            <a:spLocks noGrp="1"/>
          </p:cNvSpPr>
          <p:nvPr>
            <p:ph type="dt" sz="half" idx="2"/>
          </p:nvPr>
        </p:nvSpPr>
        <p:spPr bwMode="gray">
          <a:xfrm>
            <a:off x="0" y="6497638"/>
            <a:ext cx="935038" cy="360362"/>
          </a:xfrm>
          <a:prstGeom prst="rect">
            <a:avLst/>
          </a:prstGeom>
        </p:spPr>
        <p:txBody>
          <a:bodyPr vert="horz" lIns="0" tIns="0" rIns="0" bIns="0" rtlCol="0" anchor="t" anchorCtr="0">
            <a:noAutofit/>
          </a:bodyPr>
          <a:lstStyle>
            <a:lvl1pPr algn="l" fontAlgn="auto">
              <a:spcBef>
                <a:spcPts val="0"/>
              </a:spcBef>
              <a:spcAft>
                <a:spcPts val="0"/>
              </a:spcAft>
              <a:defRPr sz="100">
                <a:solidFill>
                  <a:schemeClr val="bg1">
                    <a:alpha val="0"/>
                  </a:schemeClr>
                </a:solidFill>
                <a:latin typeface="+mn-lt"/>
                <a:cs typeface="+mn-cs"/>
              </a:defRPr>
            </a:lvl1pPr>
          </a:lstStyle>
          <a:p>
            <a:pPr>
              <a:defRPr/>
            </a:pPr>
            <a:r>
              <a:rPr lang="en-US">
                <a:solidFill>
                  <a:prstClr val="white">
                    <a:alpha val="0"/>
                  </a:prstClr>
                </a:solidFill>
              </a:rPr>
              <a:t>Date</a:t>
            </a:r>
          </a:p>
        </p:txBody>
      </p:sp>
      <p:sp>
        <p:nvSpPr>
          <p:cNvPr id="5" name="Espace réservé du pied de page 4"/>
          <p:cNvSpPr>
            <a:spLocks noGrp="1"/>
          </p:cNvSpPr>
          <p:nvPr>
            <p:ph type="ftr" sz="quarter" idx="3"/>
          </p:nvPr>
        </p:nvSpPr>
        <p:spPr bwMode="gray">
          <a:xfrm>
            <a:off x="2411413" y="6497638"/>
            <a:ext cx="4321175" cy="360362"/>
          </a:xfrm>
          <a:prstGeom prst="rect">
            <a:avLst/>
          </a:prstGeom>
        </p:spPr>
        <p:txBody>
          <a:bodyPr vert="horz" lIns="0" tIns="7200" rIns="0" bIns="0" rtlCol="0" anchor="t" anchorCtr="0">
            <a:noAutofit/>
          </a:bodyPr>
          <a:lstStyle>
            <a:lvl1pPr algn="ctr" fontAlgn="auto">
              <a:spcBef>
                <a:spcPts val="0"/>
              </a:spcBef>
              <a:spcAft>
                <a:spcPts val="0"/>
              </a:spcAft>
              <a:defRPr sz="1000" b="1">
                <a:solidFill>
                  <a:schemeClr val="accent4"/>
                </a:solidFill>
                <a:latin typeface="+mn-lt"/>
                <a:cs typeface="+mn-cs"/>
              </a:defRPr>
            </a:lvl1pPr>
          </a:lstStyle>
          <a:p>
            <a:pPr>
              <a:defRPr/>
            </a:pPr>
            <a:r>
              <a:rPr lang="en-US">
                <a:solidFill>
                  <a:srgbClr val="005CB9"/>
                </a:solidFill>
              </a:rPr>
              <a:t>#</a:t>
            </a:r>
            <a:r>
              <a:rPr lang="en-US" err="1">
                <a:solidFill>
                  <a:srgbClr val="005CB9"/>
                </a:solidFill>
              </a:rPr>
              <a:t>vaccineswork</a:t>
            </a:r>
            <a:endParaRPr lang="en-US">
              <a:solidFill>
                <a:srgbClr val="005CB9"/>
              </a:solidFill>
            </a:endParaRPr>
          </a:p>
        </p:txBody>
      </p:sp>
      <p:sp>
        <p:nvSpPr>
          <p:cNvPr id="6" name="Espace réservé du numéro de diapositive 5"/>
          <p:cNvSpPr>
            <a:spLocks noGrp="1"/>
          </p:cNvSpPr>
          <p:nvPr>
            <p:ph type="sldNum" sz="quarter" idx="4"/>
          </p:nvPr>
        </p:nvSpPr>
        <p:spPr bwMode="gray">
          <a:xfrm>
            <a:off x="935038" y="6497638"/>
            <a:ext cx="900112" cy="360362"/>
          </a:xfrm>
          <a:prstGeom prst="rect">
            <a:avLst/>
          </a:prstGeom>
        </p:spPr>
        <p:txBody>
          <a:bodyPr vert="horz" lIns="0" tIns="21600" rIns="0" bIns="0" rtlCol="0" anchor="t" anchorCtr="0">
            <a:noAutofit/>
          </a:bodyPr>
          <a:lstStyle>
            <a:lvl1pPr algn="l" fontAlgn="auto">
              <a:spcBef>
                <a:spcPts val="0"/>
              </a:spcBef>
              <a:spcAft>
                <a:spcPts val="0"/>
              </a:spcAft>
              <a:defRPr sz="900" b="1">
                <a:solidFill>
                  <a:schemeClr val="tx2"/>
                </a:solidFill>
                <a:latin typeface="+mn-lt"/>
                <a:cs typeface="+mn-cs"/>
              </a:defRPr>
            </a:lvl1pPr>
          </a:lstStyle>
          <a:p>
            <a:pPr>
              <a:defRPr/>
            </a:pPr>
            <a:fld id="{554E5E40-990A-4474-BD97-03BADD847FA0}" type="slidenum">
              <a:rPr lang="en-US">
                <a:solidFill>
                  <a:srgbClr val="343434"/>
                </a:solidFill>
              </a:rPr>
              <a:pPr>
                <a:defRPr/>
              </a:pPr>
              <a:t>‹#›</a:t>
            </a:fld>
            <a:endParaRPr lang="en-US">
              <a:solidFill>
                <a:srgbClr val="343434"/>
              </a:solidFill>
            </a:endParaRPr>
          </a:p>
        </p:txBody>
      </p:sp>
      <p:cxnSp>
        <p:nvCxnSpPr>
          <p:cNvPr id="12" name="Connecteur droit 11"/>
          <p:cNvCxnSpPr/>
          <p:nvPr/>
        </p:nvCxnSpPr>
        <p:spPr bwMode="gray">
          <a:xfrm flipH="1">
            <a:off x="7559675" y="6040438"/>
            <a:ext cx="1584325" cy="0"/>
          </a:xfrm>
          <a:prstGeom prst="line">
            <a:avLst/>
          </a:prstGeom>
          <a:ln w="2413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99741764"/>
      </p:ext>
    </p:extLst>
  </p:cSld>
  <p:clrMap bg1="lt1" tx1="dk1" bg2="lt2" tx2="dk2" accent1="accent1" accent2="accent2" accent3="accent3" accent4="accent4" accent5="accent5" accent6="accent6" hlink="hlink" folHlink="folHlink"/>
  <p:sldLayoutIdLst>
    <p:sldLayoutId id="2147483884" r:id="rId1"/>
    <p:sldLayoutId id="2147483885" r:id="rId2"/>
    <p:sldLayoutId id="2147483886" r:id="rId3"/>
    <p:sldLayoutId id="2147483887" r:id="rId4"/>
    <p:sldLayoutId id="2147483888" r:id="rId5"/>
    <p:sldLayoutId id="2147483889" r:id="rId6"/>
    <p:sldLayoutId id="2147483890" r:id="rId7"/>
    <p:sldLayoutId id="2147483891" r:id="rId8"/>
    <p:sldLayoutId id="2147483892" r:id="rId9"/>
    <p:sldLayoutId id="2147483893" r:id="rId10"/>
    <p:sldLayoutId id="2147483894" r:id="rId11"/>
    <p:sldLayoutId id="2147483895" r:id="rId12"/>
    <p:sldLayoutId id="2147483896" r:id="rId13"/>
  </p:sldLayoutIdLst>
  <p:hf hdr="0" dt="0"/>
  <p:txStyles>
    <p:titleStyle>
      <a:lvl1pPr algn="l" rtl="0" eaLnBrk="0" fontAlgn="base" hangingPunct="0">
        <a:lnSpc>
          <a:spcPct val="90000"/>
        </a:lnSpc>
        <a:spcBef>
          <a:spcPct val="0"/>
        </a:spcBef>
        <a:spcAft>
          <a:spcPct val="0"/>
        </a:spcAft>
        <a:defRPr sz="2800" kern="1200">
          <a:solidFill>
            <a:srgbClr val="005CB9"/>
          </a:solidFill>
          <a:latin typeface="+mj-lt"/>
          <a:ea typeface="+mj-ea"/>
          <a:cs typeface="+mj-cs"/>
        </a:defRPr>
      </a:lvl1pPr>
      <a:lvl2pPr algn="l" rtl="0" eaLnBrk="0" fontAlgn="base" hangingPunct="0">
        <a:lnSpc>
          <a:spcPct val="90000"/>
        </a:lnSpc>
        <a:spcBef>
          <a:spcPct val="0"/>
        </a:spcBef>
        <a:spcAft>
          <a:spcPct val="0"/>
        </a:spcAft>
        <a:defRPr sz="2800">
          <a:solidFill>
            <a:srgbClr val="005CB9"/>
          </a:solidFill>
          <a:latin typeface="Arial" charset="0"/>
        </a:defRPr>
      </a:lvl2pPr>
      <a:lvl3pPr algn="l" rtl="0" eaLnBrk="0" fontAlgn="base" hangingPunct="0">
        <a:lnSpc>
          <a:spcPct val="90000"/>
        </a:lnSpc>
        <a:spcBef>
          <a:spcPct val="0"/>
        </a:spcBef>
        <a:spcAft>
          <a:spcPct val="0"/>
        </a:spcAft>
        <a:defRPr sz="2800">
          <a:solidFill>
            <a:srgbClr val="005CB9"/>
          </a:solidFill>
          <a:latin typeface="Arial" charset="0"/>
        </a:defRPr>
      </a:lvl3pPr>
      <a:lvl4pPr algn="l" rtl="0" eaLnBrk="0" fontAlgn="base" hangingPunct="0">
        <a:lnSpc>
          <a:spcPct val="90000"/>
        </a:lnSpc>
        <a:spcBef>
          <a:spcPct val="0"/>
        </a:spcBef>
        <a:spcAft>
          <a:spcPct val="0"/>
        </a:spcAft>
        <a:defRPr sz="2800">
          <a:solidFill>
            <a:srgbClr val="005CB9"/>
          </a:solidFill>
          <a:latin typeface="Arial" charset="0"/>
        </a:defRPr>
      </a:lvl4pPr>
      <a:lvl5pPr algn="l" rtl="0" eaLnBrk="0" fontAlgn="base" hangingPunct="0">
        <a:lnSpc>
          <a:spcPct val="90000"/>
        </a:lnSpc>
        <a:spcBef>
          <a:spcPct val="0"/>
        </a:spcBef>
        <a:spcAft>
          <a:spcPct val="0"/>
        </a:spcAft>
        <a:defRPr sz="2800">
          <a:solidFill>
            <a:srgbClr val="005CB9"/>
          </a:solidFill>
          <a:latin typeface="Arial" charset="0"/>
        </a:defRPr>
      </a:lvl5pPr>
      <a:lvl6pPr marL="457200" algn="l" rtl="0" fontAlgn="base">
        <a:lnSpc>
          <a:spcPct val="90000"/>
        </a:lnSpc>
        <a:spcBef>
          <a:spcPct val="0"/>
        </a:spcBef>
        <a:spcAft>
          <a:spcPct val="0"/>
        </a:spcAft>
        <a:defRPr sz="2800">
          <a:solidFill>
            <a:srgbClr val="005CB9"/>
          </a:solidFill>
          <a:latin typeface="Arial" charset="0"/>
        </a:defRPr>
      </a:lvl6pPr>
      <a:lvl7pPr marL="914400" algn="l" rtl="0" fontAlgn="base">
        <a:lnSpc>
          <a:spcPct val="90000"/>
        </a:lnSpc>
        <a:spcBef>
          <a:spcPct val="0"/>
        </a:spcBef>
        <a:spcAft>
          <a:spcPct val="0"/>
        </a:spcAft>
        <a:defRPr sz="2800">
          <a:solidFill>
            <a:srgbClr val="005CB9"/>
          </a:solidFill>
          <a:latin typeface="Arial" charset="0"/>
        </a:defRPr>
      </a:lvl7pPr>
      <a:lvl8pPr marL="1371600" algn="l" rtl="0" fontAlgn="base">
        <a:lnSpc>
          <a:spcPct val="90000"/>
        </a:lnSpc>
        <a:spcBef>
          <a:spcPct val="0"/>
        </a:spcBef>
        <a:spcAft>
          <a:spcPct val="0"/>
        </a:spcAft>
        <a:defRPr sz="2800">
          <a:solidFill>
            <a:srgbClr val="005CB9"/>
          </a:solidFill>
          <a:latin typeface="Arial" charset="0"/>
        </a:defRPr>
      </a:lvl8pPr>
      <a:lvl9pPr marL="1828800" algn="l" rtl="0" fontAlgn="base">
        <a:lnSpc>
          <a:spcPct val="90000"/>
        </a:lnSpc>
        <a:spcBef>
          <a:spcPct val="0"/>
        </a:spcBef>
        <a:spcAft>
          <a:spcPct val="0"/>
        </a:spcAft>
        <a:defRPr sz="2800">
          <a:solidFill>
            <a:srgbClr val="005CB9"/>
          </a:solidFill>
          <a:latin typeface="Arial" charset="0"/>
        </a:defRPr>
      </a:lvl9pPr>
    </p:titleStyle>
    <p:bodyStyle>
      <a:lvl1pPr algn="l" rtl="0" eaLnBrk="0" fontAlgn="base" hangingPunct="0">
        <a:lnSpc>
          <a:spcPct val="110000"/>
        </a:lnSpc>
        <a:spcBef>
          <a:spcPct val="0"/>
        </a:spcBef>
        <a:spcAft>
          <a:spcPct val="0"/>
        </a:spcAft>
        <a:buFont typeface="Arial" charset="0"/>
        <a:defRPr sz="2000" b="1" kern="1200">
          <a:solidFill>
            <a:srgbClr val="005CB9"/>
          </a:solidFill>
          <a:latin typeface="+mn-lt"/>
          <a:ea typeface="+mn-ea"/>
          <a:cs typeface="+mn-cs"/>
        </a:defRPr>
      </a:lvl1pPr>
      <a:lvl2pPr marL="142875" algn="l" rtl="0" eaLnBrk="0" fontAlgn="base" hangingPunct="0">
        <a:spcBef>
          <a:spcPts val="300"/>
        </a:spcBef>
        <a:spcAft>
          <a:spcPct val="0"/>
        </a:spcAft>
        <a:buFont typeface="Arial" charset="0"/>
        <a:defRPr sz="1600" b="1" kern="1200">
          <a:solidFill>
            <a:schemeClr val="tx2"/>
          </a:solidFill>
          <a:latin typeface="+mn-lt"/>
          <a:ea typeface="+mn-ea"/>
          <a:cs typeface="+mn-cs"/>
        </a:defRPr>
      </a:lvl2pPr>
      <a:lvl3pPr marL="142875" indent="107950" algn="l" rtl="0" eaLnBrk="0" fontAlgn="base" hangingPunct="0">
        <a:spcBef>
          <a:spcPts val="300"/>
        </a:spcBef>
        <a:spcAft>
          <a:spcPct val="0"/>
        </a:spcAft>
        <a:buSzPct val="100000"/>
        <a:buFont typeface="Arial" charset="0"/>
        <a:buChar char="•"/>
        <a:defRPr sz="1400" b="1" kern="1200">
          <a:solidFill>
            <a:schemeClr val="tx2"/>
          </a:solidFill>
          <a:latin typeface="+mn-lt"/>
          <a:ea typeface="+mn-ea"/>
          <a:cs typeface="+mn-cs"/>
        </a:defRPr>
      </a:lvl3pPr>
      <a:lvl4pPr marL="358775" algn="l" rtl="0" eaLnBrk="0" fontAlgn="base" hangingPunct="0">
        <a:spcBef>
          <a:spcPts val="300"/>
        </a:spcBef>
        <a:spcAft>
          <a:spcPct val="0"/>
        </a:spcAft>
        <a:buSzPct val="100000"/>
        <a:buFont typeface="Arial" charset="0"/>
        <a:defRPr sz="1400" kern="1200">
          <a:solidFill>
            <a:schemeClr val="tx2"/>
          </a:solidFill>
          <a:latin typeface="+mn-lt"/>
          <a:ea typeface="+mn-ea"/>
          <a:cs typeface="+mn-cs"/>
        </a:defRPr>
      </a:lvl4pPr>
      <a:lvl5pPr marL="503238" indent="107950" algn="l" rtl="0" eaLnBrk="0" fontAlgn="base" hangingPunct="0">
        <a:spcBef>
          <a:spcPts val="300"/>
        </a:spcBef>
        <a:spcAft>
          <a:spcPct val="0"/>
        </a:spcAft>
        <a:buSzPct val="100000"/>
        <a:buFont typeface="Arial" charset="0"/>
        <a:buChar char="•"/>
        <a:defRPr sz="12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4" name="Rectangle 13"/>
          <p:cNvSpPr/>
          <p:nvPr/>
        </p:nvSpPr>
        <p:spPr bwMode="gray">
          <a:xfrm>
            <a:off x="935038" y="1087944"/>
            <a:ext cx="1583668" cy="4571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pic>
        <p:nvPicPr>
          <p:cNvPr id="13" name="Image 12" descr="Logo_suite_50x30.png"/>
          <p:cNvPicPr>
            <a:picLocks noChangeAspect="1"/>
          </p:cNvPicPr>
          <p:nvPr/>
        </p:nvPicPr>
        <p:blipFill>
          <a:blip r:embed="rId22" cstate="print"/>
          <a:stretch>
            <a:fillRect/>
          </a:stretch>
        </p:blipFill>
        <p:spPr bwMode="gray">
          <a:xfrm>
            <a:off x="7344000" y="5779827"/>
            <a:ext cx="1800000" cy="1078173"/>
          </a:xfrm>
          <a:prstGeom prst="rect">
            <a:avLst/>
          </a:prstGeom>
        </p:spPr>
      </p:pic>
      <p:sp>
        <p:nvSpPr>
          <p:cNvPr id="2" name="Espace réservé du titre 1"/>
          <p:cNvSpPr>
            <a:spLocks noGrp="1"/>
          </p:cNvSpPr>
          <p:nvPr>
            <p:ph type="title"/>
          </p:nvPr>
        </p:nvSpPr>
        <p:spPr bwMode="gray">
          <a:xfrm>
            <a:off x="935038" y="1"/>
            <a:ext cx="7345362" cy="1036637"/>
          </a:xfrm>
          <a:prstGeom prst="rect">
            <a:avLst/>
          </a:prstGeom>
        </p:spPr>
        <p:txBody>
          <a:bodyPr vert="horz" lIns="0" tIns="0" rIns="0" bIns="0" rtlCol="0" anchor="b" anchorCtr="0">
            <a:noAutofit/>
          </a:bodyPr>
          <a:lstStyle/>
          <a:p>
            <a:r>
              <a:rPr lang="en-US" noProof="0"/>
              <a:t>TITLE</a:t>
            </a:r>
          </a:p>
        </p:txBody>
      </p:sp>
      <p:sp>
        <p:nvSpPr>
          <p:cNvPr id="3" name="Espace réservé du texte 2"/>
          <p:cNvSpPr>
            <a:spLocks noGrp="1"/>
          </p:cNvSpPr>
          <p:nvPr>
            <p:ph type="body" idx="1"/>
          </p:nvPr>
        </p:nvSpPr>
        <p:spPr bwMode="gray">
          <a:xfrm>
            <a:off x="935038" y="1304925"/>
            <a:ext cx="7345362" cy="4716463"/>
          </a:xfrm>
          <a:prstGeom prst="rect">
            <a:avLst/>
          </a:prstGeom>
        </p:spPr>
        <p:txBody>
          <a:bodyPr vert="horz" lIns="0" tIns="0" rIns="0" bIns="0" rtlCol="0" anchor="t" anchorCtr="0">
            <a:noAutofit/>
          </a:bodyPr>
          <a:lstStyle/>
          <a:p>
            <a:pPr lvl="0"/>
            <a:r>
              <a:rPr lang="en-US" noProof="0"/>
              <a:t>Text level 1</a:t>
            </a:r>
          </a:p>
          <a:p>
            <a:pPr lvl="1"/>
            <a:r>
              <a:rPr lang="en-US" noProof="0"/>
              <a:t>Text level 2</a:t>
            </a:r>
          </a:p>
          <a:p>
            <a:pPr lvl="2"/>
            <a:r>
              <a:rPr lang="en-US" noProof="0"/>
              <a:t>Text level 3</a:t>
            </a:r>
          </a:p>
          <a:p>
            <a:pPr lvl="3"/>
            <a:r>
              <a:rPr lang="en-US" noProof="0"/>
              <a:t>Text level 4</a:t>
            </a:r>
          </a:p>
          <a:p>
            <a:pPr lvl="4"/>
            <a:r>
              <a:rPr lang="en-US" noProof="0"/>
              <a:t>Text level 5</a:t>
            </a:r>
          </a:p>
        </p:txBody>
      </p:sp>
      <p:sp>
        <p:nvSpPr>
          <p:cNvPr id="4" name="Espace réservé de la date 3"/>
          <p:cNvSpPr>
            <a:spLocks noGrp="1"/>
          </p:cNvSpPr>
          <p:nvPr>
            <p:ph type="dt" sz="half" idx="2"/>
          </p:nvPr>
        </p:nvSpPr>
        <p:spPr bwMode="gray">
          <a:xfrm>
            <a:off x="-1" y="6498000"/>
            <a:ext cx="935039" cy="360000"/>
          </a:xfrm>
          <a:prstGeom prst="rect">
            <a:avLst/>
          </a:prstGeom>
        </p:spPr>
        <p:txBody>
          <a:bodyPr vert="horz" lIns="0" tIns="0" rIns="0" bIns="0" rtlCol="0" anchor="t" anchorCtr="0">
            <a:noAutofit/>
          </a:bodyPr>
          <a:lstStyle>
            <a:lvl1pPr algn="l">
              <a:defRPr sz="100">
                <a:solidFill>
                  <a:schemeClr val="bg1">
                    <a:alpha val="0"/>
                  </a:schemeClr>
                </a:solidFill>
              </a:defRPr>
            </a:lvl1pPr>
          </a:lstStyle>
          <a:p>
            <a:r>
              <a:rPr lang="en-US">
                <a:solidFill>
                  <a:prstClr val="white">
                    <a:alpha val="0"/>
                  </a:prstClr>
                </a:solidFill>
              </a:rPr>
              <a:t>Date</a:t>
            </a:r>
          </a:p>
        </p:txBody>
      </p:sp>
      <p:sp>
        <p:nvSpPr>
          <p:cNvPr id="5" name="Espace réservé du pied de page 4"/>
          <p:cNvSpPr>
            <a:spLocks noGrp="1"/>
          </p:cNvSpPr>
          <p:nvPr>
            <p:ph type="ftr" sz="quarter" idx="3"/>
          </p:nvPr>
        </p:nvSpPr>
        <p:spPr bwMode="gray">
          <a:xfrm>
            <a:off x="2412000" y="6498000"/>
            <a:ext cx="4320000" cy="360000"/>
          </a:xfrm>
          <a:prstGeom prst="rect">
            <a:avLst/>
          </a:prstGeom>
        </p:spPr>
        <p:txBody>
          <a:bodyPr vert="horz" lIns="0" tIns="7200" rIns="0" bIns="0" rtlCol="0" anchor="t" anchorCtr="0">
            <a:noAutofit/>
          </a:bodyPr>
          <a:lstStyle>
            <a:lvl1pPr algn="ctr">
              <a:defRPr sz="1000" b="1">
                <a:solidFill>
                  <a:schemeClr val="accent1"/>
                </a:solidFill>
              </a:defRPr>
            </a:lvl1pPr>
          </a:lstStyle>
          <a:p>
            <a:r>
              <a:rPr lang="en-US">
                <a:solidFill>
                  <a:srgbClr val="005CB9"/>
                </a:solidFill>
              </a:rPr>
              <a:t>#add your hashtag</a:t>
            </a:r>
          </a:p>
        </p:txBody>
      </p:sp>
      <p:sp>
        <p:nvSpPr>
          <p:cNvPr id="6" name="Espace réservé du numéro de diapositive 5"/>
          <p:cNvSpPr>
            <a:spLocks noGrp="1"/>
          </p:cNvSpPr>
          <p:nvPr>
            <p:ph type="sldNum" sz="quarter" idx="4"/>
          </p:nvPr>
        </p:nvSpPr>
        <p:spPr bwMode="gray">
          <a:xfrm>
            <a:off x="935038" y="6498000"/>
            <a:ext cx="900112" cy="360000"/>
          </a:xfrm>
          <a:prstGeom prst="rect">
            <a:avLst/>
          </a:prstGeom>
        </p:spPr>
        <p:txBody>
          <a:bodyPr vert="horz" lIns="0" tIns="21600" rIns="0" bIns="0" rtlCol="0" anchor="t" anchorCtr="0">
            <a:noAutofit/>
          </a:bodyPr>
          <a:lstStyle>
            <a:lvl1pPr algn="l">
              <a:defRPr sz="900" b="1">
                <a:solidFill>
                  <a:schemeClr val="tx1"/>
                </a:solidFill>
              </a:defRPr>
            </a:lvl1pPr>
          </a:lstStyle>
          <a:p>
            <a:fld id="{733122C9-A0B9-462F-8757-0847AD287B63}" type="slidenum">
              <a:rPr lang="en-US" smtClean="0">
                <a:solidFill>
                  <a:srgbClr val="343434"/>
                </a:solidFill>
              </a:rPr>
              <a:pPr/>
              <a:t>‹#›</a:t>
            </a:fld>
            <a:endParaRPr lang="en-US">
              <a:solidFill>
                <a:srgbClr val="343434"/>
              </a:solidFill>
            </a:endParaRPr>
          </a:p>
        </p:txBody>
      </p:sp>
      <p:sp>
        <p:nvSpPr>
          <p:cNvPr id="10" name="Rectangle 9"/>
          <p:cNvSpPr/>
          <p:nvPr/>
        </p:nvSpPr>
        <p:spPr bwMode="gray">
          <a:xfrm>
            <a:off x="7560332" y="6021388"/>
            <a:ext cx="1583668" cy="252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Tree>
    <p:extLst>
      <p:ext uri="{BB962C8B-B14F-4D97-AF65-F5344CB8AC3E}">
        <p14:creationId xmlns:p14="http://schemas.microsoft.com/office/powerpoint/2010/main" val="3466364613"/>
      </p:ext>
    </p:extLst>
  </p:cSld>
  <p:clrMap bg1="lt1" tx1="dk1" bg2="lt2" tx2="dk2" accent1="accent1" accent2="accent2" accent3="accent3" accent4="accent4" accent5="accent5" accent6="accent6" hlink="hlink" folHlink="folHlink"/>
  <p:sldLayoutIdLst>
    <p:sldLayoutId id="2147483898" r:id="rId1"/>
    <p:sldLayoutId id="2147483899" r:id="rId2"/>
    <p:sldLayoutId id="2147483900" r:id="rId3"/>
    <p:sldLayoutId id="2147483901" r:id="rId4"/>
    <p:sldLayoutId id="2147483902" r:id="rId5"/>
    <p:sldLayoutId id="2147483903" r:id="rId6"/>
    <p:sldLayoutId id="2147483904" r:id="rId7"/>
    <p:sldLayoutId id="2147483905" r:id="rId8"/>
    <p:sldLayoutId id="2147483906" r:id="rId9"/>
    <p:sldLayoutId id="2147483907" r:id="rId10"/>
    <p:sldLayoutId id="2147483908" r:id="rId11"/>
    <p:sldLayoutId id="2147483909" r:id="rId12"/>
    <p:sldLayoutId id="2147483910" r:id="rId13"/>
    <p:sldLayoutId id="2147483911" r:id="rId14"/>
    <p:sldLayoutId id="2147483912" r:id="rId15"/>
    <p:sldLayoutId id="2147483913" r:id="rId16"/>
    <p:sldLayoutId id="2147483914" r:id="rId17"/>
    <p:sldLayoutId id="2147483915" r:id="rId18"/>
    <p:sldLayoutId id="2147483916" r:id="rId19"/>
    <p:sldLayoutId id="2147483917" r:id="rId20"/>
  </p:sldLayoutIdLst>
  <p:hf hdr="0" dt="0"/>
  <p:txStyles>
    <p:titleStyle>
      <a:lvl1pPr algn="l" defTabSz="914400" rtl="0" eaLnBrk="1" latinLnBrk="0" hangingPunct="1">
        <a:lnSpc>
          <a:spcPct val="90000"/>
        </a:lnSpc>
        <a:spcBef>
          <a:spcPct val="0"/>
        </a:spcBef>
        <a:buNone/>
        <a:defRPr sz="2800" b="0" kern="1200" cap="none" baseline="0">
          <a:solidFill>
            <a:schemeClr val="accent1"/>
          </a:solidFill>
          <a:latin typeface="+mj-lt"/>
          <a:ea typeface="+mj-ea"/>
          <a:cs typeface="+mj-cs"/>
        </a:defRPr>
      </a:lvl1pPr>
    </p:titleStyle>
    <p:bodyStyle>
      <a:lvl1pPr marL="0" indent="0" algn="l" defTabSz="914400" rtl="0" eaLnBrk="1" latinLnBrk="0" hangingPunct="1">
        <a:lnSpc>
          <a:spcPct val="110000"/>
        </a:lnSpc>
        <a:spcBef>
          <a:spcPts val="0"/>
        </a:spcBef>
        <a:buFont typeface="Arial" pitchFamily="34" charset="0"/>
        <a:buNone/>
        <a:defRPr sz="2000" b="1" kern="1200">
          <a:solidFill>
            <a:schemeClr val="accent1"/>
          </a:solidFill>
          <a:latin typeface="+mn-lt"/>
          <a:ea typeface="+mn-ea"/>
          <a:cs typeface="+mn-cs"/>
        </a:defRPr>
      </a:lvl1pPr>
      <a:lvl2pPr marL="324000" indent="-180000" algn="l" defTabSz="914400" rtl="0" eaLnBrk="1" latinLnBrk="0" hangingPunct="1">
        <a:lnSpc>
          <a:spcPct val="100000"/>
        </a:lnSpc>
        <a:spcBef>
          <a:spcPts val="300"/>
        </a:spcBef>
        <a:buClr>
          <a:schemeClr val="accent3"/>
        </a:buClr>
        <a:buFont typeface="Arial" pitchFamily="34" charset="0"/>
        <a:buChar char="•"/>
        <a:defRPr sz="1800" b="1" kern="1200">
          <a:solidFill>
            <a:schemeClr val="tx1"/>
          </a:solidFill>
          <a:latin typeface="+mn-lt"/>
          <a:ea typeface="+mn-ea"/>
          <a:cs typeface="+mn-cs"/>
        </a:defRPr>
      </a:lvl2pPr>
      <a:lvl3pPr marL="504000" indent="-180000" algn="l" defTabSz="914400" rtl="0" eaLnBrk="1" latinLnBrk="0" hangingPunct="1">
        <a:lnSpc>
          <a:spcPct val="100000"/>
        </a:lnSpc>
        <a:spcBef>
          <a:spcPts val="300"/>
        </a:spcBef>
        <a:buSzPct val="100000"/>
        <a:buFont typeface="Arial" pitchFamily="34" charset="0"/>
        <a:buChar char="•"/>
        <a:defRPr sz="1600" b="0" kern="1200">
          <a:solidFill>
            <a:schemeClr val="tx1"/>
          </a:solidFill>
          <a:latin typeface="+mn-lt"/>
          <a:ea typeface="+mn-ea"/>
          <a:cs typeface="+mn-cs"/>
        </a:defRPr>
      </a:lvl3pPr>
      <a:lvl4pPr marL="504000" indent="0" algn="l" defTabSz="914400" rtl="0" eaLnBrk="1" latinLnBrk="0" hangingPunct="1">
        <a:lnSpc>
          <a:spcPct val="100000"/>
        </a:lnSpc>
        <a:spcBef>
          <a:spcPts val="300"/>
        </a:spcBef>
        <a:buSzPct val="100000"/>
        <a:buFont typeface="Arial" pitchFamily="34" charset="0"/>
        <a:buNone/>
        <a:defRPr sz="1600" kern="1200">
          <a:solidFill>
            <a:schemeClr val="tx1"/>
          </a:solidFill>
          <a:latin typeface="+mn-lt"/>
          <a:ea typeface="+mn-ea"/>
          <a:cs typeface="+mn-cs"/>
        </a:defRPr>
      </a:lvl4pPr>
      <a:lvl5pPr marL="684000" indent="-180000" algn="l" defTabSz="914400" rtl="0" eaLnBrk="1" latinLnBrk="0" hangingPunct="1">
        <a:lnSpc>
          <a:spcPct val="100000"/>
        </a:lnSpc>
        <a:spcBef>
          <a:spcPts val="300"/>
        </a:spcBef>
        <a:buSzPct val="100000"/>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cxnSp>
        <p:nvCxnSpPr>
          <p:cNvPr id="11" name="Connecteur droit 10"/>
          <p:cNvCxnSpPr/>
          <p:nvPr/>
        </p:nvCxnSpPr>
        <p:spPr bwMode="gray">
          <a:xfrm flipH="1">
            <a:off x="935038" y="1116013"/>
            <a:ext cx="1584325" cy="0"/>
          </a:xfrm>
          <a:prstGeom prst="line">
            <a:avLst/>
          </a:prstGeom>
          <a:ln w="2413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027" name="Image 12" descr="Logo_suite_50x30.png"/>
          <p:cNvPicPr>
            <a:picLocks noChangeAspect="1"/>
          </p:cNvPicPr>
          <p:nvPr/>
        </p:nvPicPr>
        <p:blipFill>
          <a:blip r:embed="rId13">
            <a:extLst>
              <a:ext uri="{28A0092B-C50C-407E-A947-70E740481C1C}">
                <a14:useLocalDpi xmlns:a14="http://schemas.microsoft.com/office/drawing/2010/main" val="0"/>
              </a:ext>
            </a:extLst>
          </a:blip>
          <a:srcRect/>
          <a:stretch>
            <a:fillRect/>
          </a:stretch>
        </p:blipFill>
        <p:spPr bwMode="gray">
          <a:xfrm>
            <a:off x="7343775" y="5780088"/>
            <a:ext cx="1800225" cy="107791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028" name="Espace réservé du titre 1"/>
          <p:cNvSpPr>
            <a:spLocks noGrp="1"/>
          </p:cNvSpPr>
          <p:nvPr>
            <p:ph type="title"/>
          </p:nvPr>
        </p:nvSpPr>
        <p:spPr bwMode="gray">
          <a:xfrm>
            <a:off x="935038" y="0"/>
            <a:ext cx="7345362" cy="103663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bodyPr>
          <a:lstStyle/>
          <a:p>
            <a:pPr lvl="0"/>
            <a:r>
              <a:rPr lang="en-US" altLang="en-US"/>
              <a:t>TITLE</a:t>
            </a:r>
          </a:p>
        </p:txBody>
      </p:sp>
      <p:sp>
        <p:nvSpPr>
          <p:cNvPr id="1029" name="Espace réservé du texte 2"/>
          <p:cNvSpPr>
            <a:spLocks noGrp="1"/>
          </p:cNvSpPr>
          <p:nvPr>
            <p:ph type="body" idx="1"/>
          </p:nvPr>
        </p:nvSpPr>
        <p:spPr bwMode="gray">
          <a:xfrm>
            <a:off x="935038" y="1304925"/>
            <a:ext cx="7345362" cy="47164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n-US"/>
              <a:t>Text level 1</a:t>
            </a:r>
          </a:p>
          <a:p>
            <a:pPr lvl="1"/>
            <a:r>
              <a:rPr lang="en-US" altLang="en-US"/>
              <a:t>Text level 2</a:t>
            </a:r>
          </a:p>
          <a:p>
            <a:pPr lvl="2"/>
            <a:r>
              <a:rPr lang="en-US" altLang="en-US"/>
              <a:t>Text level 3</a:t>
            </a:r>
          </a:p>
          <a:p>
            <a:pPr lvl="3"/>
            <a:r>
              <a:rPr lang="en-US" altLang="en-US"/>
              <a:t>Text level 4</a:t>
            </a:r>
          </a:p>
          <a:p>
            <a:pPr lvl="4"/>
            <a:r>
              <a:rPr lang="en-US" altLang="en-US"/>
              <a:t>Text level 5</a:t>
            </a:r>
          </a:p>
        </p:txBody>
      </p:sp>
      <p:sp>
        <p:nvSpPr>
          <p:cNvPr id="4" name="Espace réservé de la date 3"/>
          <p:cNvSpPr>
            <a:spLocks noGrp="1"/>
          </p:cNvSpPr>
          <p:nvPr>
            <p:ph type="dt" sz="half" idx="2"/>
          </p:nvPr>
        </p:nvSpPr>
        <p:spPr bwMode="gray">
          <a:xfrm>
            <a:off x="0" y="6497638"/>
            <a:ext cx="935038" cy="360362"/>
          </a:xfrm>
          <a:prstGeom prst="rect">
            <a:avLst/>
          </a:prstGeom>
        </p:spPr>
        <p:txBody>
          <a:bodyPr vert="horz" lIns="0" tIns="0" rIns="0" bIns="0" rtlCol="0" anchor="t" anchorCtr="0">
            <a:noAutofit/>
          </a:bodyPr>
          <a:lstStyle>
            <a:lvl1pPr algn="l" fontAlgn="auto">
              <a:spcBef>
                <a:spcPts val="0"/>
              </a:spcBef>
              <a:spcAft>
                <a:spcPts val="0"/>
              </a:spcAft>
              <a:defRPr sz="100">
                <a:solidFill>
                  <a:schemeClr val="bg1">
                    <a:alpha val="0"/>
                  </a:schemeClr>
                </a:solidFill>
                <a:latin typeface="+mn-lt"/>
                <a:cs typeface="+mn-cs"/>
              </a:defRPr>
            </a:lvl1pPr>
          </a:lstStyle>
          <a:p>
            <a:pPr>
              <a:defRPr/>
            </a:pPr>
            <a:r>
              <a:rPr lang="en-US">
                <a:solidFill>
                  <a:prstClr val="white">
                    <a:alpha val="0"/>
                  </a:prstClr>
                </a:solidFill>
              </a:rPr>
              <a:t>Date</a:t>
            </a:r>
          </a:p>
        </p:txBody>
      </p:sp>
      <p:sp>
        <p:nvSpPr>
          <p:cNvPr id="5" name="Espace réservé du pied de page 4"/>
          <p:cNvSpPr>
            <a:spLocks noGrp="1"/>
          </p:cNvSpPr>
          <p:nvPr>
            <p:ph type="ftr" sz="quarter" idx="3"/>
          </p:nvPr>
        </p:nvSpPr>
        <p:spPr bwMode="gray">
          <a:xfrm>
            <a:off x="2411413" y="6497638"/>
            <a:ext cx="4321175" cy="360362"/>
          </a:xfrm>
          <a:prstGeom prst="rect">
            <a:avLst/>
          </a:prstGeom>
        </p:spPr>
        <p:txBody>
          <a:bodyPr vert="horz" lIns="0" tIns="7200" rIns="0" bIns="0" rtlCol="0" anchor="t" anchorCtr="0">
            <a:noAutofit/>
          </a:bodyPr>
          <a:lstStyle>
            <a:lvl1pPr algn="ctr" fontAlgn="auto">
              <a:spcBef>
                <a:spcPts val="0"/>
              </a:spcBef>
              <a:spcAft>
                <a:spcPts val="0"/>
              </a:spcAft>
              <a:defRPr sz="1000" b="1">
                <a:solidFill>
                  <a:schemeClr val="accent4"/>
                </a:solidFill>
                <a:latin typeface="+mn-lt"/>
                <a:cs typeface="+mn-cs"/>
              </a:defRPr>
            </a:lvl1pPr>
          </a:lstStyle>
          <a:p>
            <a:pPr>
              <a:defRPr/>
            </a:pPr>
            <a:r>
              <a:rPr lang="en-US">
                <a:solidFill>
                  <a:srgbClr val="005CB9"/>
                </a:solidFill>
              </a:rPr>
              <a:t>#</a:t>
            </a:r>
            <a:r>
              <a:rPr lang="en-US" err="1">
                <a:solidFill>
                  <a:srgbClr val="005CB9"/>
                </a:solidFill>
              </a:rPr>
              <a:t>vaccineswork</a:t>
            </a:r>
            <a:endParaRPr lang="en-US">
              <a:solidFill>
                <a:srgbClr val="005CB9"/>
              </a:solidFill>
            </a:endParaRPr>
          </a:p>
        </p:txBody>
      </p:sp>
      <p:sp>
        <p:nvSpPr>
          <p:cNvPr id="6" name="Espace réservé du numéro de diapositive 5"/>
          <p:cNvSpPr>
            <a:spLocks noGrp="1"/>
          </p:cNvSpPr>
          <p:nvPr>
            <p:ph type="sldNum" sz="quarter" idx="4"/>
          </p:nvPr>
        </p:nvSpPr>
        <p:spPr bwMode="gray">
          <a:xfrm>
            <a:off x="935038" y="6497638"/>
            <a:ext cx="900112" cy="360362"/>
          </a:xfrm>
          <a:prstGeom prst="rect">
            <a:avLst/>
          </a:prstGeom>
        </p:spPr>
        <p:txBody>
          <a:bodyPr vert="horz" lIns="0" tIns="21600" rIns="0" bIns="0" rtlCol="0" anchor="t" anchorCtr="0">
            <a:noAutofit/>
          </a:bodyPr>
          <a:lstStyle>
            <a:lvl1pPr algn="l" fontAlgn="auto">
              <a:spcBef>
                <a:spcPts val="0"/>
              </a:spcBef>
              <a:spcAft>
                <a:spcPts val="0"/>
              </a:spcAft>
              <a:defRPr sz="900" b="1">
                <a:solidFill>
                  <a:schemeClr val="tx2"/>
                </a:solidFill>
                <a:latin typeface="+mn-lt"/>
                <a:cs typeface="+mn-cs"/>
              </a:defRPr>
            </a:lvl1pPr>
          </a:lstStyle>
          <a:p>
            <a:pPr>
              <a:defRPr/>
            </a:pPr>
            <a:fld id="{554E5E40-990A-4474-BD97-03BADD847FA0}" type="slidenum">
              <a:rPr lang="en-US">
                <a:solidFill>
                  <a:srgbClr val="343434"/>
                </a:solidFill>
              </a:rPr>
              <a:pPr>
                <a:defRPr/>
              </a:pPr>
              <a:t>‹#›</a:t>
            </a:fld>
            <a:endParaRPr lang="en-US">
              <a:solidFill>
                <a:srgbClr val="343434"/>
              </a:solidFill>
            </a:endParaRPr>
          </a:p>
        </p:txBody>
      </p:sp>
      <p:cxnSp>
        <p:nvCxnSpPr>
          <p:cNvPr id="12" name="Connecteur droit 11"/>
          <p:cNvCxnSpPr/>
          <p:nvPr/>
        </p:nvCxnSpPr>
        <p:spPr bwMode="gray">
          <a:xfrm flipH="1">
            <a:off x="7559675" y="6040438"/>
            <a:ext cx="1584325" cy="0"/>
          </a:xfrm>
          <a:prstGeom prst="line">
            <a:avLst/>
          </a:prstGeom>
          <a:ln w="2413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94724448"/>
      </p:ext>
    </p:extLst>
  </p:cSld>
  <p:clrMap bg1="lt1" tx1="dk1" bg2="lt2" tx2="dk2" accent1="accent1" accent2="accent2" accent3="accent3" accent4="accent4" accent5="accent5" accent6="accent6" hlink="hlink" folHlink="folHlink"/>
  <p:sldLayoutIdLst>
    <p:sldLayoutId id="2147483920" r:id="rId1"/>
    <p:sldLayoutId id="2147483921" r:id="rId2"/>
    <p:sldLayoutId id="2147483922" r:id="rId3"/>
    <p:sldLayoutId id="2147483923" r:id="rId4"/>
    <p:sldLayoutId id="2147483924" r:id="rId5"/>
    <p:sldLayoutId id="2147483925" r:id="rId6"/>
    <p:sldLayoutId id="2147483926" r:id="rId7"/>
    <p:sldLayoutId id="2147483927" r:id="rId8"/>
    <p:sldLayoutId id="2147483928" r:id="rId9"/>
    <p:sldLayoutId id="2147483929" r:id="rId10"/>
    <p:sldLayoutId id="2147483930" r:id="rId11"/>
  </p:sldLayoutIdLst>
  <p:hf hdr="0" dt="0"/>
  <p:txStyles>
    <p:titleStyle>
      <a:lvl1pPr algn="l" rtl="0" eaLnBrk="0" fontAlgn="base" hangingPunct="0">
        <a:lnSpc>
          <a:spcPct val="90000"/>
        </a:lnSpc>
        <a:spcBef>
          <a:spcPct val="0"/>
        </a:spcBef>
        <a:spcAft>
          <a:spcPct val="0"/>
        </a:spcAft>
        <a:defRPr sz="2800" kern="1200">
          <a:solidFill>
            <a:srgbClr val="005CB9"/>
          </a:solidFill>
          <a:latin typeface="+mj-lt"/>
          <a:ea typeface="+mj-ea"/>
          <a:cs typeface="+mj-cs"/>
        </a:defRPr>
      </a:lvl1pPr>
      <a:lvl2pPr algn="l" rtl="0" eaLnBrk="0" fontAlgn="base" hangingPunct="0">
        <a:lnSpc>
          <a:spcPct val="90000"/>
        </a:lnSpc>
        <a:spcBef>
          <a:spcPct val="0"/>
        </a:spcBef>
        <a:spcAft>
          <a:spcPct val="0"/>
        </a:spcAft>
        <a:defRPr sz="2800">
          <a:solidFill>
            <a:srgbClr val="005CB9"/>
          </a:solidFill>
          <a:latin typeface="Arial" charset="0"/>
        </a:defRPr>
      </a:lvl2pPr>
      <a:lvl3pPr algn="l" rtl="0" eaLnBrk="0" fontAlgn="base" hangingPunct="0">
        <a:lnSpc>
          <a:spcPct val="90000"/>
        </a:lnSpc>
        <a:spcBef>
          <a:spcPct val="0"/>
        </a:spcBef>
        <a:spcAft>
          <a:spcPct val="0"/>
        </a:spcAft>
        <a:defRPr sz="2800">
          <a:solidFill>
            <a:srgbClr val="005CB9"/>
          </a:solidFill>
          <a:latin typeface="Arial" charset="0"/>
        </a:defRPr>
      </a:lvl3pPr>
      <a:lvl4pPr algn="l" rtl="0" eaLnBrk="0" fontAlgn="base" hangingPunct="0">
        <a:lnSpc>
          <a:spcPct val="90000"/>
        </a:lnSpc>
        <a:spcBef>
          <a:spcPct val="0"/>
        </a:spcBef>
        <a:spcAft>
          <a:spcPct val="0"/>
        </a:spcAft>
        <a:defRPr sz="2800">
          <a:solidFill>
            <a:srgbClr val="005CB9"/>
          </a:solidFill>
          <a:latin typeface="Arial" charset="0"/>
        </a:defRPr>
      </a:lvl4pPr>
      <a:lvl5pPr algn="l" rtl="0" eaLnBrk="0" fontAlgn="base" hangingPunct="0">
        <a:lnSpc>
          <a:spcPct val="90000"/>
        </a:lnSpc>
        <a:spcBef>
          <a:spcPct val="0"/>
        </a:spcBef>
        <a:spcAft>
          <a:spcPct val="0"/>
        </a:spcAft>
        <a:defRPr sz="2800">
          <a:solidFill>
            <a:srgbClr val="005CB9"/>
          </a:solidFill>
          <a:latin typeface="Arial" charset="0"/>
        </a:defRPr>
      </a:lvl5pPr>
      <a:lvl6pPr marL="457200" algn="l" rtl="0" fontAlgn="base">
        <a:lnSpc>
          <a:spcPct val="90000"/>
        </a:lnSpc>
        <a:spcBef>
          <a:spcPct val="0"/>
        </a:spcBef>
        <a:spcAft>
          <a:spcPct val="0"/>
        </a:spcAft>
        <a:defRPr sz="2800">
          <a:solidFill>
            <a:srgbClr val="005CB9"/>
          </a:solidFill>
          <a:latin typeface="Arial" charset="0"/>
        </a:defRPr>
      </a:lvl6pPr>
      <a:lvl7pPr marL="914400" algn="l" rtl="0" fontAlgn="base">
        <a:lnSpc>
          <a:spcPct val="90000"/>
        </a:lnSpc>
        <a:spcBef>
          <a:spcPct val="0"/>
        </a:spcBef>
        <a:spcAft>
          <a:spcPct val="0"/>
        </a:spcAft>
        <a:defRPr sz="2800">
          <a:solidFill>
            <a:srgbClr val="005CB9"/>
          </a:solidFill>
          <a:latin typeface="Arial" charset="0"/>
        </a:defRPr>
      </a:lvl7pPr>
      <a:lvl8pPr marL="1371600" algn="l" rtl="0" fontAlgn="base">
        <a:lnSpc>
          <a:spcPct val="90000"/>
        </a:lnSpc>
        <a:spcBef>
          <a:spcPct val="0"/>
        </a:spcBef>
        <a:spcAft>
          <a:spcPct val="0"/>
        </a:spcAft>
        <a:defRPr sz="2800">
          <a:solidFill>
            <a:srgbClr val="005CB9"/>
          </a:solidFill>
          <a:latin typeface="Arial" charset="0"/>
        </a:defRPr>
      </a:lvl8pPr>
      <a:lvl9pPr marL="1828800" algn="l" rtl="0" fontAlgn="base">
        <a:lnSpc>
          <a:spcPct val="90000"/>
        </a:lnSpc>
        <a:spcBef>
          <a:spcPct val="0"/>
        </a:spcBef>
        <a:spcAft>
          <a:spcPct val="0"/>
        </a:spcAft>
        <a:defRPr sz="2800">
          <a:solidFill>
            <a:srgbClr val="005CB9"/>
          </a:solidFill>
          <a:latin typeface="Arial" charset="0"/>
        </a:defRPr>
      </a:lvl9pPr>
    </p:titleStyle>
    <p:bodyStyle>
      <a:lvl1pPr algn="l" rtl="0" eaLnBrk="0" fontAlgn="base" hangingPunct="0">
        <a:lnSpc>
          <a:spcPct val="110000"/>
        </a:lnSpc>
        <a:spcBef>
          <a:spcPct val="0"/>
        </a:spcBef>
        <a:spcAft>
          <a:spcPct val="0"/>
        </a:spcAft>
        <a:buFont typeface="Arial" charset="0"/>
        <a:defRPr sz="2000" b="1" kern="1200">
          <a:solidFill>
            <a:srgbClr val="005CB9"/>
          </a:solidFill>
          <a:latin typeface="+mn-lt"/>
          <a:ea typeface="+mn-ea"/>
          <a:cs typeface="+mn-cs"/>
        </a:defRPr>
      </a:lvl1pPr>
      <a:lvl2pPr marL="142875" algn="l" rtl="0" eaLnBrk="0" fontAlgn="base" hangingPunct="0">
        <a:spcBef>
          <a:spcPts val="300"/>
        </a:spcBef>
        <a:spcAft>
          <a:spcPct val="0"/>
        </a:spcAft>
        <a:buFont typeface="Arial" charset="0"/>
        <a:defRPr sz="1600" b="1" kern="1200">
          <a:solidFill>
            <a:schemeClr val="tx2"/>
          </a:solidFill>
          <a:latin typeface="+mn-lt"/>
          <a:ea typeface="+mn-ea"/>
          <a:cs typeface="+mn-cs"/>
        </a:defRPr>
      </a:lvl2pPr>
      <a:lvl3pPr marL="142875" indent="107950" algn="l" rtl="0" eaLnBrk="0" fontAlgn="base" hangingPunct="0">
        <a:spcBef>
          <a:spcPts val="300"/>
        </a:spcBef>
        <a:spcAft>
          <a:spcPct val="0"/>
        </a:spcAft>
        <a:buSzPct val="100000"/>
        <a:buFont typeface="Arial" charset="0"/>
        <a:buChar char="•"/>
        <a:defRPr sz="1400" b="1" kern="1200">
          <a:solidFill>
            <a:schemeClr val="tx2"/>
          </a:solidFill>
          <a:latin typeface="+mn-lt"/>
          <a:ea typeface="+mn-ea"/>
          <a:cs typeface="+mn-cs"/>
        </a:defRPr>
      </a:lvl3pPr>
      <a:lvl4pPr marL="358775" algn="l" rtl="0" eaLnBrk="0" fontAlgn="base" hangingPunct="0">
        <a:spcBef>
          <a:spcPts val="300"/>
        </a:spcBef>
        <a:spcAft>
          <a:spcPct val="0"/>
        </a:spcAft>
        <a:buSzPct val="100000"/>
        <a:buFont typeface="Arial" charset="0"/>
        <a:defRPr sz="1400" kern="1200">
          <a:solidFill>
            <a:schemeClr val="tx2"/>
          </a:solidFill>
          <a:latin typeface="+mn-lt"/>
          <a:ea typeface="+mn-ea"/>
          <a:cs typeface="+mn-cs"/>
        </a:defRPr>
      </a:lvl4pPr>
      <a:lvl5pPr marL="503238" indent="107950" algn="l" rtl="0" eaLnBrk="0" fontAlgn="base" hangingPunct="0">
        <a:spcBef>
          <a:spcPts val="300"/>
        </a:spcBef>
        <a:spcAft>
          <a:spcPct val="0"/>
        </a:spcAft>
        <a:buSzPct val="100000"/>
        <a:buFont typeface="Arial" charset="0"/>
        <a:buChar char="•"/>
        <a:defRPr sz="12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cxnSp>
        <p:nvCxnSpPr>
          <p:cNvPr id="11" name="Connecteur droit 10"/>
          <p:cNvCxnSpPr/>
          <p:nvPr/>
        </p:nvCxnSpPr>
        <p:spPr bwMode="gray">
          <a:xfrm flipH="1">
            <a:off x="935038" y="1116013"/>
            <a:ext cx="1584325" cy="0"/>
          </a:xfrm>
          <a:prstGeom prst="line">
            <a:avLst/>
          </a:prstGeom>
          <a:ln w="2413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027" name="Image 12" descr="Logo_suite_50x30.png"/>
          <p:cNvPicPr>
            <a:picLocks noChangeAspect="1"/>
          </p:cNvPicPr>
          <p:nvPr/>
        </p:nvPicPr>
        <p:blipFill>
          <a:blip r:embed="rId12">
            <a:extLst>
              <a:ext uri="{28A0092B-C50C-407E-A947-70E740481C1C}">
                <a14:useLocalDpi xmlns:a14="http://schemas.microsoft.com/office/drawing/2010/main" val="0"/>
              </a:ext>
            </a:extLst>
          </a:blip>
          <a:srcRect/>
          <a:stretch>
            <a:fillRect/>
          </a:stretch>
        </p:blipFill>
        <p:spPr bwMode="gray">
          <a:xfrm>
            <a:off x="7343775" y="5780088"/>
            <a:ext cx="1800225" cy="107791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028" name="Espace réservé du titre 1"/>
          <p:cNvSpPr>
            <a:spLocks noGrp="1"/>
          </p:cNvSpPr>
          <p:nvPr>
            <p:ph type="title"/>
          </p:nvPr>
        </p:nvSpPr>
        <p:spPr bwMode="gray">
          <a:xfrm>
            <a:off x="935038" y="0"/>
            <a:ext cx="7345362" cy="103663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bodyPr>
          <a:lstStyle/>
          <a:p>
            <a:pPr lvl="0"/>
            <a:r>
              <a:rPr lang="en-US" altLang="en-US"/>
              <a:t>TITLE</a:t>
            </a:r>
          </a:p>
        </p:txBody>
      </p:sp>
      <p:sp>
        <p:nvSpPr>
          <p:cNvPr id="1029" name="Espace réservé du texte 2"/>
          <p:cNvSpPr>
            <a:spLocks noGrp="1"/>
          </p:cNvSpPr>
          <p:nvPr>
            <p:ph type="body" idx="1"/>
          </p:nvPr>
        </p:nvSpPr>
        <p:spPr bwMode="gray">
          <a:xfrm>
            <a:off x="935038" y="1304925"/>
            <a:ext cx="7345362" cy="47164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n-US"/>
              <a:t>Text level 1</a:t>
            </a:r>
          </a:p>
          <a:p>
            <a:pPr lvl="1"/>
            <a:r>
              <a:rPr lang="en-US" altLang="en-US"/>
              <a:t>Text level 2</a:t>
            </a:r>
          </a:p>
          <a:p>
            <a:pPr lvl="2"/>
            <a:r>
              <a:rPr lang="en-US" altLang="en-US"/>
              <a:t>Text level 3</a:t>
            </a:r>
          </a:p>
          <a:p>
            <a:pPr lvl="3"/>
            <a:r>
              <a:rPr lang="en-US" altLang="en-US"/>
              <a:t>Text level 4</a:t>
            </a:r>
          </a:p>
          <a:p>
            <a:pPr lvl="4"/>
            <a:r>
              <a:rPr lang="en-US" altLang="en-US"/>
              <a:t>Text level 5</a:t>
            </a:r>
          </a:p>
        </p:txBody>
      </p:sp>
      <p:sp>
        <p:nvSpPr>
          <p:cNvPr id="4" name="Espace réservé de la date 3"/>
          <p:cNvSpPr>
            <a:spLocks noGrp="1"/>
          </p:cNvSpPr>
          <p:nvPr>
            <p:ph type="dt" sz="half" idx="2"/>
          </p:nvPr>
        </p:nvSpPr>
        <p:spPr bwMode="gray">
          <a:xfrm>
            <a:off x="0" y="6497638"/>
            <a:ext cx="935038" cy="360362"/>
          </a:xfrm>
          <a:prstGeom prst="rect">
            <a:avLst/>
          </a:prstGeom>
        </p:spPr>
        <p:txBody>
          <a:bodyPr vert="horz" lIns="0" tIns="0" rIns="0" bIns="0" rtlCol="0" anchor="t" anchorCtr="0">
            <a:noAutofit/>
          </a:bodyPr>
          <a:lstStyle>
            <a:lvl1pPr algn="l" fontAlgn="auto">
              <a:spcBef>
                <a:spcPts val="0"/>
              </a:spcBef>
              <a:spcAft>
                <a:spcPts val="0"/>
              </a:spcAft>
              <a:defRPr sz="100">
                <a:solidFill>
                  <a:schemeClr val="bg1">
                    <a:alpha val="0"/>
                  </a:schemeClr>
                </a:solidFill>
                <a:latin typeface="+mn-lt"/>
                <a:cs typeface="+mn-cs"/>
              </a:defRPr>
            </a:lvl1pPr>
          </a:lstStyle>
          <a:p>
            <a:pPr>
              <a:defRPr/>
            </a:pPr>
            <a:r>
              <a:rPr lang="en-US">
                <a:solidFill>
                  <a:prstClr val="white">
                    <a:alpha val="0"/>
                  </a:prstClr>
                </a:solidFill>
              </a:rPr>
              <a:t>Date</a:t>
            </a:r>
          </a:p>
        </p:txBody>
      </p:sp>
      <p:sp>
        <p:nvSpPr>
          <p:cNvPr id="5" name="Espace réservé du pied de page 4"/>
          <p:cNvSpPr>
            <a:spLocks noGrp="1"/>
          </p:cNvSpPr>
          <p:nvPr>
            <p:ph type="ftr" sz="quarter" idx="3"/>
          </p:nvPr>
        </p:nvSpPr>
        <p:spPr bwMode="gray">
          <a:xfrm>
            <a:off x="2411413" y="6497638"/>
            <a:ext cx="4321175" cy="360362"/>
          </a:xfrm>
          <a:prstGeom prst="rect">
            <a:avLst/>
          </a:prstGeom>
        </p:spPr>
        <p:txBody>
          <a:bodyPr vert="horz" lIns="0" tIns="7200" rIns="0" bIns="0" rtlCol="0" anchor="t" anchorCtr="0">
            <a:noAutofit/>
          </a:bodyPr>
          <a:lstStyle>
            <a:lvl1pPr algn="ctr" fontAlgn="auto">
              <a:spcBef>
                <a:spcPts val="0"/>
              </a:spcBef>
              <a:spcAft>
                <a:spcPts val="0"/>
              </a:spcAft>
              <a:defRPr sz="1000" b="1">
                <a:solidFill>
                  <a:schemeClr val="accent4"/>
                </a:solidFill>
                <a:latin typeface="+mn-lt"/>
                <a:cs typeface="+mn-cs"/>
              </a:defRPr>
            </a:lvl1pPr>
          </a:lstStyle>
          <a:p>
            <a:pPr>
              <a:defRPr/>
            </a:pPr>
            <a:r>
              <a:rPr lang="en-US">
                <a:solidFill>
                  <a:srgbClr val="005CB9"/>
                </a:solidFill>
              </a:rPr>
              <a:t>#</a:t>
            </a:r>
            <a:r>
              <a:rPr lang="en-US" err="1">
                <a:solidFill>
                  <a:srgbClr val="005CB9"/>
                </a:solidFill>
              </a:rPr>
              <a:t>vaccineswork</a:t>
            </a:r>
            <a:endParaRPr lang="en-US">
              <a:solidFill>
                <a:srgbClr val="005CB9"/>
              </a:solidFill>
            </a:endParaRPr>
          </a:p>
        </p:txBody>
      </p:sp>
      <p:sp>
        <p:nvSpPr>
          <p:cNvPr id="6" name="Espace réservé du numéro de diapositive 5"/>
          <p:cNvSpPr>
            <a:spLocks noGrp="1"/>
          </p:cNvSpPr>
          <p:nvPr>
            <p:ph type="sldNum" sz="quarter" idx="4"/>
          </p:nvPr>
        </p:nvSpPr>
        <p:spPr bwMode="gray">
          <a:xfrm>
            <a:off x="935038" y="6497638"/>
            <a:ext cx="900112" cy="360362"/>
          </a:xfrm>
          <a:prstGeom prst="rect">
            <a:avLst/>
          </a:prstGeom>
        </p:spPr>
        <p:txBody>
          <a:bodyPr vert="horz" lIns="0" tIns="21600" rIns="0" bIns="0" rtlCol="0" anchor="t" anchorCtr="0">
            <a:noAutofit/>
          </a:bodyPr>
          <a:lstStyle>
            <a:lvl1pPr algn="l" fontAlgn="auto">
              <a:spcBef>
                <a:spcPts val="0"/>
              </a:spcBef>
              <a:spcAft>
                <a:spcPts val="0"/>
              </a:spcAft>
              <a:defRPr sz="900" b="1">
                <a:solidFill>
                  <a:schemeClr val="tx2"/>
                </a:solidFill>
                <a:latin typeface="+mn-lt"/>
                <a:cs typeface="+mn-cs"/>
              </a:defRPr>
            </a:lvl1pPr>
          </a:lstStyle>
          <a:p>
            <a:pPr>
              <a:defRPr/>
            </a:pPr>
            <a:fld id="{554E5E40-990A-4474-BD97-03BADD847FA0}" type="slidenum">
              <a:rPr lang="en-US">
                <a:solidFill>
                  <a:srgbClr val="343434"/>
                </a:solidFill>
              </a:rPr>
              <a:pPr>
                <a:defRPr/>
              </a:pPr>
              <a:t>‹#›</a:t>
            </a:fld>
            <a:endParaRPr lang="en-US">
              <a:solidFill>
                <a:srgbClr val="343434"/>
              </a:solidFill>
            </a:endParaRPr>
          </a:p>
        </p:txBody>
      </p:sp>
      <p:cxnSp>
        <p:nvCxnSpPr>
          <p:cNvPr id="12" name="Connecteur droit 11"/>
          <p:cNvCxnSpPr/>
          <p:nvPr/>
        </p:nvCxnSpPr>
        <p:spPr bwMode="gray">
          <a:xfrm flipH="1">
            <a:off x="7559675" y="6040438"/>
            <a:ext cx="1584325" cy="0"/>
          </a:xfrm>
          <a:prstGeom prst="line">
            <a:avLst/>
          </a:prstGeom>
          <a:ln w="2413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98235912"/>
      </p:ext>
    </p:extLst>
  </p:cSld>
  <p:clrMap bg1="lt1" tx1="dk1" bg2="lt2" tx2="dk2" accent1="accent1" accent2="accent2" accent3="accent3" accent4="accent4" accent5="accent5" accent6="accent6" hlink="hlink" folHlink="folHlink"/>
  <p:sldLayoutIdLst>
    <p:sldLayoutId id="2147483932" r:id="rId1"/>
    <p:sldLayoutId id="2147483933" r:id="rId2"/>
    <p:sldLayoutId id="2147483934" r:id="rId3"/>
    <p:sldLayoutId id="2147483935" r:id="rId4"/>
    <p:sldLayoutId id="2147483937" r:id="rId5"/>
    <p:sldLayoutId id="2147483938" r:id="rId6"/>
    <p:sldLayoutId id="2147483939" r:id="rId7"/>
    <p:sldLayoutId id="2147483940" r:id="rId8"/>
    <p:sldLayoutId id="2147483941" r:id="rId9"/>
    <p:sldLayoutId id="2147483942" r:id="rId10"/>
  </p:sldLayoutIdLst>
  <p:hf hdr="0" dt="0"/>
  <p:txStyles>
    <p:titleStyle>
      <a:lvl1pPr algn="l" rtl="0" eaLnBrk="0" fontAlgn="base" hangingPunct="0">
        <a:lnSpc>
          <a:spcPct val="90000"/>
        </a:lnSpc>
        <a:spcBef>
          <a:spcPct val="0"/>
        </a:spcBef>
        <a:spcAft>
          <a:spcPct val="0"/>
        </a:spcAft>
        <a:defRPr sz="2800" kern="1200">
          <a:solidFill>
            <a:srgbClr val="005CB9"/>
          </a:solidFill>
          <a:latin typeface="+mj-lt"/>
          <a:ea typeface="+mj-ea"/>
          <a:cs typeface="+mj-cs"/>
        </a:defRPr>
      </a:lvl1pPr>
      <a:lvl2pPr algn="l" rtl="0" eaLnBrk="0" fontAlgn="base" hangingPunct="0">
        <a:lnSpc>
          <a:spcPct val="90000"/>
        </a:lnSpc>
        <a:spcBef>
          <a:spcPct val="0"/>
        </a:spcBef>
        <a:spcAft>
          <a:spcPct val="0"/>
        </a:spcAft>
        <a:defRPr sz="2800">
          <a:solidFill>
            <a:srgbClr val="005CB9"/>
          </a:solidFill>
          <a:latin typeface="Arial" charset="0"/>
        </a:defRPr>
      </a:lvl2pPr>
      <a:lvl3pPr algn="l" rtl="0" eaLnBrk="0" fontAlgn="base" hangingPunct="0">
        <a:lnSpc>
          <a:spcPct val="90000"/>
        </a:lnSpc>
        <a:spcBef>
          <a:spcPct val="0"/>
        </a:spcBef>
        <a:spcAft>
          <a:spcPct val="0"/>
        </a:spcAft>
        <a:defRPr sz="2800">
          <a:solidFill>
            <a:srgbClr val="005CB9"/>
          </a:solidFill>
          <a:latin typeface="Arial" charset="0"/>
        </a:defRPr>
      </a:lvl3pPr>
      <a:lvl4pPr algn="l" rtl="0" eaLnBrk="0" fontAlgn="base" hangingPunct="0">
        <a:lnSpc>
          <a:spcPct val="90000"/>
        </a:lnSpc>
        <a:spcBef>
          <a:spcPct val="0"/>
        </a:spcBef>
        <a:spcAft>
          <a:spcPct val="0"/>
        </a:spcAft>
        <a:defRPr sz="2800">
          <a:solidFill>
            <a:srgbClr val="005CB9"/>
          </a:solidFill>
          <a:latin typeface="Arial" charset="0"/>
        </a:defRPr>
      </a:lvl4pPr>
      <a:lvl5pPr algn="l" rtl="0" eaLnBrk="0" fontAlgn="base" hangingPunct="0">
        <a:lnSpc>
          <a:spcPct val="90000"/>
        </a:lnSpc>
        <a:spcBef>
          <a:spcPct val="0"/>
        </a:spcBef>
        <a:spcAft>
          <a:spcPct val="0"/>
        </a:spcAft>
        <a:defRPr sz="2800">
          <a:solidFill>
            <a:srgbClr val="005CB9"/>
          </a:solidFill>
          <a:latin typeface="Arial" charset="0"/>
        </a:defRPr>
      </a:lvl5pPr>
      <a:lvl6pPr marL="457200" algn="l" rtl="0" fontAlgn="base">
        <a:lnSpc>
          <a:spcPct val="90000"/>
        </a:lnSpc>
        <a:spcBef>
          <a:spcPct val="0"/>
        </a:spcBef>
        <a:spcAft>
          <a:spcPct val="0"/>
        </a:spcAft>
        <a:defRPr sz="2800">
          <a:solidFill>
            <a:srgbClr val="005CB9"/>
          </a:solidFill>
          <a:latin typeface="Arial" charset="0"/>
        </a:defRPr>
      </a:lvl6pPr>
      <a:lvl7pPr marL="914400" algn="l" rtl="0" fontAlgn="base">
        <a:lnSpc>
          <a:spcPct val="90000"/>
        </a:lnSpc>
        <a:spcBef>
          <a:spcPct val="0"/>
        </a:spcBef>
        <a:spcAft>
          <a:spcPct val="0"/>
        </a:spcAft>
        <a:defRPr sz="2800">
          <a:solidFill>
            <a:srgbClr val="005CB9"/>
          </a:solidFill>
          <a:latin typeface="Arial" charset="0"/>
        </a:defRPr>
      </a:lvl7pPr>
      <a:lvl8pPr marL="1371600" algn="l" rtl="0" fontAlgn="base">
        <a:lnSpc>
          <a:spcPct val="90000"/>
        </a:lnSpc>
        <a:spcBef>
          <a:spcPct val="0"/>
        </a:spcBef>
        <a:spcAft>
          <a:spcPct val="0"/>
        </a:spcAft>
        <a:defRPr sz="2800">
          <a:solidFill>
            <a:srgbClr val="005CB9"/>
          </a:solidFill>
          <a:latin typeface="Arial" charset="0"/>
        </a:defRPr>
      </a:lvl8pPr>
      <a:lvl9pPr marL="1828800" algn="l" rtl="0" fontAlgn="base">
        <a:lnSpc>
          <a:spcPct val="90000"/>
        </a:lnSpc>
        <a:spcBef>
          <a:spcPct val="0"/>
        </a:spcBef>
        <a:spcAft>
          <a:spcPct val="0"/>
        </a:spcAft>
        <a:defRPr sz="2800">
          <a:solidFill>
            <a:srgbClr val="005CB9"/>
          </a:solidFill>
          <a:latin typeface="Arial" charset="0"/>
        </a:defRPr>
      </a:lvl9pPr>
    </p:titleStyle>
    <p:bodyStyle>
      <a:lvl1pPr algn="l" rtl="0" eaLnBrk="0" fontAlgn="base" hangingPunct="0">
        <a:lnSpc>
          <a:spcPct val="110000"/>
        </a:lnSpc>
        <a:spcBef>
          <a:spcPct val="0"/>
        </a:spcBef>
        <a:spcAft>
          <a:spcPct val="0"/>
        </a:spcAft>
        <a:buFont typeface="Arial" charset="0"/>
        <a:defRPr sz="2000" b="1" kern="1200">
          <a:solidFill>
            <a:srgbClr val="005CB9"/>
          </a:solidFill>
          <a:latin typeface="+mn-lt"/>
          <a:ea typeface="+mn-ea"/>
          <a:cs typeface="+mn-cs"/>
        </a:defRPr>
      </a:lvl1pPr>
      <a:lvl2pPr marL="142875" algn="l" rtl="0" eaLnBrk="0" fontAlgn="base" hangingPunct="0">
        <a:spcBef>
          <a:spcPts val="300"/>
        </a:spcBef>
        <a:spcAft>
          <a:spcPct val="0"/>
        </a:spcAft>
        <a:buFont typeface="Arial" charset="0"/>
        <a:defRPr sz="1600" b="1" kern="1200">
          <a:solidFill>
            <a:schemeClr val="tx2"/>
          </a:solidFill>
          <a:latin typeface="+mn-lt"/>
          <a:ea typeface="+mn-ea"/>
          <a:cs typeface="+mn-cs"/>
        </a:defRPr>
      </a:lvl2pPr>
      <a:lvl3pPr marL="142875" indent="107950" algn="l" rtl="0" eaLnBrk="0" fontAlgn="base" hangingPunct="0">
        <a:spcBef>
          <a:spcPts val="300"/>
        </a:spcBef>
        <a:spcAft>
          <a:spcPct val="0"/>
        </a:spcAft>
        <a:buSzPct val="100000"/>
        <a:buFont typeface="Arial" charset="0"/>
        <a:buChar char="•"/>
        <a:defRPr sz="1400" b="1" kern="1200">
          <a:solidFill>
            <a:schemeClr val="tx2"/>
          </a:solidFill>
          <a:latin typeface="+mn-lt"/>
          <a:ea typeface="+mn-ea"/>
          <a:cs typeface="+mn-cs"/>
        </a:defRPr>
      </a:lvl3pPr>
      <a:lvl4pPr marL="358775" algn="l" rtl="0" eaLnBrk="0" fontAlgn="base" hangingPunct="0">
        <a:spcBef>
          <a:spcPts val="300"/>
        </a:spcBef>
        <a:spcAft>
          <a:spcPct val="0"/>
        </a:spcAft>
        <a:buSzPct val="100000"/>
        <a:buFont typeface="Arial" charset="0"/>
        <a:defRPr sz="1400" kern="1200">
          <a:solidFill>
            <a:schemeClr val="tx2"/>
          </a:solidFill>
          <a:latin typeface="+mn-lt"/>
          <a:ea typeface="+mn-ea"/>
          <a:cs typeface="+mn-cs"/>
        </a:defRPr>
      </a:lvl4pPr>
      <a:lvl5pPr marL="503238" indent="107950" algn="l" rtl="0" eaLnBrk="0" fontAlgn="base" hangingPunct="0">
        <a:spcBef>
          <a:spcPts val="300"/>
        </a:spcBef>
        <a:spcAft>
          <a:spcPct val="0"/>
        </a:spcAft>
        <a:buSzPct val="100000"/>
        <a:buFont typeface="Arial" charset="0"/>
        <a:buChar char="•"/>
        <a:defRPr sz="12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2.jpg"/><Relationship Id="rId2" Type="http://schemas.openxmlformats.org/officeDocument/2006/relationships/notesSlide" Target="../notesSlides/notesSlide1.xml"/><Relationship Id="rId1" Type="http://schemas.openxmlformats.org/officeDocument/2006/relationships/slideLayout" Target="../slideLayouts/slideLayout4.xml"/></Relationships>
</file>

<file path=ppt/slides/_rels/slide10.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9.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01.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68.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28.xml"/></Relationships>
</file>

<file path=ppt/slides/_rels/slide14.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jpeg"/><Relationship Id="rId1" Type="http://schemas.openxmlformats.org/officeDocument/2006/relationships/slideLayout" Target="../slideLayouts/slideLayout134.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136.xml"/><Relationship Id="rId7" Type="http://schemas.openxmlformats.org/officeDocument/2006/relationships/image" Target="../media/image45.png"/><Relationship Id="rId2" Type="http://schemas.openxmlformats.org/officeDocument/2006/relationships/tags" Target="../tags/tag47.xml"/><Relationship Id="rId1" Type="http://schemas.openxmlformats.org/officeDocument/2006/relationships/vmlDrawing" Target="../drawings/vmlDrawing11.vml"/><Relationship Id="rId6" Type="http://schemas.openxmlformats.org/officeDocument/2006/relationships/image" Target="../media/image44.png"/><Relationship Id="rId5" Type="http://schemas.openxmlformats.org/officeDocument/2006/relationships/image" Target="../media/image43.emf"/><Relationship Id="rId4" Type="http://schemas.openxmlformats.org/officeDocument/2006/relationships/oleObject" Target="../embeddings/oleObject11.bin"/></Relationships>
</file>

<file path=ppt/slides/_rels/slide2.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2.xml"/><Relationship Id="rId1" Type="http://schemas.openxmlformats.org/officeDocument/2006/relationships/slideLayout" Target="../slideLayouts/slideLayout6.xml"/><Relationship Id="rId5" Type="http://schemas.openxmlformats.org/officeDocument/2006/relationships/image" Target="../media/image25.png"/><Relationship Id="rId4" Type="http://schemas.openxmlformats.org/officeDocument/2006/relationships/image" Target="../media/image24.png"/></Relationships>
</file>

<file path=ppt/slides/_rels/slide3.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3.xml"/><Relationship Id="rId1" Type="http://schemas.openxmlformats.org/officeDocument/2006/relationships/slideLayout" Target="../slideLayouts/slideLayout196.xml"/><Relationship Id="rId4" Type="http://schemas.openxmlformats.org/officeDocument/2006/relationships/chart" Target="../charts/chart1.xml"/></Relationships>
</file>

<file path=ppt/slides/_rels/slide4.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4.xml"/><Relationship Id="rId1" Type="http://schemas.openxmlformats.org/officeDocument/2006/relationships/slideLayout" Target="../slideLayouts/slideLayout175.xml"/></Relationships>
</file>

<file path=ppt/slides/_rels/slide5.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5.xml"/><Relationship Id="rId1" Type="http://schemas.openxmlformats.org/officeDocument/2006/relationships/slideLayout" Target="../slideLayouts/slideLayout46.xml"/></Relationships>
</file>

<file path=ppt/slides/_rels/slide6.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6.xml"/><Relationship Id="rId1" Type="http://schemas.openxmlformats.org/officeDocument/2006/relationships/slideLayout" Target="../slideLayouts/slideLayout68.xml"/><Relationship Id="rId5" Type="http://schemas.openxmlformats.org/officeDocument/2006/relationships/image" Target="../media/image31.png"/><Relationship Id="rId4" Type="http://schemas.openxmlformats.org/officeDocument/2006/relationships/image" Target="../media/image30.png"/></Relationships>
</file>

<file path=ppt/slides/_rels/slide7.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image" Target="../media/image32.jpeg"/><Relationship Id="rId7" Type="http://schemas.openxmlformats.org/officeDocument/2006/relationships/image" Target="../media/image36.png"/><Relationship Id="rId2" Type="http://schemas.openxmlformats.org/officeDocument/2006/relationships/notesSlide" Target="../notesSlides/notesSlide7.xml"/><Relationship Id="rId1" Type="http://schemas.openxmlformats.org/officeDocument/2006/relationships/slideLayout" Target="../slideLayouts/slideLayout46.xml"/><Relationship Id="rId6" Type="http://schemas.openxmlformats.org/officeDocument/2006/relationships/image" Target="../media/image35.png"/><Relationship Id="rId5" Type="http://schemas.openxmlformats.org/officeDocument/2006/relationships/image" Target="../media/image34.png"/><Relationship Id="rId4" Type="http://schemas.openxmlformats.org/officeDocument/2006/relationships/image" Target="../media/image33.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9.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8.xml"/><Relationship Id="rId1" Type="http://schemas.openxmlformats.org/officeDocument/2006/relationships/slideLayout" Target="../slideLayouts/slideLayout186.xml"/><Relationship Id="rId4" Type="http://schemas.openxmlformats.org/officeDocument/2006/relationships/image" Target="../media/image3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Espace réservé du texte 6"/>
          <p:cNvSpPr>
            <a:spLocks noGrp="1"/>
          </p:cNvSpPr>
          <p:nvPr>
            <p:ph type="body" sz="quarter" idx="13"/>
          </p:nvPr>
        </p:nvSpPr>
        <p:spPr>
          <a:xfrm>
            <a:off x="323528" y="1065469"/>
            <a:ext cx="4824412" cy="2232000"/>
          </a:xfrm>
        </p:spPr>
        <p:txBody>
          <a:bodyPr/>
          <a:lstStyle/>
          <a:p>
            <a:r>
              <a:rPr lang="en-US" err="1"/>
              <a:t>Gavi’s</a:t>
            </a:r>
            <a:r>
              <a:rPr lang="en-US"/>
              <a:t> Measles and Rubella Programme</a:t>
            </a:r>
          </a:p>
        </p:txBody>
      </p:sp>
      <p:sp>
        <p:nvSpPr>
          <p:cNvPr id="8" name="Espace réservé du texte 7"/>
          <p:cNvSpPr>
            <a:spLocks noGrp="1"/>
          </p:cNvSpPr>
          <p:nvPr>
            <p:ph type="body" sz="quarter" idx="14"/>
          </p:nvPr>
        </p:nvSpPr>
        <p:spPr>
          <a:xfrm>
            <a:off x="323528" y="3501008"/>
            <a:ext cx="4032448" cy="1479600"/>
          </a:xfrm>
        </p:spPr>
        <p:txBody>
          <a:bodyPr/>
          <a:lstStyle/>
          <a:p>
            <a:r>
              <a:rPr lang="en-US"/>
              <a:t>M&amp;RI Partners’ Meeting</a:t>
            </a:r>
          </a:p>
          <a:p>
            <a:endParaRPr lang="en-US"/>
          </a:p>
          <a:p>
            <a:r>
              <a:rPr lang="en-US"/>
              <a:t>Michael F Thomas, </a:t>
            </a:r>
            <a:r>
              <a:rPr lang="en-US">
                <a:solidFill>
                  <a:schemeClr val="tx1"/>
                </a:solidFill>
                <a:latin typeface="+mn-ea"/>
                <a:cs typeface="+mn-ea"/>
              </a:rPr>
              <a:t/>
            </a:r>
            <a:br>
              <a:rPr lang="en-US">
                <a:solidFill>
                  <a:schemeClr val="tx1"/>
                </a:solidFill>
                <a:latin typeface="+mn-ea"/>
                <a:cs typeface="+mn-ea"/>
              </a:rPr>
            </a:br>
            <a:r>
              <a:rPr lang="en-US"/>
              <a:t>Director Vaccine Implementation</a:t>
            </a:r>
            <a:r>
              <a:rPr lang="en-US">
                <a:solidFill>
                  <a:schemeClr val="tx1"/>
                </a:solidFill>
                <a:latin typeface="+mn-ea"/>
                <a:cs typeface="+mn-ea"/>
              </a:rPr>
              <a:t/>
            </a:r>
            <a:br>
              <a:rPr lang="en-US">
                <a:solidFill>
                  <a:schemeClr val="tx1"/>
                </a:solidFill>
                <a:latin typeface="+mn-ea"/>
                <a:cs typeface="+mn-ea"/>
              </a:rPr>
            </a:br>
            <a:endParaRPr lang="en-US"/>
          </a:p>
          <a:p>
            <a:r>
              <a:rPr lang="en-US"/>
              <a:t>September 2017, Washington DC</a:t>
            </a:r>
          </a:p>
        </p:txBody>
      </p:sp>
      <p:sp>
        <p:nvSpPr>
          <p:cNvPr id="4" name="Espace réservé du numéro de diapositive 3"/>
          <p:cNvSpPr>
            <a:spLocks noGrp="1"/>
          </p:cNvSpPr>
          <p:nvPr>
            <p:ph type="sldNum" sz="quarter" idx="16"/>
          </p:nvPr>
        </p:nvSpPr>
        <p:spPr/>
        <p:txBody>
          <a:bodyPr/>
          <a:lstStyle/>
          <a:p>
            <a:pPr algn="l"/>
            <a:r>
              <a:rPr lang="en-US"/>
              <a:t>Page: </a:t>
            </a:r>
            <a:fld id="{733122C9-A0B9-462F-8757-0847AD287B63}" type="slidenum">
              <a:rPr lang="en-US" smtClean="0"/>
              <a:pPr algn="l"/>
              <a:t>1</a:t>
            </a:fld>
            <a:endParaRPr lang="en-US"/>
          </a:p>
        </p:txBody>
      </p:sp>
      <p:sp>
        <p:nvSpPr>
          <p:cNvPr id="10" name="Espace réservé du texte 9"/>
          <p:cNvSpPr>
            <a:spLocks noGrp="1"/>
          </p:cNvSpPr>
          <p:nvPr>
            <p:ph type="body" sz="quarter" idx="19"/>
          </p:nvPr>
        </p:nvSpPr>
        <p:spPr/>
        <p:txBody>
          <a:bodyPr/>
          <a:lstStyle/>
          <a:p>
            <a:r>
              <a:rPr lang="en-US"/>
              <a:t>Reach every child</a:t>
            </a:r>
          </a:p>
        </p:txBody>
      </p:sp>
      <p:sp>
        <p:nvSpPr>
          <p:cNvPr id="11" name="Espace réservé du texte 10"/>
          <p:cNvSpPr>
            <a:spLocks noGrp="1"/>
          </p:cNvSpPr>
          <p:nvPr>
            <p:ph type="body" sz="quarter" idx="20"/>
          </p:nvPr>
        </p:nvSpPr>
        <p:spPr/>
        <p:txBody>
          <a:bodyPr/>
          <a:lstStyle/>
          <a:p>
            <a:r>
              <a:rPr lang="en-US"/>
              <a:t> </a:t>
            </a:r>
          </a:p>
        </p:txBody>
      </p:sp>
      <p:pic>
        <p:nvPicPr>
          <p:cNvPr id="2" name="Picture Placeholder 1"/>
          <p:cNvPicPr>
            <a:picLocks noGrp="1" noChangeAspect="1"/>
          </p:cNvPicPr>
          <p:nvPr>
            <p:ph type="pic" sz="quarter" idx="18"/>
          </p:nvPr>
        </p:nvPicPr>
        <p:blipFill>
          <a:blip r:embed="rId3">
            <a:extLst>
              <a:ext uri="{28A0092B-C50C-407E-A947-70E740481C1C}">
                <a14:useLocalDpi xmlns:a14="http://schemas.microsoft.com/office/drawing/2010/main" val="0"/>
              </a:ext>
            </a:extLst>
          </a:blip>
          <a:srcRect l="14034" r="14034"/>
          <a:stretch>
            <a:fillRect/>
          </a:stretch>
        </p:blipFill>
        <p:spPr/>
      </p:pic>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re 6"/>
          <p:cNvSpPr>
            <a:spLocks noGrp="1"/>
          </p:cNvSpPr>
          <p:nvPr>
            <p:ph type="title"/>
          </p:nvPr>
        </p:nvSpPr>
        <p:spPr>
          <a:xfrm>
            <a:off x="899592" y="74973"/>
            <a:ext cx="7345362" cy="1036638"/>
          </a:xfrm>
        </p:spPr>
        <p:txBody>
          <a:bodyPr/>
          <a:lstStyle/>
          <a:p>
            <a:pPr indent="-180000"/>
            <a:r>
              <a:rPr lang="en-US" cap="all"/>
              <a:t>PREVIOUS Gavi Measles-Rubella </a:t>
            </a:r>
            <a:r>
              <a:rPr lang="en-US" cap="all" err="1"/>
              <a:t>ProgramME</a:t>
            </a:r>
            <a:endParaRPr lang="en-US" cap="all"/>
          </a:p>
        </p:txBody>
      </p:sp>
      <p:sp>
        <p:nvSpPr>
          <p:cNvPr id="8" name="Espace réservé du contenu 7"/>
          <p:cNvSpPr>
            <a:spLocks noGrp="1"/>
          </p:cNvSpPr>
          <p:nvPr>
            <p:ph idx="1"/>
          </p:nvPr>
        </p:nvSpPr>
        <p:spPr>
          <a:xfrm>
            <a:off x="899592" y="1268760"/>
            <a:ext cx="7345362" cy="5112568"/>
          </a:xfrm>
        </p:spPr>
        <p:txBody>
          <a:bodyPr/>
          <a:lstStyle/>
          <a:p>
            <a:pPr lvl="1"/>
            <a:r>
              <a:rPr lang="en-US"/>
              <a:t>Past: </a:t>
            </a:r>
            <a:r>
              <a:rPr lang="en-US" b="0"/>
              <a:t>Gavi-IFFIm provided US$ 176M to M&amp;RI in 2004-2008 </a:t>
            </a:r>
          </a:p>
          <a:p>
            <a:pPr lvl="1"/>
            <a:r>
              <a:rPr lang="en-US"/>
              <a:t>Current: </a:t>
            </a:r>
          </a:p>
          <a:p>
            <a:pPr lvl="1"/>
            <a:r>
              <a:rPr lang="en-US"/>
              <a:t>Direct:</a:t>
            </a:r>
          </a:p>
          <a:p>
            <a:endParaRPr lang="en-US"/>
          </a:p>
          <a:p>
            <a:endParaRPr lang="en-US"/>
          </a:p>
          <a:p>
            <a:pPr marL="324000" lvl="2" indent="0">
              <a:buNone/>
            </a:pPr>
            <a:endParaRPr lang="en-US"/>
          </a:p>
          <a:p>
            <a:pPr marL="324000" lvl="2" indent="0">
              <a:buNone/>
            </a:pPr>
            <a:endParaRPr lang="en-US"/>
          </a:p>
          <a:p>
            <a:pPr marL="324000" lvl="2" indent="0">
              <a:buNone/>
            </a:pPr>
            <a:endParaRPr lang="en-US"/>
          </a:p>
          <a:p>
            <a:pPr marL="324000" lvl="2" indent="0">
              <a:buNone/>
            </a:pPr>
            <a:endParaRPr lang="en-US"/>
          </a:p>
          <a:p>
            <a:pPr marL="324000" lvl="2" indent="0">
              <a:buNone/>
            </a:pPr>
            <a:endParaRPr lang="en-US"/>
          </a:p>
          <a:p>
            <a:pPr marL="324000" lvl="2" indent="0">
              <a:buNone/>
            </a:pPr>
            <a:endParaRPr lang="en-US"/>
          </a:p>
          <a:p>
            <a:pPr marL="324000" lvl="2" indent="0">
              <a:buNone/>
            </a:pPr>
            <a:endParaRPr lang="en-US"/>
          </a:p>
          <a:p>
            <a:pPr lvl="1"/>
            <a:r>
              <a:rPr lang="en-US"/>
              <a:t>Indirect support: </a:t>
            </a:r>
          </a:p>
          <a:p>
            <a:pPr lvl="2"/>
            <a:r>
              <a:rPr lang="en-US" sz="1800" b="0"/>
              <a:t>HSS Performance-based funding with measles coverage indicator</a:t>
            </a:r>
          </a:p>
          <a:p>
            <a:pPr marL="144000" lvl="1" indent="0">
              <a:buNone/>
            </a:pPr>
            <a:endParaRPr lang="en-GB" sz="1100"/>
          </a:p>
          <a:p>
            <a:pPr marL="144000" lvl="1" indent="0">
              <a:buNone/>
            </a:pPr>
            <a:r>
              <a:rPr lang="en-GB" sz="2000"/>
              <a:t>Gavi has disbursed US$550 million by end 2014. US$ 700 million more forecasted by 2020 </a:t>
            </a:r>
          </a:p>
        </p:txBody>
      </p:sp>
      <p:pic>
        <p:nvPicPr>
          <p:cNvPr id="102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051720" y="1988840"/>
            <a:ext cx="5893469" cy="2880319"/>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429887880"/>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Title 1"/>
          <p:cNvSpPr>
            <a:spLocks noGrp="1"/>
          </p:cNvSpPr>
          <p:nvPr>
            <p:ph type="title"/>
          </p:nvPr>
        </p:nvSpPr>
        <p:spPr>
          <a:xfrm>
            <a:off x="395536" y="0"/>
            <a:ext cx="8531562" cy="1036638"/>
          </a:xfrm>
        </p:spPr>
        <p:txBody>
          <a:bodyPr/>
          <a:lstStyle/>
          <a:p>
            <a:r>
              <a:rPr lang="en-GB" dirty="0" smtClean="0"/>
              <a:t>Gavi </a:t>
            </a:r>
            <a:r>
              <a:rPr lang="en-GB" dirty="0"/>
              <a:t>supported 50 Measles and Rubella programmes by end 2016</a:t>
            </a:r>
          </a:p>
        </p:txBody>
      </p:sp>
      <p:sp>
        <p:nvSpPr>
          <p:cNvPr id="4" name="TextBox 3"/>
          <p:cNvSpPr txBox="1">
            <a:spLocks noChangeArrowheads="1"/>
          </p:cNvSpPr>
          <p:nvPr/>
        </p:nvSpPr>
        <p:spPr bwMode="auto">
          <a:xfrm>
            <a:off x="179512" y="1193973"/>
            <a:ext cx="3741730" cy="33855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eaLnBrk="0" hangingPunct="0">
              <a:defRPr sz="1000">
                <a:solidFill>
                  <a:schemeClr val="tx1"/>
                </a:solidFill>
                <a:latin typeface="Arial" charset="0"/>
                <a:ea typeface="ＭＳ Ｐゴシック" pitchFamily="34" charset="-128"/>
              </a:defRPr>
            </a:lvl1pPr>
            <a:lvl2pPr marL="742950" indent="-285750" eaLnBrk="0" hangingPunct="0">
              <a:defRPr sz="1000">
                <a:solidFill>
                  <a:schemeClr val="tx1"/>
                </a:solidFill>
                <a:latin typeface="Arial" charset="0"/>
                <a:ea typeface="ＭＳ Ｐゴシック" pitchFamily="34" charset="-128"/>
              </a:defRPr>
            </a:lvl2pPr>
            <a:lvl3pPr marL="1143000" indent="-228600" eaLnBrk="0" hangingPunct="0">
              <a:defRPr sz="1000">
                <a:solidFill>
                  <a:schemeClr val="tx1"/>
                </a:solidFill>
                <a:latin typeface="Arial" charset="0"/>
                <a:ea typeface="ＭＳ Ｐゴシック" pitchFamily="34" charset="-128"/>
              </a:defRPr>
            </a:lvl3pPr>
            <a:lvl4pPr marL="1600200" indent="-228600" eaLnBrk="0" hangingPunct="0">
              <a:defRPr sz="1000">
                <a:solidFill>
                  <a:schemeClr val="tx1"/>
                </a:solidFill>
                <a:latin typeface="Arial" charset="0"/>
                <a:ea typeface="ＭＳ Ｐゴシック" pitchFamily="34" charset="-128"/>
              </a:defRPr>
            </a:lvl4pPr>
            <a:lvl5pPr marL="2057400" indent="-228600" eaLnBrk="0" hangingPunct="0">
              <a:defRPr sz="1000">
                <a:solidFill>
                  <a:schemeClr val="tx1"/>
                </a:solidFill>
                <a:latin typeface="Arial" charset="0"/>
                <a:ea typeface="ＭＳ Ｐゴシック" pitchFamily="34" charset="-128"/>
              </a:defRPr>
            </a:lvl5pPr>
            <a:lvl6pPr marL="2514600" indent="-228600" defTabSz="457200" eaLnBrk="0" fontAlgn="base" hangingPunct="0">
              <a:spcBef>
                <a:spcPct val="0"/>
              </a:spcBef>
              <a:spcAft>
                <a:spcPct val="0"/>
              </a:spcAft>
              <a:defRPr sz="1000">
                <a:solidFill>
                  <a:schemeClr val="tx1"/>
                </a:solidFill>
                <a:latin typeface="Arial" charset="0"/>
                <a:ea typeface="ＭＳ Ｐゴシック" pitchFamily="34" charset="-128"/>
              </a:defRPr>
            </a:lvl6pPr>
            <a:lvl7pPr marL="2971800" indent="-228600" defTabSz="457200" eaLnBrk="0" fontAlgn="base" hangingPunct="0">
              <a:spcBef>
                <a:spcPct val="0"/>
              </a:spcBef>
              <a:spcAft>
                <a:spcPct val="0"/>
              </a:spcAft>
              <a:defRPr sz="1000">
                <a:solidFill>
                  <a:schemeClr val="tx1"/>
                </a:solidFill>
                <a:latin typeface="Arial" charset="0"/>
                <a:ea typeface="ＭＳ Ｐゴシック" pitchFamily="34" charset="-128"/>
              </a:defRPr>
            </a:lvl7pPr>
            <a:lvl8pPr marL="3429000" indent="-228600" defTabSz="457200" eaLnBrk="0" fontAlgn="base" hangingPunct="0">
              <a:spcBef>
                <a:spcPct val="0"/>
              </a:spcBef>
              <a:spcAft>
                <a:spcPct val="0"/>
              </a:spcAft>
              <a:defRPr sz="1000">
                <a:solidFill>
                  <a:schemeClr val="tx1"/>
                </a:solidFill>
                <a:latin typeface="Arial" charset="0"/>
                <a:ea typeface="ＭＳ Ｐゴシック" pitchFamily="34" charset="-128"/>
              </a:defRPr>
            </a:lvl8pPr>
            <a:lvl9pPr marL="3886200" indent="-228600" defTabSz="457200" eaLnBrk="0" fontAlgn="base" hangingPunct="0">
              <a:spcBef>
                <a:spcPct val="0"/>
              </a:spcBef>
              <a:spcAft>
                <a:spcPct val="0"/>
              </a:spcAft>
              <a:defRPr sz="1000">
                <a:solidFill>
                  <a:schemeClr val="tx1"/>
                </a:solidFill>
                <a:latin typeface="Arial" charset="0"/>
                <a:ea typeface="ＭＳ Ｐゴシック" pitchFamily="34" charset="-128"/>
              </a:defRPr>
            </a:lvl9pPr>
          </a:lstStyle>
          <a:p>
            <a:pPr rtl="1" eaLnBrk="1" fontAlgn="base" hangingPunct="1">
              <a:spcBef>
                <a:spcPct val="0"/>
              </a:spcBef>
              <a:spcAft>
                <a:spcPct val="0"/>
              </a:spcAft>
            </a:pPr>
            <a:r>
              <a:rPr lang="en-GB" sz="1600" b="1">
                <a:solidFill>
                  <a:prstClr val="black"/>
                </a:solidFill>
                <a:cs typeface="Arial" charset="0"/>
              </a:rPr>
              <a:t>Measles Second Dose (21 countries)</a:t>
            </a:r>
          </a:p>
        </p:txBody>
      </p:sp>
      <p:graphicFrame>
        <p:nvGraphicFramePr>
          <p:cNvPr id="5" name="Table 4"/>
          <p:cNvGraphicFramePr>
            <a:graphicFrameLocks noGrp="1"/>
          </p:cNvGraphicFramePr>
          <p:nvPr>
            <p:extLst/>
          </p:nvPr>
        </p:nvGraphicFramePr>
        <p:xfrm>
          <a:off x="199563" y="1540345"/>
          <a:ext cx="2886937" cy="5098556"/>
        </p:xfrm>
        <a:graphic>
          <a:graphicData uri="http://schemas.openxmlformats.org/drawingml/2006/table">
            <a:tbl>
              <a:tblPr firstRow="1" bandRow="1">
                <a:tableStyleId>{00A15C55-8517-42AA-B614-E9B94910E393}</a:tableStyleId>
              </a:tblPr>
              <a:tblGrid>
                <a:gridCol w="1312061">
                  <a:extLst>
                    <a:ext uri="{9D8B030D-6E8A-4147-A177-3AD203B41FA5}">
                      <a16:colId xmlns:a16="http://schemas.microsoft.com/office/drawing/2014/main" xmlns="" val="20000"/>
                    </a:ext>
                  </a:extLst>
                </a:gridCol>
                <a:gridCol w="1574876">
                  <a:extLst>
                    <a:ext uri="{9D8B030D-6E8A-4147-A177-3AD203B41FA5}">
                      <a16:colId xmlns:a16="http://schemas.microsoft.com/office/drawing/2014/main" xmlns="" val="20001"/>
                    </a:ext>
                  </a:extLst>
                </a:gridCol>
              </a:tblGrid>
              <a:tr h="307764">
                <a:tc>
                  <a:txBody>
                    <a:bodyPr/>
                    <a:lstStyle/>
                    <a:p>
                      <a:pPr algn="ctr"/>
                      <a:r>
                        <a:rPr lang="en-GB" sz="1100" noProof="0"/>
                        <a:t>Country</a:t>
                      </a:r>
                      <a:endParaRPr lang="en-GB" sz="1100" b="1" noProof="0"/>
                    </a:p>
                  </a:txBody>
                  <a:tcPr marL="91423" marR="91423" marT="45736" marB="45736"/>
                </a:tc>
                <a:tc>
                  <a:txBody>
                    <a:bodyPr/>
                    <a:lstStyle/>
                    <a:p>
                      <a:pPr algn="ctr"/>
                      <a:r>
                        <a:rPr lang="en-GB" sz="1100" noProof="0"/>
                        <a:t>Date</a:t>
                      </a:r>
                      <a:endParaRPr lang="en-GB" sz="1100" b="1" noProof="0"/>
                    </a:p>
                  </a:txBody>
                  <a:tcPr marL="91423" marR="91423" marT="45736" marB="45736"/>
                </a:tc>
                <a:extLst>
                  <a:ext uri="{0D108BD9-81ED-4DB2-BD59-A6C34878D82A}">
                    <a16:rowId xmlns:a16="http://schemas.microsoft.com/office/drawing/2014/main" xmlns="" val="10000"/>
                  </a:ext>
                </a:extLst>
              </a:tr>
              <a:tr h="229996">
                <a:tc>
                  <a:txBody>
                    <a:bodyPr/>
                    <a:lstStyle/>
                    <a:p>
                      <a:pPr algn="l" fontAlgn="b"/>
                      <a:r>
                        <a:rPr lang="en-GB" sz="1100" u="none" strike="noStrike" noProof="0">
                          <a:effectLst/>
                        </a:rPr>
                        <a:t> Viet Nam</a:t>
                      </a:r>
                      <a:endParaRPr lang="en-GB" sz="1100" b="1" i="0" u="none" strike="noStrike" noProof="0">
                        <a:solidFill>
                          <a:schemeClr val="tx1"/>
                        </a:solidFill>
                        <a:effectLst/>
                        <a:latin typeface="+mn-lt"/>
                      </a:endParaRPr>
                    </a:p>
                  </a:txBody>
                  <a:tcPr marL="9523" marR="9523" marT="9528" marB="0" anchor="b"/>
                </a:tc>
                <a:tc>
                  <a:txBody>
                    <a:bodyPr/>
                    <a:lstStyle/>
                    <a:p>
                      <a:pPr algn="ctr" fontAlgn="b"/>
                      <a:r>
                        <a:rPr lang="en-GB" sz="1100" u="none" strike="noStrike" noProof="0">
                          <a:effectLst/>
                        </a:rPr>
                        <a:t>2007-2011</a:t>
                      </a:r>
                      <a:endParaRPr lang="en-GB" sz="1100" b="0" i="0" u="none" strike="noStrike" noProof="0">
                        <a:solidFill>
                          <a:schemeClr val="tx1"/>
                        </a:solidFill>
                        <a:effectLst/>
                        <a:latin typeface="+mn-lt"/>
                      </a:endParaRPr>
                    </a:p>
                  </a:txBody>
                  <a:tcPr marL="9523" marR="9523" marT="9528" marB="0" anchor="b"/>
                </a:tc>
                <a:extLst>
                  <a:ext uri="{0D108BD9-81ED-4DB2-BD59-A6C34878D82A}">
                    <a16:rowId xmlns:a16="http://schemas.microsoft.com/office/drawing/2014/main" xmlns="" val="10001"/>
                  </a:ext>
                </a:extLst>
              </a:tr>
              <a:tr h="229996">
                <a:tc>
                  <a:txBody>
                    <a:bodyPr/>
                    <a:lstStyle/>
                    <a:p>
                      <a:pPr algn="l" fontAlgn="b"/>
                      <a:r>
                        <a:rPr lang="en-GB" sz="1100" u="none" strike="noStrike" noProof="0">
                          <a:effectLst/>
                        </a:rPr>
                        <a:t> DPR of Korea</a:t>
                      </a:r>
                      <a:endParaRPr lang="en-GB" sz="1100" b="1" i="0" u="none" strike="noStrike" noProof="0">
                        <a:solidFill>
                          <a:schemeClr val="tx1"/>
                        </a:solidFill>
                        <a:effectLst/>
                        <a:latin typeface="+mn-lt"/>
                      </a:endParaRPr>
                    </a:p>
                  </a:txBody>
                  <a:tcPr marL="9523" marR="9523" marT="9528" marB="0" anchor="b"/>
                </a:tc>
                <a:tc>
                  <a:txBody>
                    <a:bodyPr/>
                    <a:lstStyle/>
                    <a:p>
                      <a:pPr algn="ctr" fontAlgn="b"/>
                      <a:r>
                        <a:rPr lang="en-GB" sz="1100" u="none" strike="noStrike" noProof="0">
                          <a:effectLst/>
                        </a:rPr>
                        <a:t>2008-2012</a:t>
                      </a:r>
                      <a:endParaRPr lang="en-GB" sz="1100" b="0" i="0" u="none" strike="noStrike" noProof="0">
                        <a:solidFill>
                          <a:schemeClr val="tx1"/>
                        </a:solidFill>
                        <a:effectLst/>
                        <a:latin typeface="+mn-lt"/>
                      </a:endParaRPr>
                    </a:p>
                  </a:txBody>
                  <a:tcPr marL="9523" marR="9523" marT="9528" marB="0" anchor="b"/>
                </a:tc>
                <a:extLst>
                  <a:ext uri="{0D108BD9-81ED-4DB2-BD59-A6C34878D82A}">
                    <a16:rowId xmlns:a16="http://schemas.microsoft.com/office/drawing/2014/main" xmlns="" val="10002"/>
                  </a:ext>
                </a:extLst>
              </a:tr>
              <a:tr h="229996">
                <a:tc>
                  <a:txBody>
                    <a:bodyPr/>
                    <a:lstStyle/>
                    <a:p>
                      <a:pPr algn="l" fontAlgn="b"/>
                      <a:r>
                        <a:rPr lang="en-GB" sz="1100" u="none" strike="noStrike" noProof="0">
                          <a:effectLst/>
                        </a:rPr>
                        <a:t> Bangladesh</a:t>
                      </a:r>
                      <a:endParaRPr lang="en-GB" sz="1100" b="1" i="0" u="none" strike="noStrike" noProof="0">
                        <a:solidFill>
                          <a:schemeClr val="tx1"/>
                        </a:solidFill>
                        <a:effectLst/>
                        <a:latin typeface="+mn-lt"/>
                      </a:endParaRPr>
                    </a:p>
                  </a:txBody>
                  <a:tcPr marL="9523" marR="9523" marT="9528" marB="0" anchor="b"/>
                </a:tc>
                <a:tc>
                  <a:txBody>
                    <a:bodyPr/>
                    <a:lstStyle/>
                    <a:p>
                      <a:pPr algn="ctr" fontAlgn="b"/>
                      <a:r>
                        <a:rPr lang="en-GB" sz="1100" u="none" strike="noStrike" noProof="0">
                          <a:effectLst/>
                        </a:rPr>
                        <a:t>2012</a:t>
                      </a:r>
                      <a:endParaRPr lang="en-GB" sz="1100" b="0" i="0" u="none" strike="noStrike" noProof="0">
                        <a:solidFill>
                          <a:schemeClr val="tx1"/>
                        </a:solidFill>
                        <a:effectLst/>
                        <a:latin typeface="+mn-lt"/>
                      </a:endParaRPr>
                    </a:p>
                  </a:txBody>
                  <a:tcPr marL="9523" marR="9523" marT="9528" marB="0" anchor="b"/>
                </a:tc>
                <a:extLst>
                  <a:ext uri="{0D108BD9-81ED-4DB2-BD59-A6C34878D82A}">
                    <a16:rowId xmlns:a16="http://schemas.microsoft.com/office/drawing/2014/main" xmlns="" val="10003"/>
                  </a:ext>
                </a:extLst>
              </a:tr>
              <a:tr h="229996">
                <a:tc>
                  <a:txBody>
                    <a:bodyPr/>
                    <a:lstStyle/>
                    <a:p>
                      <a:pPr algn="l" fontAlgn="b"/>
                      <a:r>
                        <a:rPr lang="en-GB" sz="1100" u="none" strike="noStrike" noProof="0">
                          <a:effectLst/>
                        </a:rPr>
                        <a:t> Cambodia</a:t>
                      </a:r>
                      <a:endParaRPr lang="en-GB" sz="1100" b="1" i="0" u="none" strike="noStrike" noProof="0">
                        <a:solidFill>
                          <a:schemeClr val="tx1"/>
                        </a:solidFill>
                        <a:effectLst/>
                        <a:latin typeface="+mn-lt"/>
                      </a:endParaRPr>
                    </a:p>
                  </a:txBody>
                  <a:tcPr marL="9523" marR="9523" marT="9528" marB="0" anchor="b"/>
                </a:tc>
                <a:tc>
                  <a:txBody>
                    <a:bodyPr/>
                    <a:lstStyle/>
                    <a:p>
                      <a:pPr algn="ctr" fontAlgn="b"/>
                      <a:r>
                        <a:rPr lang="en-GB" sz="1100" u="none" strike="noStrike" noProof="0">
                          <a:effectLst/>
                        </a:rPr>
                        <a:t>2012</a:t>
                      </a:r>
                      <a:endParaRPr lang="en-GB" sz="1100" b="0" i="0" u="none" strike="noStrike" noProof="0">
                        <a:solidFill>
                          <a:schemeClr val="tx1"/>
                        </a:solidFill>
                        <a:effectLst/>
                        <a:latin typeface="+mn-lt"/>
                      </a:endParaRPr>
                    </a:p>
                  </a:txBody>
                  <a:tcPr marL="9523" marR="9523" marT="9528" marB="0" anchor="b"/>
                </a:tc>
                <a:extLst>
                  <a:ext uri="{0D108BD9-81ED-4DB2-BD59-A6C34878D82A}">
                    <a16:rowId xmlns:a16="http://schemas.microsoft.com/office/drawing/2014/main" xmlns="" val="10004"/>
                  </a:ext>
                </a:extLst>
              </a:tr>
              <a:tr h="229996">
                <a:tc>
                  <a:txBody>
                    <a:bodyPr/>
                    <a:lstStyle/>
                    <a:p>
                      <a:pPr algn="l" fontAlgn="b"/>
                      <a:r>
                        <a:rPr lang="en-GB" sz="1100" u="none" strike="noStrike" noProof="0">
                          <a:effectLst/>
                        </a:rPr>
                        <a:t> Eritrea</a:t>
                      </a:r>
                      <a:endParaRPr lang="en-GB" sz="1100" b="1" i="0" u="none" strike="noStrike" noProof="0">
                        <a:solidFill>
                          <a:schemeClr val="tx1"/>
                        </a:solidFill>
                        <a:effectLst/>
                        <a:latin typeface="+mn-lt"/>
                      </a:endParaRPr>
                    </a:p>
                  </a:txBody>
                  <a:tcPr marL="9523" marR="9523" marT="9528" marB="0" anchor="b"/>
                </a:tc>
                <a:tc>
                  <a:txBody>
                    <a:bodyPr/>
                    <a:lstStyle/>
                    <a:p>
                      <a:pPr algn="ctr" fontAlgn="b"/>
                      <a:r>
                        <a:rPr lang="en-GB" sz="1100" u="none" strike="noStrike" noProof="0">
                          <a:effectLst/>
                        </a:rPr>
                        <a:t>2012</a:t>
                      </a:r>
                      <a:endParaRPr lang="en-GB" sz="1100" b="0" i="0" u="none" strike="noStrike" noProof="0">
                        <a:solidFill>
                          <a:schemeClr val="tx1"/>
                        </a:solidFill>
                        <a:effectLst/>
                        <a:latin typeface="+mn-lt"/>
                      </a:endParaRPr>
                    </a:p>
                  </a:txBody>
                  <a:tcPr marL="9523" marR="9523" marT="9528" marB="0" anchor="b"/>
                </a:tc>
                <a:extLst>
                  <a:ext uri="{0D108BD9-81ED-4DB2-BD59-A6C34878D82A}">
                    <a16:rowId xmlns:a16="http://schemas.microsoft.com/office/drawing/2014/main" xmlns="" val="10005"/>
                  </a:ext>
                </a:extLst>
              </a:tr>
              <a:tr h="229996">
                <a:tc>
                  <a:txBody>
                    <a:bodyPr/>
                    <a:lstStyle/>
                    <a:p>
                      <a:pPr algn="l" fontAlgn="b"/>
                      <a:r>
                        <a:rPr lang="en-GB" sz="1100" u="none" strike="noStrike" noProof="0">
                          <a:effectLst/>
                        </a:rPr>
                        <a:t> Gambia</a:t>
                      </a:r>
                      <a:endParaRPr lang="en-GB" sz="1100" b="1" i="0" u="none" strike="noStrike" noProof="0">
                        <a:solidFill>
                          <a:schemeClr val="tx1"/>
                        </a:solidFill>
                        <a:effectLst/>
                        <a:latin typeface="+mn-lt"/>
                      </a:endParaRPr>
                    </a:p>
                  </a:txBody>
                  <a:tcPr marL="9523" marR="9523" marT="9528" marB="0" anchor="b"/>
                </a:tc>
                <a:tc>
                  <a:txBody>
                    <a:bodyPr/>
                    <a:lstStyle/>
                    <a:p>
                      <a:pPr algn="ctr" fontAlgn="b"/>
                      <a:r>
                        <a:rPr lang="en-GB" sz="1100" u="none" strike="noStrike" noProof="0">
                          <a:effectLst/>
                        </a:rPr>
                        <a:t>2012</a:t>
                      </a:r>
                      <a:endParaRPr lang="en-GB" sz="1100" b="0" i="0" u="none" strike="noStrike" noProof="0">
                        <a:solidFill>
                          <a:schemeClr val="tx1"/>
                        </a:solidFill>
                        <a:effectLst/>
                        <a:latin typeface="+mn-lt"/>
                      </a:endParaRPr>
                    </a:p>
                  </a:txBody>
                  <a:tcPr marL="9523" marR="9523" marT="9528" marB="0" anchor="b"/>
                </a:tc>
                <a:extLst>
                  <a:ext uri="{0D108BD9-81ED-4DB2-BD59-A6C34878D82A}">
                    <a16:rowId xmlns:a16="http://schemas.microsoft.com/office/drawing/2014/main" xmlns="" val="10006"/>
                  </a:ext>
                </a:extLst>
              </a:tr>
              <a:tr h="229996">
                <a:tc>
                  <a:txBody>
                    <a:bodyPr/>
                    <a:lstStyle/>
                    <a:p>
                      <a:pPr algn="l" fontAlgn="b"/>
                      <a:r>
                        <a:rPr lang="en-GB" sz="1100" u="none" strike="noStrike" noProof="0">
                          <a:effectLst/>
                        </a:rPr>
                        <a:t> Ghana</a:t>
                      </a:r>
                      <a:endParaRPr lang="en-GB" sz="1100" b="1" i="0" u="none" strike="noStrike" noProof="0">
                        <a:solidFill>
                          <a:schemeClr val="tx1"/>
                        </a:solidFill>
                        <a:effectLst/>
                        <a:latin typeface="+mn-lt"/>
                      </a:endParaRPr>
                    </a:p>
                  </a:txBody>
                  <a:tcPr marL="9523" marR="9523" marT="9528" marB="0" anchor="b"/>
                </a:tc>
                <a:tc>
                  <a:txBody>
                    <a:bodyPr/>
                    <a:lstStyle/>
                    <a:p>
                      <a:pPr algn="ctr" fontAlgn="b"/>
                      <a:r>
                        <a:rPr lang="en-GB" sz="1100" u="none" strike="noStrike" noProof="0">
                          <a:effectLst/>
                        </a:rPr>
                        <a:t>2012</a:t>
                      </a:r>
                      <a:endParaRPr lang="en-GB" sz="1100" b="0" i="0" u="none" strike="noStrike" noProof="0">
                        <a:solidFill>
                          <a:schemeClr val="tx1"/>
                        </a:solidFill>
                        <a:effectLst/>
                        <a:latin typeface="+mn-lt"/>
                      </a:endParaRPr>
                    </a:p>
                  </a:txBody>
                  <a:tcPr marL="9523" marR="9523" marT="9528" marB="0" anchor="b"/>
                </a:tc>
                <a:extLst>
                  <a:ext uri="{0D108BD9-81ED-4DB2-BD59-A6C34878D82A}">
                    <a16:rowId xmlns:a16="http://schemas.microsoft.com/office/drawing/2014/main" xmlns="" val="10007"/>
                  </a:ext>
                </a:extLst>
              </a:tr>
              <a:tr h="229996">
                <a:tc>
                  <a:txBody>
                    <a:bodyPr/>
                    <a:lstStyle/>
                    <a:p>
                      <a:pPr algn="l" fontAlgn="b"/>
                      <a:r>
                        <a:rPr lang="en-GB" sz="1100" u="none" strike="noStrike" noProof="0">
                          <a:effectLst/>
                        </a:rPr>
                        <a:t> Myanmar</a:t>
                      </a:r>
                      <a:endParaRPr lang="en-GB" sz="1100" b="1" i="0" u="none" strike="noStrike" noProof="0">
                        <a:solidFill>
                          <a:schemeClr val="tx1"/>
                        </a:solidFill>
                        <a:effectLst/>
                        <a:latin typeface="+mn-lt"/>
                      </a:endParaRPr>
                    </a:p>
                  </a:txBody>
                  <a:tcPr marL="9523" marR="9523" marT="9528" marB="0" anchor="b"/>
                </a:tc>
                <a:tc>
                  <a:txBody>
                    <a:bodyPr/>
                    <a:lstStyle/>
                    <a:p>
                      <a:pPr algn="ctr" fontAlgn="b"/>
                      <a:r>
                        <a:rPr lang="en-GB" sz="1100" u="none" strike="noStrike" noProof="0">
                          <a:effectLst/>
                        </a:rPr>
                        <a:t>2012</a:t>
                      </a:r>
                      <a:endParaRPr lang="en-GB" sz="1100" b="0" i="0" u="none" strike="noStrike" noProof="0">
                        <a:solidFill>
                          <a:schemeClr val="tx1"/>
                        </a:solidFill>
                        <a:effectLst/>
                        <a:latin typeface="+mn-lt"/>
                      </a:endParaRPr>
                    </a:p>
                  </a:txBody>
                  <a:tcPr marL="9523" marR="9523" marT="9528" marB="0" anchor="b"/>
                </a:tc>
                <a:extLst>
                  <a:ext uri="{0D108BD9-81ED-4DB2-BD59-A6C34878D82A}">
                    <a16:rowId xmlns:a16="http://schemas.microsoft.com/office/drawing/2014/main" xmlns="" val="10008"/>
                  </a:ext>
                </a:extLst>
              </a:tr>
              <a:tr h="229996">
                <a:tc>
                  <a:txBody>
                    <a:bodyPr/>
                    <a:lstStyle/>
                    <a:p>
                      <a:pPr algn="l" fontAlgn="b"/>
                      <a:r>
                        <a:rPr lang="en-GB" sz="1100" u="none" strike="noStrike" noProof="0">
                          <a:effectLst/>
                        </a:rPr>
                        <a:t> Burundi</a:t>
                      </a:r>
                      <a:endParaRPr lang="en-GB" sz="1100" b="1" i="0" u="none" strike="noStrike" noProof="0">
                        <a:solidFill>
                          <a:schemeClr val="tx1"/>
                        </a:solidFill>
                        <a:effectLst/>
                        <a:latin typeface="+mn-lt"/>
                      </a:endParaRPr>
                    </a:p>
                  </a:txBody>
                  <a:tcPr marL="9523" marR="9523" marT="9528" marB="0" anchor="b"/>
                </a:tc>
                <a:tc>
                  <a:txBody>
                    <a:bodyPr/>
                    <a:lstStyle/>
                    <a:p>
                      <a:pPr algn="ctr" fontAlgn="b"/>
                      <a:r>
                        <a:rPr lang="en-GB" sz="1100" u="none" strike="noStrike" noProof="0">
                          <a:effectLst/>
                        </a:rPr>
                        <a:t>2013 (Jan)</a:t>
                      </a:r>
                      <a:endParaRPr lang="en-GB" sz="1100" b="0" i="0" u="none" strike="noStrike" noProof="0">
                        <a:solidFill>
                          <a:schemeClr val="tx1"/>
                        </a:solidFill>
                        <a:effectLst/>
                        <a:latin typeface="+mn-lt"/>
                      </a:endParaRPr>
                    </a:p>
                  </a:txBody>
                  <a:tcPr marL="9523" marR="9523" marT="9528" marB="0" anchor="b"/>
                </a:tc>
                <a:extLst>
                  <a:ext uri="{0D108BD9-81ED-4DB2-BD59-A6C34878D82A}">
                    <a16:rowId xmlns:a16="http://schemas.microsoft.com/office/drawing/2014/main" xmlns="" val="10009"/>
                  </a:ext>
                </a:extLst>
              </a:tr>
              <a:tr h="229996">
                <a:tc>
                  <a:txBody>
                    <a:bodyPr/>
                    <a:lstStyle/>
                    <a:p>
                      <a:pPr algn="l" fontAlgn="b"/>
                      <a:r>
                        <a:rPr lang="en-GB" sz="1100" u="none" strike="noStrike" noProof="0">
                          <a:effectLst/>
                        </a:rPr>
                        <a:t> Zambia</a:t>
                      </a:r>
                      <a:endParaRPr lang="en-GB" sz="1100" b="1" i="0" u="none" strike="noStrike" noProof="0">
                        <a:solidFill>
                          <a:schemeClr val="tx1"/>
                        </a:solidFill>
                        <a:effectLst/>
                        <a:latin typeface="+mn-lt"/>
                      </a:endParaRPr>
                    </a:p>
                  </a:txBody>
                  <a:tcPr marL="9523" marR="9523" marT="9528" marB="0" anchor="b"/>
                </a:tc>
                <a:tc>
                  <a:txBody>
                    <a:bodyPr/>
                    <a:lstStyle/>
                    <a:p>
                      <a:pPr algn="ctr" fontAlgn="b"/>
                      <a:r>
                        <a:rPr lang="en-GB" sz="1100" u="none" strike="noStrike" noProof="0">
                          <a:effectLst/>
                        </a:rPr>
                        <a:t>2013 (Jul)</a:t>
                      </a:r>
                      <a:endParaRPr lang="en-GB" sz="1100" b="0" i="0" u="none" strike="noStrike" noProof="0">
                        <a:solidFill>
                          <a:schemeClr val="tx1"/>
                        </a:solidFill>
                        <a:effectLst/>
                        <a:latin typeface="+mn-lt"/>
                      </a:endParaRPr>
                    </a:p>
                  </a:txBody>
                  <a:tcPr marL="9523" marR="9523" marT="9528" marB="0" anchor="b"/>
                </a:tc>
                <a:extLst>
                  <a:ext uri="{0D108BD9-81ED-4DB2-BD59-A6C34878D82A}">
                    <a16:rowId xmlns:a16="http://schemas.microsoft.com/office/drawing/2014/main" xmlns="" val="10010"/>
                  </a:ext>
                </a:extLst>
              </a:tr>
              <a:tr h="229996">
                <a:tc>
                  <a:txBody>
                    <a:bodyPr/>
                    <a:lstStyle/>
                    <a:p>
                      <a:pPr algn="l" fontAlgn="b"/>
                      <a:r>
                        <a:rPr lang="en-GB" sz="1100" u="none" strike="noStrike" noProof="0">
                          <a:effectLst/>
                        </a:rPr>
                        <a:t> S Tome &amp; Principe</a:t>
                      </a:r>
                      <a:endParaRPr lang="en-GB" sz="1100" b="1" i="0" u="none" strike="noStrike" noProof="0">
                        <a:solidFill>
                          <a:schemeClr val="tx1"/>
                        </a:solidFill>
                        <a:effectLst/>
                        <a:latin typeface="+mn-lt"/>
                      </a:endParaRPr>
                    </a:p>
                  </a:txBody>
                  <a:tcPr marL="9523" marR="9523" marT="9528" marB="0" anchor="b"/>
                </a:tc>
                <a:tc>
                  <a:txBody>
                    <a:bodyPr/>
                    <a:lstStyle/>
                    <a:p>
                      <a:pPr algn="ctr" fontAlgn="b"/>
                      <a:r>
                        <a:rPr lang="en-GB" sz="1100" u="none" strike="noStrike" noProof="0">
                          <a:effectLst/>
                        </a:rPr>
                        <a:t>2013</a:t>
                      </a:r>
                      <a:r>
                        <a:rPr lang="en-GB" sz="1100" u="none" strike="noStrike" baseline="0" noProof="0">
                          <a:effectLst/>
                        </a:rPr>
                        <a:t> (Oct)</a:t>
                      </a:r>
                      <a:endParaRPr lang="en-GB" sz="1100" b="0" i="0" u="none" strike="noStrike" noProof="0">
                        <a:solidFill>
                          <a:schemeClr val="tx1"/>
                        </a:solidFill>
                        <a:effectLst/>
                        <a:latin typeface="+mn-lt"/>
                      </a:endParaRPr>
                    </a:p>
                  </a:txBody>
                  <a:tcPr marL="9523" marR="9523" marT="9528" marB="0" anchor="b"/>
                </a:tc>
                <a:extLst>
                  <a:ext uri="{0D108BD9-81ED-4DB2-BD59-A6C34878D82A}">
                    <a16:rowId xmlns:a16="http://schemas.microsoft.com/office/drawing/2014/main" xmlns="" val="10011"/>
                  </a:ext>
                </a:extLst>
              </a:tr>
              <a:tr h="229996">
                <a:tc>
                  <a:txBody>
                    <a:bodyPr/>
                    <a:lstStyle/>
                    <a:p>
                      <a:pPr algn="l" fontAlgn="b"/>
                      <a:r>
                        <a:rPr lang="en-GB" sz="1100" u="none" strike="noStrike" noProof="0">
                          <a:effectLst/>
                        </a:rPr>
                        <a:t>Tanzania</a:t>
                      </a:r>
                      <a:endParaRPr lang="en-GB" sz="1100" b="1" i="0" u="none" strike="noStrike" noProof="0">
                        <a:solidFill>
                          <a:schemeClr val="tx1"/>
                        </a:solidFill>
                        <a:effectLst/>
                        <a:latin typeface="+mn-lt"/>
                      </a:endParaRPr>
                    </a:p>
                  </a:txBody>
                  <a:tcPr marL="9523" marR="9523" marT="9528" marB="0" anchor="b"/>
                </a:tc>
                <a:tc>
                  <a:txBody>
                    <a:bodyPr/>
                    <a:lstStyle/>
                    <a:p>
                      <a:pPr algn="ctr" fontAlgn="b"/>
                      <a:r>
                        <a:rPr lang="en-GB" sz="1100" u="none" strike="noStrike" noProof="0">
                          <a:effectLst/>
                        </a:rPr>
                        <a:t>2014 (May)</a:t>
                      </a:r>
                      <a:endParaRPr lang="en-GB" sz="1100" b="0" i="0" u="none" strike="noStrike" noProof="0">
                        <a:solidFill>
                          <a:schemeClr val="tx1"/>
                        </a:solidFill>
                        <a:effectLst/>
                        <a:latin typeface="+mn-lt"/>
                      </a:endParaRPr>
                    </a:p>
                  </a:txBody>
                  <a:tcPr marL="9523" marR="9523" marT="9528" marB="0" anchor="b"/>
                </a:tc>
                <a:extLst>
                  <a:ext uri="{0D108BD9-81ED-4DB2-BD59-A6C34878D82A}">
                    <a16:rowId xmlns:a16="http://schemas.microsoft.com/office/drawing/2014/main" xmlns="" val="10012"/>
                  </a:ext>
                </a:extLst>
              </a:tr>
              <a:tr h="229996">
                <a:tc>
                  <a:txBody>
                    <a:bodyPr/>
                    <a:lstStyle/>
                    <a:p>
                      <a:pPr algn="l" fontAlgn="b"/>
                      <a:r>
                        <a:rPr lang="en-GB" sz="1100" u="none" strike="noStrike" noProof="0">
                          <a:effectLst/>
                        </a:rPr>
                        <a:t>Burkina Faso</a:t>
                      </a:r>
                      <a:endParaRPr lang="en-GB" sz="1100" b="0" i="0" u="none" strike="noStrike" noProof="0">
                        <a:solidFill>
                          <a:schemeClr val="tx1"/>
                        </a:solidFill>
                        <a:effectLst/>
                        <a:latin typeface="+mn-lt"/>
                      </a:endParaRPr>
                    </a:p>
                  </a:txBody>
                  <a:tcPr marL="9523" marR="9523" marT="9528" marB="0" anchor="b"/>
                </a:tc>
                <a:tc>
                  <a:txBody>
                    <a:bodyPr/>
                    <a:lstStyle/>
                    <a:p>
                      <a:pPr algn="ctr" fontAlgn="b"/>
                      <a:r>
                        <a:rPr lang="en-GB" sz="1100" u="none" strike="noStrike" noProof="0">
                          <a:effectLst/>
                        </a:rPr>
                        <a:t>2014 (Oct)</a:t>
                      </a:r>
                      <a:endParaRPr lang="en-GB" sz="1100" b="0" i="0" u="none" strike="noStrike" noProof="0">
                        <a:solidFill>
                          <a:schemeClr val="tx1"/>
                        </a:solidFill>
                        <a:effectLst/>
                        <a:latin typeface="+mn-lt"/>
                      </a:endParaRPr>
                    </a:p>
                  </a:txBody>
                  <a:tcPr marL="9523" marR="9523" marT="9528" marB="0" anchor="b"/>
                </a:tc>
                <a:extLst>
                  <a:ext uri="{0D108BD9-81ED-4DB2-BD59-A6C34878D82A}">
                    <a16:rowId xmlns:a16="http://schemas.microsoft.com/office/drawing/2014/main" xmlns="" val="10013"/>
                  </a:ext>
                </a:extLst>
              </a:tr>
              <a:tr h="229996">
                <a:tc>
                  <a:txBody>
                    <a:bodyPr/>
                    <a:lstStyle/>
                    <a:p>
                      <a:pPr algn="l" fontAlgn="b"/>
                      <a:r>
                        <a:rPr lang="en-GB" sz="1100" u="none" strike="noStrike" noProof="0">
                          <a:effectLst/>
                        </a:rPr>
                        <a:t>Senegal</a:t>
                      </a:r>
                      <a:endParaRPr lang="en-GB" sz="1100" b="0" i="0" u="none" strike="noStrike" noProof="0">
                        <a:solidFill>
                          <a:schemeClr val="tx1"/>
                        </a:solidFill>
                        <a:effectLst/>
                        <a:latin typeface="+mn-lt"/>
                      </a:endParaRPr>
                    </a:p>
                  </a:txBody>
                  <a:tcPr marL="9523" marR="9523" marT="9528" marB="0" anchor="b"/>
                </a:tc>
                <a:tc>
                  <a:txBody>
                    <a:bodyPr/>
                    <a:lstStyle/>
                    <a:p>
                      <a:pPr algn="ctr" fontAlgn="b"/>
                      <a:r>
                        <a:rPr lang="en-GB" sz="1100" u="none" strike="noStrike" noProof="0">
                          <a:effectLst/>
                        </a:rPr>
                        <a:t>2014</a:t>
                      </a:r>
                      <a:endParaRPr lang="en-GB" sz="1100" b="0" i="0" u="none" strike="noStrike" noProof="0">
                        <a:solidFill>
                          <a:schemeClr val="tx1"/>
                        </a:solidFill>
                        <a:effectLst/>
                        <a:latin typeface="+mn-lt"/>
                      </a:endParaRPr>
                    </a:p>
                  </a:txBody>
                  <a:tcPr marL="9523" marR="9523" marT="9528" marB="0" anchor="b"/>
                </a:tc>
                <a:extLst>
                  <a:ext uri="{0D108BD9-81ED-4DB2-BD59-A6C34878D82A}">
                    <a16:rowId xmlns:a16="http://schemas.microsoft.com/office/drawing/2014/main" xmlns="" val="10014"/>
                  </a:ext>
                </a:extLst>
              </a:tr>
              <a:tr h="229996">
                <a:tc>
                  <a:txBody>
                    <a:bodyPr/>
                    <a:lstStyle/>
                    <a:p>
                      <a:pPr algn="l" fontAlgn="b"/>
                      <a:r>
                        <a:rPr lang="en-GB" sz="1100" u="none" strike="noStrike" noProof="0">
                          <a:effectLst/>
                        </a:rPr>
                        <a:t>Malawi</a:t>
                      </a:r>
                      <a:endParaRPr lang="en-GB" sz="1100" b="1" i="0" u="none" strike="noStrike" noProof="0">
                        <a:solidFill>
                          <a:schemeClr val="tx1"/>
                        </a:solidFill>
                        <a:effectLst/>
                        <a:latin typeface="+mn-lt"/>
                      </a:endParaRPr>
                    </a:p>
                  </a:txBody>
                  <a:tcPr marL="9523" marR="9523" marT="9528" marB="0" anchor="b"/>
                </a:tc>
                <a:tc>
                  <a:txBody>
                    <a:bodyPr/>
                    <a:lstStyle/>
                    <a:p>
                      <a:pPr algn="ctr" fontAlgn="b"/>
                      <a:r>
                        <a:rPr lang="en-GB" sz="1100" u="none" strike="noStrike" noProof="0">
                          <a:effectLst/>
                        </a:rPr>
                        <a:t>2015 (Jul)</a:t>
                      </a:r>
                      <a:endParaRPr lang="en-GB" sz="1100" b="0" i="0" u="none" strike="noStrike" noProof="0">
                        <a:solidFill>
                          <a:schemeClr val="tx1"/>
                        </a:solidFill>
                        <a:effectLst/>
                        <a:latin typeface="+mn-lt"/>
                      </a:endParaRPr>
                    </a:p>
                  </a:txBody>
                  <a:tcPr marL="9523" marR="9523" marT="9528" marB="0" anchor="b"/>
                </a:tc>
                <a:extLst>
                  <a:ext uri="{0D108BD9-81ED-4DB2-BD59-A6C34878D82A}">
                    <a16:rowId xmlns:a16="http://schemas.microsoft.com/office/drawing/2014/main" xmlns="" val="10015"/>
                  </a:ext>
                </a:extLst>
              </a:tr>
              <a:tr h="229996">
                <a:tc>
                  <a:txBody>
                    <a:bodyPr/>
                    <a:lstStyle/>
                    <a:p>
                      <a:pPr algn="l" fontAlgn="b"/>
                      <a:r>
                        <a:rPr lang="en-GB" sz="1100" u="none" strike="noStrike" noProof="0">
                          <a:effectLst/>
                        </a:rPr>
                        <a:t>Rwanda</a:t>
                      </a:r>
                      <a:endParaRPr lang="en-GB" sz="1100" b="0" i="0" u="none" strike="noStrike" noProof="0">
                        <a:solidFill>
                          <a:schemeClr val="tx1"/>
                        </a:solidFill>
                        <a:effectLst/>
                        <a:latin typeface="+mn-lt"/>
                      </a:endParaRPr>
                    </a:p>
                  </a:txBody>
                  <a:tcPr marL="9523" marR="9523" marT="9528" marB="0" anchor="b"/>
                </a:tc>
                <a:tc>
                  <a:txBody>
                    <a:bodyPr/>
                    <a:lstStyle/>
                    <a:p>
                      <a:pPr algn="ctr" fontAlgn="b"/>
                      <a:r>
                        <a:rPr lang="en-GB" sz="1100" u="none" strike="noStrike" noProof="0">
                          <a:effectLst/>
                        </a:rPr>
                        <a:t>2015 (Jul)</a:t>
                      </a:r>
                      <a:endParaRPr lang="en-GB" sz="1100" b="0" i="0" u="none" strike="noStrike" noProof="0">
                        <a:solidFill>
                          <a:schemeClr val="tx1"/>
                        </a:solidFill>
                        <a:effectLst/>
                        <a:latin typeface="+mn-lt"/>
                      </a:endParaRPr>
                    </a:p>
                  </a:txBody>
                  <a:tcPr marL="9523" marR="9523" marT="9528" marB="0" anchor="b"/>
                </a:tc>
                <a:extLst>
                  <a:ext uri="{0D108BD9-81ED-4DB2-BD59-A6C34878D82A}">
                    <a16:rowId xmlns:a16="http://schemas.microsoft.com/office/drawing/2014/main" xmlns="" val="10016"/>
                  </a:ext>
                </a:extLst>
              </a:tr>
              <a:tr h="229996">
                <a:tc>
                  <a:txBody>
                    <a:bodyPr/>
                    <a:lstStyle/>
                    <a:p>
                      <a:pPr algn="l" fontAlgn="b"/>
                      <a:r>
                        <a:rPr lang="en-GB" sz="1100" u="none" strike="noStrike" noProof="0">
                          <a:effectLst/>
                        </a:rPr>
                        <a:t>Sierra Leone</a:t>
                      </a:r>
                      <a:endParaRPr lang="en-GB" sz="1100" b="0" i="0" u="none" strike="noStrike" noProof="0">
                        <a:solidFill>
                          <a:schemeClr val="tx1"/>
                        </a:solidFill>
                        <a:effectLst/>
                        <a:latin typeface="+mn-lt"/>
                      </a:endParaRPr>
                    </a:p>
                  </a:txBody>
                  <a:tcPr marL="9523" marR="9523" marT="9528" marB="0" anchor="b"/>
                </a:tc>
                <a:tc>
                  <a:txBody>
                    <a:bodyPr/>
                    <a:lstStyle/>
                    <a:p>
                      <a:pPr algn="ctr" fontAlgn="b"/>
                      <a:r>
                        <a:rPr lang="en-GB" sz="1100" u="none" strike="noStrike" baseline="0" noProof="0">
                          <a:effectLst/>
                        </a:rPr>
                        <a:t>2015 (Sep)</a:t>
                      </a:r>
                      <a:endParaRPr lang="en-GB" sz="1100" b="0" i="0" u="none" strike="noStrike" noProof="0">
                        <a:solidFill>
                          <a:schemeClr val="tx1"/>
                        </a:solidFill>
                        <a:effectLst/>
                        <a:latin typeface="+mn-lt"/>
                      </a:endParaRPr>
                    </a:p>
                  </a:txBody>
                  <a:tcPr marL="9523" marR="9523" marT="9528" marB="0" anchor="b"/>
                </a:tc>
                <a:extLst>
                  <a:ext uri="{0D108BD9-81ED-4DB2-BD59-A6C34878D82A}">
                    <a16:rowId xmlns:a16="http://schemas.microsoft.com/office/drawing/2014/main" xmlns="" val="10017"/>
                  </a:ext>
                </a:extLst>
              </a:tr>
              <a:tr h="229996">
                <a:tc>
                  <a:txBody>
                    <a:bodyPr/>
                    <a:lstStyle/>
                    <a:p>
                      <a:pPr algn="l" fontAlgn="b"/>
                      <a:r>
                        <a:rPr lang="en-GB" sz="1100" u="none" strike="noStrike" noProof="0">
                          <a:effectLst/>
                        </a:rPr>
                        <a:t>Nepal</a:t>
                      </a:r>
                      <a:endParaRPr lang="en-GB" sz="1100" b="0" i="0" u="none" strike="noStrike" noProof="0">
                        <a:solidFill>
                          <a:schemeClr val="tx1"/>
                        </a:solidFill>
                        <a:effectLst/>
                        <a:latin typeface="+mn-lt"/>
                      </a:endParaRPr>
                    </a:p>
                  </a:txBody>
                  <a:tcPr marL="9523" marR="9523" marT="9528" marB="0" anchor="b"/>
                </a:tc>
                <a:tc>
                  <a:txBody>
                    <a:bodyPr/>
                    <a:lstStyle/>
                    <a:p>
                      <a:pPr algn="ctr" fontAlgn="b"/>
                      <a:r>
                        <a:rPr lang="en-GB" sz="1100" u="none" strike="noStrike" baseline="0" noProof="0">
                          <a:effectLst/>
                        </a:rPr>
                        <a:t>2015 (Sep)</a:t>
                      </a:r>
                      <a:endParaRPr lang="en-GB" sz="1100" b="0" i="0" u="none" strike="noStrike" noProof="0">
                        <a:solidFill>
                          <a:schemeClr val="tx1"/>
                        </a:solidFill>
                        <a:effectLst/>
                        <a:latin typeface="+mn-lt"/>
                      </a:endParaRPr>
                    </a:p>
                  </a:txBody>
                  <a:tcPr marL="9523" marR="9523" marT="9528" marB="0" anchor="b"/>
                </a:tc>
                <a:extLst>
                  <a:ext uri="{0D108BD9-81ED-4DB2-BD59-A6C34878D82A}">
                    <a16:rowId xmlns:a16="http://schemas.microsoft.com/office/drawing/2014/main" xmlns="" val="10018"/>
                  </a:ext>
                </a:extLst>
              </a:tr>
              <a:tr h="229996">
                <a:tc>
                  <a:txBody>
                    <a:bodyPr/>
                    <a:lstStyle/>
                    <a:p>
                      <a:pPr algn="l" fontAlgn="b"/>
                      <a:r>
                        <a:rPr lang="en-GB" sz="1100" u="none" strike="noStrike" noProof="0">
                          <a:effectLst/>
                        </a:rPr>
                        <a:t>Zimbabwe</a:t>
                      </a:r>
                      <a:endParaRPr lang="en-GB" sz="1100" b="0" i="0" u="none" strike="noStrike" noProof="0">
                        <a:solidFill>
                          <a:schemeClr val="tx1"/>
                        </a:solidFill>
                        <a:effectLst/>
                        <a:latin typeface="+mn-lt"/>
                      </a:endParaRPr>
                    </a:p>
                  </a:txBody>
                  <a:tcPr marL="9523" marR="9523" marT="9528" marB="0" anchor="b"/>
                </a:tc>
                <a:tc>
                  <a:txBody>
                    <a:bodyPr/>
                    <a:lstStyle/>
                    <a:p>
                      <a:pPr algn="ctr" fontAlgn="b"/>
                      <a:r>
                        <a:rPr lang="en-GB" sz="1100" u="none" strike="noStrike" noProof="0">
                          <a:effectLst/>
                        </a:rPr>
                        <a:t>2015 (Oct)</a:t>
                      </a:r>
                      <a:endParaRPr lang="en-GB" sz="1100" b="0" i="0" u="none" strike="noStrike" noProof="0">
                        <a:solidFill>
                          <a:schemeClr val="tx1"/>
                        </a:solidFill>
                        <a:effectLst/>
                        <a:latin typeface="+mn-lt"/>
                      </a:endParaRPr>
                    </a:p>
                  </a:txBody>
                  <a:tcPr marL="9523" marR="9523" marT="9528" marB="0" anchor="b"/>
                </a:tc>
                <a:extLst>
                  <a:ext uri="{0D108BD9-81ED-4DB2-BD59-A6C34878D82A}">
                    <a16:rowId xmlns:a16="http://schemas.microsoft.com/office/drawing/2014/main" xmlns="" val="10019"/>
                  </a:ext>
                </a:extLst>
              </a:tr>
              <a:tr h="210434">
                <a:tc>
                  <a:txBody>
                    <a:bodyPr/>
                    <a:lstStyle/>
                    <a:p>
                      <a:pPr algn="l" fontAlgn="b"/>
                      <a:r>
                        <a:rPr lang="en-GB" sz="1100" u="none" strike="noStrike" noProof="0">
                          <a:effectLst/>
                        </a:rPr>
                        <a:t>Mozambique</a:t>
                      </a:r>
                      <a:endParaRPr lang="en-GB" sz="1100" b="0" i="0" u="none" strike="noStrike" noProof="0">
                        <a:solidFill>
                          <a:schemeClr val="tx1"/>
                        </a:solidFill>
                        <a:effectLst/>
                        <a:latin typeface="+mn-lt"/>
                      </a:endParaRPr>
                    </a:p>
                  </a:txBody>
                  <a:tcPr marL="9523" marR="9523" marT="9528" marB="0" anchor="b"/>
                </a:tc>
                <a:tc>
                  <a:txBody>
                    <a:bodyPr/>
                    <a:lstStyle/>
                    <a:p>
                      <a:pPr algn="ctr" fontAlgn="b"/>
                      <a:r>
                        <a:rPr lang="en-GB" sz="1100" u="none" strike="noStrike" noProof="0">
                          <a:effectLst/>
                        </a:rPr>
                        <a:t>2015 (Nov)</a:t>
                      </a:r>
                      <a:endParaRPr lang="en-GB" sz="1100" b="0" i="0" u="none" strike="noStrike" noProof="0">
                        <a:solidFill>
                          <a:schemeClr val="tx1"/>
                        </a:solidFill>
                        <a:effectLst/>
                        <a:latin typeface="+mn-lt"/>
                      </a:endParaRPr>
                    </a:p>
                  </a:txBody>
                  <a:tcPr marL="9523" marR="9523" marT="9528" marB="0" anchor="b"/>
                </a:tc>
                <a:extLst>
                  <a:ext uri="{0D108BD9-81ED-4DB2-BD59-A6C34878D82A}">
                    <a16:rowId xmlns:a16="http://schemas.microsoft.com/office/drawing/2014/main" xmlns="" val="10020"/>
                  </a:ext>
                </a:extLst>
              </a:tr>
              <a:tr h="210434">
                <a:tc>
                  <a:txBody>
                    <a:bodyPr/>
                    <a:lstStyle/>
                    <a:p>
                      <a:pPr algn="l" fontAlgn="b"/>
                      <a:r>
                        <a:rPr lang="pt-PT" sz="1100" b="0" i="0" u="none" strike="noStrike" noProof="0">
                          <a:solidFill>
                            <a:schemeClr val="tx1"/>
                          </a:solidFill>
                          <a:effectLst/>
                          <a:latin typeface="+mn-lt"/>
                        </a:rPr>
                        <a:t>Papua New Guinea</a:t>
                      </a:r>
                      <a:endParaRPr lang="en-GB" sz="1100" b="0" i="0" u="none" strike="noStrike" noProof="0">
                        <a:solidFill>
                          <a:schemeClr val="tx1"/>
                        </a:solidFill>
                        <a:effectLst/>
                        <a:latin typeface="+mn-lt"/>
                      </a:endParaRPr>
                    </a:p>
                  </a:txBody>
                  <a:tcPr marL="9523" marR="9523" marT="9528" marB="0" anchor="b"/>
                </a:tc>
                <a:tc>
                  <a:txBody>
                    <a:bodyPr/>
                    <a:lstStyle/>
                    <a:p>
                      <a:pPr algn="ctr" fontAlgn="b"/>
                      <a:r>
                        <a:rPr lang="pt-PT" sz="1100" b="0" i="0" u="none" strike="noStrike" noProof="0">
                          <a:solidFill>
                            <a:schemeClr val="tx1"/>
                          </a:solidFill>
                          <a:effectLst/>
                          <a:latin typeface="+mn-lt"/>
                        </a:rPr>
                        <a:t>2016 (Aug)</a:t>
                      </a:r>
                      <a:endParaRPr lang="en-GB" sz="1100" b="0" i="0" u="none" strike="noStrike" noProof="0">
                        <a:solidFill>
                          <a:schemeClr val="tx1"/>
                        </a:solidFill>
                        <a:effectLst/>
                        <a:latin typeface="+mn-lt"/>
                      </a:endParaRPr>
                    </a:p>
                  </a:txBody>
                  <a:tcPr marL="9523" marR="9523" marT="9528" marB="0" anchor="b"/>
                </a:tc>
                <a:extLst>
                  <a:ext uri="{0D108BD9-81ED-4DB2-BD59-A6C34878D82A}">
                    <a16:rowId xmlns:a16="http://schemas.microsoft.com/office/drawing/2014/main" xmlns="" val="10021"/>
                  </a:ext>
                </a:extLst>
              </a:tr>
            </a:tbl>
          </a:graphicData>
        </a:graphic>
      </p:graphicFrame>
      <p:sp>
        <p:nvSpPr>
          <p:cNvPr id="6" name="TextBox 8"/>
          <p:cNvSpPr txBox="1">
            <a:spLocks noChangeArrowheads="1"/>
          </p:cNvSpPr>
          <p:nvPr/>
        </p:nvSpPr>
        <p:spPr bwMode="auto">
          <a:xfrm>
            <a:off x="3214068" y="1876415"/>
            <a:ext cx="2786340" cy="33855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eaLnBrk="0" hangingPunct="0">
              <a:defRPr sz="1000">
                <a:solidFill>
                  <a:schemeClr val="tx1"/>
                </a:solidFill>
                <a:latin typeface="Arial" charset="0"/>
                <a:ea typeface="ＭＳ Ｐゴシック" pitchFamily="34" charset="-128"/>
              </a:defRPr>
            </a:lvl1pPr>
            <a:lvl2pPr marL="742950" indent="-285750" eaLnBrk="0" hangingPunct="0">
              <a:defRPr sz="1000">
                <a:solidFill>
                  <a:schemeClr val="tx1"/>
                </a:solidFill>
                <a:latin typeface="Arial" charset="0"/>
                <a:ea typeface="ＭＳ Ｐゴシック" pitchFamily="34" charset="-128"/>
              </a:defRPr>
            </a:lvl2pPr>
            <a:lvl3pPr marL="1143000" indent="-228600" eaLnBrk="0" hangingPunct="0">
              <a:defRPr sz="1000">
                <a:solidFill>
                  <a:schemeClr val="tx1"/>
                </a:solidFill>
                <a:latin typeface="Arial" charset="0"/>
                <a:ea typeface="ＭＳ Ｐゴシック" pitchFamily="34" charset="-128"/>
              </a:defRPr>
            </a:lvl3pPr>
            <a:lvl4pPr marL="1600200" indent="-228600" eaLnBrk="0" hangingPunct="0">
              <a:defRPr sz="1000">
                <a:solidFill>
                  <a:schemeClr val="tx1"/>
                </a:solidFill>
                <a:latin typeface="Arial" charset="0"/>
                <a:ea typeface="ＭＳ Ｐゴシック" pitchFamily="34" charset="-128"/>
              </a:defRPr>
            </a:lvl4pPr>
            <a:lvl5pPr marL="2057400" indent="-228600" eaLnBrk="0" hangingPunct="0">
              <a:defRPr sz="1000">
                <a:solidFill>
                  <a:schemeClr val="tx1"/>
                </a:solidFill>
                <a:latin typeface="Arial" charset="0"/>
                <a:ea typeface="ＭＳ Ｐゴシック" pitchFamily="34" charset="-128"/>
              </a:defRPr>
            </a:lvl5pPr>
            <a:lvl6pPr marL="2514600" indent="-228600" defTabSz="457200" eaLnBrk="0" fontAlgn="base" hangingPunct="0">
              <a:spcBef>
                <a:spcPct val="0"/>
              </a:spcBef>
              <a:spcAft>
                <a:spcPct val="0"/>
              </a:spcAft>
              <a:defRPr sz="1000">
                <a:solidFill>
                  <a:schemeClr val="tx1"/>
                </a:solidFill>
                <a:latin typeface="Arial" charset="0"/>
                <a:ea typeface="ＭＳ Ｐゴシック" pitchFamily="34" charset="-128"/>
              </a:defRPr>
            </a:lvl6pPr>
            <a:lvl7pPr marL="2971800" indent="-228600" defTabSz="457200" eaLnBrk="0" fontAlgn="base" hangingPunct="0">
              <a:spcBef>
                <a:spcPct val="0"/>
              </a:spcBef>
              <a:spcAft>
                <a:spcPct val="0"/>
              </a:spcAft>
              <a:defRPr sz="1000">
                <a:solidFill>
                  <a:schemeClr val="tx1"/>
                </a:solidFill>
                <a:latin typeface="Arial" charset="0"/>
                <a:ea typeface="ＭＳ Ｐゴシック" pitchFamily="34" charset="-128"/>
              </a:defRPr>
            </a:lvl7pPr>
            <a:lvl8pPr marL="3429000" indent="-228600" defTabSz="457200" eaLnBrk="0" fontAlgn="base" hangingPunct="0">
              <a:spcBef>
                <a:spcPct val="0"/>
              </a:spcBef>
              <a:spcAft>
                <a:spcPct val="0"/>
              </a:spcAft>
              <a:defRPr sz="1000">
                <a:solidFill>
                  <a:schemeClr val="tx1"/>
                </a:solidFill>
                <a:latin typeface="Arial" charset="0"/>
                <a:ea typeface="ＭＳ Ｐゴシック" pitchFamily="34" charset="-128"/>
              </a:defRPr>
            </a:lvl8pPr>
            <a:lvl9pPr marL="3886200" indent="-228600" defTabSz="457200" eaLnBrk="0" fontAlgn="base" hangingPunct="0">
              <a:spcBef>
                <a:spcPct val="0"/>
              </a:spcBef>
              <a:spcAft>
                <a:spcPct val="0"/>
              </a:spcAft>
              <a:defRPr sz="1000">
                <a:solidFill>
                  <a:schemeClr val="tx1"/>
                </a:solidFill>
                <a:latin typeface="Arial" charset="0"/>
                <a:ea typeface="ＭＳ Ｐゴシック" pitchFamily="34" charset="-128"/>
              </a:defRPr>
            </a:lvl9pPr>
          </a:lstStyle>
          <a:p>
            <a:pPr rtl="1" eaLnBrk="1" fontAlgn="base" hangingPunct="1">
              <a:spcBef>
                <a:spcPct val="0"/>
              </a:spcBef>
              <a:spcAft>
                <a:spcPct val="0"/>
              </a:spcAft>
            </a:pPr>
            <a:r>
              <a:rPr lang="en-GB" sz="1600" b="1">
                <a:solidFill>
                  <a:prstClr val="black"/>
                </a:solidFill>
                <a:cs typeface="Arial" charset="0"/>
              </a:rPr>
              <a:t>Measles SIAs (6 countries)</a:t>
            </a:r>
          </a:p>
        </p:txBody>
      </p:sp>
      <p:graphicFrame>
        <p:nvGraphicFramePr>
          <p:cNvPr id="7" name="Table 6"/>
          <p:cNvGraphicFramePr>
            <a:graphicFrameLocks noGrp="1"/>
          </p:cNvGraphicFramePr>
          <p:nvPr>
            <p:extLst/>
          </p:nvPr>
        </p:nvGraphicFramePr>
        <p:xfrm>
          <a:off x="3226892" y="2214969"/>
          <a:ext cx="2812363" cy="2162526"/>
        </p:xfrm>
        <a:graphic>
          <a:graphicData uri="http://schemas.openxmlformats.org/drawingml/2006/table">
            <a:tbl>
              <a:tblPr firstRow="1" bandRow="1">
                <a:tableStyleId>{00A15C55-8517-42AA-B614-E9B94910E393}</a:tableStyleId>
              </a:tblPr>
              <a:tblGrid>
                <a:gridCol w="1214736">
                  <a:extLst>
                    <a:ext uri="{9D8B030D-6E8A-4147-A177-3AD203B41FA5}">
                      <a16:colId xmlns:a16="http://schemas.microsoft.com/office/drawing/2014/main" xmlns="" val="20000"/>
                    </a:ext>
                  </a:extLst>
                </a:gridCol>
                <a:gridCol w="1597627">
                  <a:extLst>
                    <a:ext uri="{9D8B030D-6E8A-4147-A177-3AD203B41FA5}">
                      <a16:colId xmlns:a16="http://schemas.microsoft.com/office/drawing/2014/main" xmlns="" val="20001"/>
                    </a:ext>
                  </a:extLst>
                </a:gridCol>
              </a:tblGrid>
              <a:tr h="338350">
                <a:tc>
                  <a:txBody>
                    <a:bodyPr/>
                    <a:lstStyle/>
                    <a:p>
                      <a:pPr algn="ctr"/>
                      <a:r>
                        <a:rPr lang="en-GB" sz="1100" noProof="0"/>
                        <a:t>Countries</a:t>
                      </a:r>
                    </a:p>
                  </a:txBody>
                  <a:tcPr marL="91468" marR="91468" marT="45705" marB="45705" anchor="ctr"/>
                </a:tc>
                <a:tc>
                  <a:txBody>
                    <a:bodyPr/>
                    <a:lstStyle/>
                    <a:p>
                      <a:pPr algn="ctr"/>
                      <a:r>
                        <a:rPr lang="en-GB" sz="1100" noProof="0"/>
                        <a:t>Date</a:t>
                      </a:r>
                    </a:p>
                  </a:txBody>
                  <a:tcPr marL="91468" marR="91468" marT="45705" marB="45705" anchor="ctr"/>
                </a:tc>
                <a:extLst>
                  <a:ext uri="{0D108BD9-81ED-4DB2-BD59-A6C34878D82A}">
                    <a16:rowId xmlns:a16="http://schemas.microsoft.com/office/drawing/2014/main" xmlns="" val="10000"/>
                  </a:ext>
                </a:extLst>
              </a:tr>
              <a:tr h="326108">
                <a:tc>
                  <a:txBody>
                    <a:bodyPr/>
                    <a:lstStyle/>
                    <a:p>
                      <a:r>
                        <a:rPr lang="en-GB" sz="1100" noProof="0"/>
                        <a:t>Ethiopia</a:t>
                      </a:r>
                    </a:p>
                  </a:txBody>
                  <a:tcPr marL="91468" marR="91468" marT="45705" marB="45705"/>
                </a:tc>
                <a:tc>
                  <a:txBody>
                    <a:bodyPr/>
                    <a:lstStyle/>
                    <a:p>
                      <a:r>
                        <a:rPr lang="en-GB" sz="1100" noProof="0"/>
                        <a:t>2013</a:t>
                      </a:r>
                    </a:p>
                  </a:txBody>
                  <a:tcPr marL="91468" marR="91468" marT="45705" marB="45705"/>
                </a:tc>
                <a:extLst>
                  <a:ext uri="{0D108BD9-81ED-4DB2-BD59-A6C34878D82A}">
                    <a16:rowId xmlns:a16="http://schemas.microsoft.com/office/drawing/2014/main" xmlns="" val="10001"/>
                  </a:ext>
                </a:extLst>
              </a:tr>
              <a:tr h="326108">
                <a:tc>
                  <a:txBody>
                    <a:bodyPr/>
                    <a:lstStyle/>
                    <a:p>
                      <a:r>
                        <a:rPr lang="en-GB" sz="1100" noProof="0"/>
                        <a:t>Nigeria</a:t>
                      </a:r>
                    </a:p>
                  </a:txBody>
                  <a:tcPr marL="91468" marR="91468" marT="45705" marB="45705"/>
                </a:tc>
                <a:tc>
                  <a:txBody>
                    <a:bodyPr/>
                    <a:lstStyle/>
                    <a:p>
                      <a:r>
                        <a:rPr lang="en-GB" sz="1100" noProof="0"/>
                        <a:t>2013, 2015</a:t>
                      </a:r>
                    </a:p>
                  </a:txBody>
                  <a:tcPr marL="91468" marR="91468" marT="45705" marB="45705"/>
                </a:tc>
                <a:extLst>
                  <a:ext uri="{0D108BD9-81ED-4DB2-BD59-A6C34878D82A}">
                    <a16:rowId xmlns:a16="http://schemas.microsoft.com/office/drawing/2014/main" xmlns="" val="10002"/>
                  </a:ext>
                </a:extLst>
              </a:tr>
              <a:tr h="295473">
                <a:tc>
                  <a:txBody>
                    <a:bodyPr/>
                    <a:lstStyle/>
                    <a:p>
                      <a:r>
                        <a:rPr lang="en-GB" sz="1100" noProof="0"/>
                        <a:t>DRC*</a:t>
                      </a:r>
                    </a:p>
                  </a:txBody>
                  <a:tcPr marL="91468" marR="91468" marT="45705" marB="45705"/>
                </a:tc>
                <a:tc>
                  <a:txBody>
                    <a:bodyPr/>
                    <a:lstStyle/>
                    <a:p>
                      <a:r>
                        <a:rPr lang="en-GB" sz="1100" noProof="0"/>
                        <a:t>2013, 2016</a:t>
                      </a:r>
                    </a:p>
                  </a:txBody>
                  <a:tcPr marL="91468" marR="91468" marT="45705" marB="45705"/>
                </a:tc>
                <a:extLst>
                  <a:ext uri="{0D108BD9-81ED-4DB2-BD59-A6C34878D82A}">
                    <a16:rowId xmlns:a16="http://schemas.microsoft.com/office/drawing/2014/main" xmlns="" val="10003"/>
                  </a:ext>
                </a:extLst>
              </a:tr>
              <a:tr h="257397">
                <a:tc>
                  <a:txBody>
                    <a:bodyPr/>
                    <a:lstStyle/>
                    <a:p>
                      <a:r>
                        <a:rPr lang="en-GB" sz="1100" noProof="0"/>
                        <a:t>Pakistan*</a:t>
                      </a:r>
                    </a:p>
                  </a:txBody>
                  <a:tcPr marL="91468" marR="91468" marT="45705" marB="45705"/>
                </a:tc>
                <a:tc>
                  <a:txBody>
                    <a:bodyPr/>
                    <a:lstStyle/>
                    <a:p>
                      <a:r>
                        <a:rPr lang="en-GB" sz="1100" baseline="0" noProof="0"/>
                        <a:t>2014</a:t>
                      </a:r>
                      <a:endParaRPr lang="en-GB" sz="1100" noProof="0"/>
                    </a:p>
                  </a:txBody>
                  <a:tcPr marL="91468" marR="91468" marT="45705" marB="45705"/>
                </a:tc>
                <a:extLst>
                  <a:ext uri="{0D108BD9-81ED-4DB2-BD59-A6C34878D82A}">
                    <a16:rowId xmlns:a16="http://schemas.microsoft.com/office/drawing/2014/main" xmlns="" val="10004"/>
                  </a:ext>
                </a:extLst>
              </a:tr>
              <a:tr h="291329">
                <a:tc>
                  <a:txBody>
                    <a:bodyPr/>
                    <a:lstStyle/>
                    <a:p>
                      <a:r>
                        <a:rPr lang="en-GB" sz="1100" noProof="0"/>
                        <a:t>Chad*</a:t>
                      </a:r>
                    </a:p>
                  </a:txBody>
                  <a:tcPr marL="91468" marR="91468" marT="45705" marB="45705"/>
                </a:tc>
                <a:tc>
                  <a:txBody>
                    <a:bodyPr/>
                    <a:lstStyle/>
                    <a:p>
                      <a:pPr marL="0" indent="0">
                        <a:buAutoNum type="arabicPlain" startAt="2014"/>
                      </a:pPr>
                      <a:r>
                        <a:rPr lang="en-GB" sz="1100" baseline="0" noProof="0"/>
                        <a:t>, 2016</a:t>
                      </a:r>
                      <a:endParaRPr lang="en-GB" sz="1100" noProof="0"/>
                    </a:p>
                  </a:txBody>
                  <a:tcPr marL="91468" marR="91468" marT="45705" marB="45705"/>
                </a:tc>
                <a:extLst>
                  <a:ext uri="{0D108BD9-81ED-4DB2-BD59-A6C34878D82A}">
                    <a16:rowId xmlns:a16="http://schemas.microsoft.com/office/drawing/2014/main" xmlns="" val="10005"/>
                  </a:ext>
                </a:extLst>
              </a:tr>
              <a:tr h="326108">
                <a:tc>
                  <a:txBody>
                    <a:bodyPr/>
                    <a:lstStyle/>
                    <a:p>
                      <a:r>
                        <a:rPr lang="en-GB" sz="1100" noProof="0"/>
                        <a:t>Afghanistan</a:t>
                      </a:r>
                    </a:p>
                  </a:txBody>
                  <a:tcPr marL="91468" marR="91468" marT="45705" marB="45705"/>
                </a:tc>
                <a:tc>
                  <a:txBody>
                    <a:bodyPr/>
                    <a:lstStyle/>
                    <a:p>
                      <a:r>
                        <a:rPr lang="en-GB" sz="1100" noProof="0"/>
                        <a:t>2015</a:t>
                      </a:r>
                    </a:p>
                  </a:txBody>
                  <a:tcPr marL="91468" marR="91468" marT="45705" marB="45705"/>
                </a:tc>
                <a:extLst>
                  <a:ext uri="{0D108BD9-81ED-4DB2-BD59-A6C34878D82A}">
                    <a16:rowId xmlns:a16="http://schemas.microsoft.com/office/drawing/2014/main" xmlns="" val="10006"/>
                  </a:ext>
                </a:extLst>
              </a:tr>
            </a:tbl>
          </a:graphicData>
        </a:graphic>
      </p:graphicFrame>
      <p:sp>
        <p:nvSpPr>
          <p:cNvPr id="8" name="TextBox 7"/>
          <p:cNvSpPr txBox="1">
            <a:spLocks noChangeArrowheads="1"/>
          </p:cNvSpPr>
          <p:nvPr/>
        </p:nvSpPr>
        <p:spPr bwMode="auto">
          <a:xfrm>
            <a:off x="4860032" y="1196752"/>
            <a:ext cx="4382931" cy="33855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eaLnBrk="0" hangingPunct="0">
              <a:defRPr sz="1000">
                <a:solidFill>
                  <a:schemeClr val="tx1"/>
                </a:solidFill>
                <a:latin typeface="Arial" charset="0"/>
                <a:ea typeface="ＭＳ Ｐゴシック" pitchFamily="34" charset="-128"/>
              </a:defRPr>
            </a:lvl1pPr>
            <a:lvl2pPr marL="742950" indent="-285750" eaLnBrk="0" hangingPunct="0">
              <a:defRPr sz="1000">
                <a:solidFill>
                  <a:schemeClr val="tx1"/>
                </a:solidFill>
                <a:latin typeface="Arial" charset="0"/>
                <a:ea typeface="ＭＳ Ｐゴシック" pitchFamily="34" charset="-128"/>
              </a:defRPr>
            </a:lvl2pPr>
            <a:lvl3pPr marL="1143000" indent="-228600" eaLnBrk="0" hangingPunct="0">
              <a:defRPr sz="1000">
                <a:solidFill>
                  <a:schemeClr val="tx1"/>
                </a:solidFill>
                <a:latin typeface="Arial" charset="0"/>
                <a:ea typeface="ＭＳ Ｐゴシック" pitchFamily="34" charset="-128"/>
              </a:defRPr>
            </a:lvl3pPr>
            <a:lvl4pPr marL="1600200" indent="-228600" eaLnBrk="0" hangingPunct="0">
              <a:defRPr sz="1000">
                <a:solidFill>
                  <a:schemeClr val="tx1"/>
                </a:solidFill>
                <a:latin typeface="Arial" charset="0"/>
                <a:ea typeface="ＭＳ Ｐゴシック" pitchFamily="34" charset="-128"/>
              </a:defRPr>
            </a:lvl4pPr>
            <a:lvl5pPr marL="2057400" indent="-228600" eaLnBrk="0" hangingPunct="0">
              <a:defRPr sz="1000">
                <a:solidFill>
                  <a:schemeClr val="tx1"/>
                </a:solidFill>
                <a:latin typeface="Arial" charset="0"/>
                <a:ea typeface="ＭＳ Ｐゴシック" pitchFamily="34" charset="-128"/>
              </a:defRPr>
            </a:lvl5pPr>
            <a:lvl6pPr marL="2514600" indent="-228600" defTabSz="457200" eaLnBrk="0" fontAlgn="base" hangingPunct="0">
              <a:spcBef>
                <a:spcPct val="0"/>
              </a:spcBef>
              <a:spcAft>
                <a:spcPct val="0"/>
              </a:spcAft>
              <a:defRPr sz="1000">
                <a:solidFill>
                  <a:schemeClr val="tx1"/>
                </a:solidFill>
                <a:latin typeface="Arial" charset="0"/>
                <a:ea typeface="ＭＳ Ｐゴシック" pitchFamily="34" charset="-128"/>
              </a:defRPr>
            </a:lvl6pPr>
            <a:lvl7pPr marL="2971800" indent="-228600" defTabSz="457200" eaLnBrk="0" fontAlgn="base" hangingPunct="0">
              <a:spcBef>
                <a:spcPct val="0"/>
              </a:spcBef>
              <a:spcAft>
                <a:spcPct val="0"/>
              </a:spcAft>
              <a:defRPr sz="1000">
                <a:solidFill>
                  <a:schemeClr val="tx1"/>
                </a:solidFill>
                <a:latin typeface="Arial" charset="0"/>
                <a:ea typeface="ＭＳ Ｐゴシック" pitchFamily="34" charset="-128"/>
              </a:defRPr>
            </a:lvl7pPr>
            <a:lvl8pPr marL="3429000" indent="-228600" defTabSz="457200" eaLnBrk="0" fontAlgn="base" hangingPunct="0">
              <a:spcBef>
                <a:spcPct val="0"/>
              </a:spcBef>
              <a:spcAft>
                <a:spcPct val="0"/>
              </a:spcAft>
              <a:defRPr sz="1000">
                <a:solidFill>
                  <a:schemeClr val="tx1"/>
                </a:solidFill>
                <a:latin typeface="Arial" charset="0"/>
                <a:ea typeface="ＭＳ Ｐゴシック" pitchFamily="34" charset="-128"/>
              </a:defRPr>
            </a:lvl8pPr>
            <a:lvl9pPr marL="3886200" indent="-228600" defTabSz="457200" eaLnBrk="0" fontAlgn="base" hangingPunct="0">
              <a:spcBef>
                <a:spcPct val="0"/>
              </a:spcBef>
              <a:spcAft>
                <a:spcPct val="0"/>
              </a:spcAft>
              <a:defRPr sz="1000">
                <a:solidFill>
                  <a:schemeClr val="tx1"/>
                </a:solidFill>
                <a:latin typeface="Arial" charset="0"/>
                <a:ea typeface="ＭＳ Ｐゴシック" pitchFamily="34" charset="-128"/>
              </a:defRPr>
            </a:lvl9pPr>
          </a:lstStyle>
          <a:p>
            <a:pPr rtl="1" eaLnBrk="1" fontAlgn="base" hangingPunct="1">
              <a:spcBef>
                <a:spcPct val="0"/>
              </a:spcBef>
              <a:spcAft>
                <a:spcPct val="0"/>
              </a:spcAft>
            </a:pPr>
            <a:r>
              <a:rPr lang="en-GB" sz="1600" b="1">
                <a:solidFill>
                  <a:prstClr val="black"/>
                </a:solidFill>
                <a:cs typeface="Arial" charset="0"/>
              </a:rPr>
              <a:t>Measles-Rubella campaigns (20 countries) </a:t>
            </a:r>
          </a:p>
        </p:txBody>
      </p:sp>
      <p:graphicFrame>
        <p:nvGraphicFramePr>
          <p:cNvPr id="9" name="Table 8"/>
          <p:cNvGraphicFramePr>
            <a:graphicFrameLocks noGrp="1"/>
          </p:cNvGraphicFramePr>
          <p:nvPr>
            <p:extLst/>
          </p:nvPr>
        </p:nvGraphicFramePr>
        <p:xfrm>
          <a:off x="6192472" y="1484784"/>
          <a:ext cx="2734626" cy="5290930"/>
        </p:xfrm>
        <a:graphic>
          <a:graphicData uri="http://schemas.openxmlformats.org/drawingml/2006/table">
            <a:tbl>
              <a:tblPr firstRow="1" bandRow="1">
                <a:tableStyleId>{00A15C55-8517-42AA-B614-E9B94910E393}</a:tableStyleId>
              </a:tblPr>
              <a:tblGrid>
                <a:gridCol w="1574177">
                  <a:extLst>
                    <a:ext uri="{9D8B030D-6E8A-4147-A177-3AD203B41FA5}">
                      <a16:colId xmlns:a16="http://schemas.microsoft.com/office/drawing/2014/main" xmlns="" val="20000"/>
                    </a:ext>
                  </a:extLst>
                </a:gridCol>
                <a:gridCol w="1160449">
                  <a:extLst>
                    <a:ext uri="{9D8B030D-6E8A-4147-A177-3AD203B41FA5}">
                      <a16:colId xmlns:a16="http://schemas.microsoft.com/office/drawing/2014/main" xmlns="" val="20001"/>
                    </a:ext>
                  </a:extLst>
                </a:gridCol>
              </a:tblGrid>
              <a:tr h="246800">
                <a:tc>
                  <a:txBody>
                    <a:bodyPr/>
                    <a:lstStyle/>
                    <a:p>
                      <a:pPr algn="ctr"/>
                      <a:r>
                        <a:rPr lang="en-GB" sz="1050" noProof="0"/>
                        <a:t>Countries</a:t>
                      </a:r>
                    </a:p>
                  </a:txBody>
                  <a:tcPr marL="91468" marR="91468" marT="45712" marB="45712"/>
                </a:tc>
                <a:tc>
                  <a:txBody>
                    <a:bodyPr/>
                    <a:lstStyle/>
                    <a:p>
                      <a:pPr algn="ctr"/>
                      <a:r>
                        <a:rPr lang="en-GB" sz="1050" noProof="0"/>
                        <a:t>Date</a:t>
                      </a:r>
                    </a:p>
                  </a:txBody>
                  <a:tcPr marL="91468" marR="91468" marT="45712" marB="45712"/>
                </a:tc>
                <a:extLst>
                  <a:ext uri="{0D108BD9-81ED-4DB2-BD59-A6C34878D82A}">
                    <a16:rowId xmlns:a16="http://schemas.microsoft.com/office/drawing/2014/main" xmlns="" val="10000"/>
                  </a:ext>
                </a:extLst>
              </a:tr>
              <a:tr h="246800">
                <a:tc>
                  <a:txBody>
                    <a:bodyPr/>
                    <a:lstStyle/>
                    <a:p>
                      <a:r>
                        <a:rPr lang="en-GB" sz="1050" noProof="0"/>
                        <a:t>Cambodia</a:t>
                      </a:r>
                      <a:endParaRPr lang="en-GB" sz="1050" noProof="0">
                        <a:solidFill>
                          <a:schemeClr val="tx1"/>
                        </a:solidFill>
                      </a:endParaRPr>
                    </a:p>
                  </a:txBody>
                  <a:tcPr marL="91468" marR="91468" marT="45712" marB="45712"/>
                </a:tc>
                <a:tc>
                  <a:txBody>
                    <a:bodyPr/>
                    <a:lstStyle/>
                    <a:p>
                      <a:pPr algn="ctr"/>
                      <a:r>
                        <a:rPr lang="en-GB" sz="1050" noProof="0"/>
                        <a:t>2013 (Oct)</a:t>
                      </a:r>
                    </a:p>
                  </a:txBody>
                  <a:tcPr marL="91468" marR="91468" marT="45712" marB="45712"/>
                </a:tc>
                <a:extLst>
                  <a:ext uri="{0D108BD9-81ED-4DB2-BD59-A6C34878D82A}">
                    <a16:rowId xmlns:a16="http://schemas.microsoft.com/office/drawing/2014/main" xmlns="" val="10001"/>
                  </a:ext>
                </a:extLst>
              </a:tr>
              <a:tr h="246800">
                <a:tc>
                  <a:txBody>
                    <a:bodyPr/>
                    <a:lstStyle/>
                    <a:p>
                      <a:r>
                        <a:rPr lang="en-GB" sz="1050" noProof="0"/>
                        <a:t>Ghana</a:t>
                      </a:r>
                      <a:endParaRPr lang="en-GB" sz="1050" noProof="0">
                        <a:solidFill>
                          <a:schemeClr val="tx1"/>
                        </a:solidFill>
                      </a:endParaRPr>
                    </a:p>
                  </a:txBody>
                  <a:tcPr marL="91468" marR="91468" marT="45712" marB="45712"/>
                </a:tc>
                <a:tc>
                  <a:txBody>
                    <a:bodyPr/>
                    <a:lstStyle/>
                    <a:p>
                      <a:pPr algn="ctr"/>
                      <a:r>
                        <a:rPr lang="en-GB" sz="1050" noProof="0"/>
                        <a:t>2013 ( Sep)</a:t>
                      </a:r>
                    </a:p>
                  </a:txBody>
                  <a:tcPr marL="91468" marR="91468" marT="45712" marB="45712"/>
                </a:tc>
                <a:extLst>
                  <a:ext uri="{0D108BD9-81ED-4DB2-BD59-A6C34878D82A}">
                    <a16:rowId xmlns:a16="http://schemas.microsoft.com/office/drawing/2014/main" xmlns="" val="10002"/>
                  </a:ext>
                </a:extLst>
              </a:tr>
              <a:tr h="235552">
                <a:tc>
                  <a:txBody>
                    <a:bodyPr/>
                    <a:lstStyle/>
                    <a:p>
                      <a:r>
                        <a:rPr lang="en-GB" sz="1050" noProof="0"/>
                        <a:t>Lao PDR</a:t>
                      </a:r>
                      <a:endParaRPr lang="en-GB" sz="1050" noProof="0">
                        <a:solidFill>
                          <a:schemeClr val="tx1"/>
                        </a:solidFill>
                      </a:endParaRPr>
                    </a:p>
                  </a:txBody>
                  <a:tcPr marL="91468" marR="91468" marT="45712" marB="45712"/>
                </a:tc>
                <a:tc>
                  <a:txBody>
                    <a:bodyPr/>
                    <a:lstStyle/>
                    <a:p>
                      <a:pPr algn="ctr"/>
                      <a:r>
                        <a:rPr lang="en-GB" sz="1050" noProof="0"/>
                        <a:t>VIG for routine</a:t>
                      </a:r>
                    </a:p>
                  </a:txBody>
                  <a:tcPr marL="91468" marR="91468" marT="45712" marB="45712"/>
                </a:tc>
                <a:extLst>
                  <a:ext uri="{0D108BD9-81ED-4DB2-BD59-A6C34878D82A}">
                    <a16:rowId xmlns:a16="http://schemas.microsoft.com/office/drawing/2014/main" xmlns="" val="10003"/>
                  </a:ext>
                </a:extLst>
              </a:tr>
              <a:tr h="262050">
                <a:tc>
                  <a:txBody>
                    <a:bodyPr/>
                    <a:lstStyle/>
                    <a:p>
                      <a:r>
                        <a:rPr lang="en-GB" sz="1050" noProof="0"/>
                        <a:t>Nepal</a:t>
                      </a:r>
                      <a:endParaRPr lang="en-GB" sz="1050" noProof="0">
                        <a:solidFill>
                          <a:schemeClr val="tx1"/>
                        </a:solidFill>
                      </a:endParaRPr>
                    </a:p>
                  </a:txBody>
                  <a:tcPr marL="91468" marR="91468" marT="45712" marB="45712"/>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GB" sz="1050" noProof="0"/>
                        <a:t>VIG for routine</a:t>
                      </a:r>
                    </a:p>
                  </a:txBody>
                  <a:tcPr marL="91468" marR="91468" marT="45712" marB="45712"/>
                </a:tc>
                <a:extLst>
                  <a:ext uri="{0D108BD9-81ED-4DB2-BD59-A6C34878D82A}">
                    <a16:rowId xmlns:a16="http://schemas.microsoft.com/office/drawing/2014/main" xmlns="" val="10004"/>
                  </a:ext>
                </a:extLst>
              </a:tr>
              <a:tr h="246800">
                <a:tc>
                  <a:txBody>
                    <a:bodyPr/>
                    <a:lstStyle/>
                    <a:p>
                      <a:r>
                        <a:rPr lang="en-GB" sz="1050" noProof="0"/>
                        <a:t>Rwanda</a:t>
                      </a:r>
                      <a:r>
                        <a:rPr lang="en-GB" sz="1050" baseline="0" noProof="0"/>
                        <a:t> </a:t>
                      </a:r>
                      <a:endParaRPr lang="en-GB" sz="1050" noProof="0">
                        <a:solidFill>
                          <a:schemeClr val="tx1"/>
                        </a:solidFill>
                      </a:endParaRPr>
                    </a:p>
                  </a:txBody>
                  <a:tcPr marL="91468" marR="91468" marT="45712" marB="45712"/>
                </a:tc>
                <a:tc>
                  <a:txBody>
                    <a:bodyPr/>
                    <a:lstStyle/>
                    <a:p>
                      <a:pPr algn="ctr"/>
                      <a:r>
                        <a:rPr lang="en-GB" sz="1050" noProof="0"/>
                        <a:t>2013 (Mar)</a:t>
                      </a:r>
                    </a:p>
                  </a:txBody>
                  <a:tcPr marL="91468" marR="91468" marT="45712" marB="45712"/>
                </a:tc>
                <a:extLst>
                  <a:ext uri="{0D108BD9-81ED-4DB2-BD59-A6C34878D82A}">
                    <a16:rowId xmlns:a16="http://schemas.microsoft.com/office/drawing/2014/main" xmlns="" val="10005"/>
                  </a:ext>
                </a:extLst>
              </a:tr>
              <a:tr h="246800">
                <a:tc>
                  <a:txBody>
                    <a:bodyPr/>
                    <a:lstStyle/>
                    <a:p>
                      <a:r>
                        <a:rPr lang="en-GB" sz="1050" noProof="0"/>
                        <a:t>Senegal</a:t>
                      </a:r>
                      <a:endParaRPr lang="en-GB" sz="1050" noProof="0">
                        <a:solidFill>
                          <a:schemeClr val="tx1"/>
                        </a:solidFill>
                      </a:endParaRPr>
                    </a:p>
                  </a:txBody>
                  <a:tcPr marL="91468" marR="91468" marT="45712" marB="45712"/>
                </a:tc>
                <a:tc>
                  <a:txBody>
                    <a:bodyPr/>
                    <a:lstStyle/>
                    <a:p>
                      <a:pPr algn="ctr"/>
                      <a:r>
                        <a:rPr lang="en-GB" sz="1050" noProof="0"/>
                        <a:t>2013 (Nov)</a:t>
                      </a:r>
                    </a:p>
                  </a:txBody>
                  <a:tcPr marL="91468" marR="91468" marT="45712" marB="45712"/>
                </a:tc>
                <a:extLst>
                  <a:ext uri="{0D108BD9-81ED-4DB2-BD59-A6C34878D82A}">
                    <a16:rowId xmlns:a16="http://schemas.microsoft.com/office/drawing/2014/main" xmlns="" val="10006"/>
                  </a:ext>
                </a:extLst>
              </a:tr>
              <a:tr h="246800">
                <a:tc>
                  <a:txBody>
                    <a:bodyPr/>
                    <a:lstStyle/>
                    <a:p>
                      <a:r>
                        <a:rPr lang="en-GB" sz="1050" noProof="0"/>
                        <a:t>Viet Nam*</a:t>
                      </a:r>
                      <a:endParaRPr lang="en-GB" sz="1050" noProof="0">
                        <a:solidFill>
                          <a:schemeClr val="tx1"/>
                        </a:solidFill>
                      </a:endParaRPr>
                    </a:p>
                  </a:txBody>
                  <a:tcPr marL="91468" marR="91468" marT="45712" marB="45712"/>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GB" sz="1050" noProof="0"/>
                        <a:t>2014 (Aug)</a:t>
                      </a:r>
                    </a:p>
                  </a:txBody>
                  <a:tcPr marL="91468" marR="91468" marT="45712" marB="45712"/>
                </a:tc>
                <a:extLst>
                  <a:ext uri="{0D108BD9-81ED-4DB2-BD59-A6C34878D82A}">
                    <a16:rowId xmlns:a16="http://schemas.microsoft.com/office/drawing/2014/main" xmlns="" val="10007"/>
                  </a:ext>
                </a:extLst>
              </a:tr>
              <a:tr h="246800">
                <a:tc>
                  <a:txBody>
                    <a:bodyPr/>
                    <a:lstStyle/>
                    <a:p>
                      <a:r>
                        <a:rPr lang="en-GB" sz="1050" noProof="0"/>
                        <a:t>Bangladesh</a:t>
                      </a:r>
                      <a:endParaRPr lang="en-GB" sz="1050" noProof="0">
                        <a:solidFill>
                          <a:schemeClr val="tx1"/>
                        </a:solidFill>
                      </a:endParaRPr>
                    </a:p>
                  </a:txBody>
                  <a:tcPr marL="91468" marR="91468" marT="45712" marB="45712"/>
                </a:tc>
                <a:tc>
                  <a:txBody>
                    <a:bodyPr/>
                    <a:lstStyle/>
                    <a:p>
                      <a:pPr algn="ctr"/>
                      <a:r>
                        <a:rPr lang="en-GB" sz="1050" baseline="0" noProof="0"/>
                        <a:t>2014 (Jan)</a:t>
                      </a:r>
                      <a:endParaRPr lang="en-GB" sz="1050" noProof="0"/>
                    </a:p>
                  </a:txBody>
                  <a:tcPr marL="91468" marR="91468" marT="45712" marB="45712"/>
                </a:tc>
                <a:extLst>
                  <a:ext uri="{0D108BD9-81ED-4DB2-BD59-A6C34878D82A}">
                    <a16:rowId xmlns:a16="http://schemas.microsoft.com/office/drawing/2014/main" xmlns="" val="10008"/>
                  </a:ext>
                </a:extLst>
              </a:tr>
              <a:tr h="246800">
                <a:tc>
                  <a:txBody>
                    <a:bodyPr/>
                    <a:lstStyle/>
                    <a:p>
                      <a:r>
                        <a:rPr lang="en-GB" sz="1050" noProof="0"/>
                        <a:t>Tanzania</a:t>
                      </a:r>
                      <a:endParaRPr lang="en-GB" sz="1050" noProof="0">
                        <a:solidFill>
                          <a:schemeClr val="tx1"/>
                        </a:solidFill>
                      </a:endParaRPr>
                    </a:p>
                  </a:txBody>
                  <a:tcPr marL="91468" marR="91468" marT="45712" marB="45712"/>
                </a:tc>
                <a:tc>
                  <a:txBody>
                    <a:bodyPr/>
                    <a:lstStyle/>
                    <a:p>
                      <a:pPr algn="ctr"/>
                      <a:r>
                        <a:rPr lang="en-GB" sz="1050" noProof="0"/>
                        <a:t>2014 (Oct)</a:t>
                      </a:r>
                    </a:p>
                  </a:txBody>
                  <a:tcPr marL="91468" marR="91468" marT="45712" marB="45712"/>
                </a:tc>
                <a:extLst>
                  <a:ext uri="{0D108BD9-81ED-4DB2-BD59-A6C34878D82A}">
                    <a16:rowId xmlns:a16="http://schemas.microsoft.com/office/drawing/2014/main" xmlns="" val="10009"/>
                  </a:ext>
                </a:extLst>
              </a:tr>
              <a:tr h="246800">
                <a:tc>
                  <a:txBody>
                    <a:bodyPr/>
                    <a:lstStyle/>
                    <a:p>
                      <a:r>
                        <a:rPr lang="en-GB" sz="1050" noProof="0"/>
                        <a:t>Burkina</a:t>
                      </a:r>
                      <a:r>
                        <a:rPr lang="en-GB" sz="1050" baseline="0" noProof="0"/>
                        <a:t> Faso</a:t>
                      </a:r>
                      <a:endParaRPr lang="en-GB" sz="1050" noProof="0">
                        <a:solidFill>
                          <a:schemeClr val="tx1"/>
                        </a:solidFill>
                      </a:endParaRPr>
                    </a:p>
                  </a:txBody>
                  <a:tcPr marL="91468" marR="91468" marT="45712" marB="45712"/>
                </a:tc>
                <a:tc>
                  <a:txBody>
                    <a:bodyPr/>
                    <a:lstStyle/>
                    <a:p>
                      <a:pPr algn="ctr"/>
                      <a:r>
                        <a:rPr lang="en-GB" sz="1050" noProof="0"/>
                        <a:t>2014 (Nov)</a:t>
                      </a:r>
                    </a:p>
                  </a:txBody>
                  <a:tcPr marL="91468" marR="91468" marT="45712" marB="45712"/>
                </a:tc>
                <a:extLst>
                  <a:ext uri="{0D108BD9-81ED-4DB2-BD59-A6C34878D82A}">
                    <a16:rowId xmlns:a16="http://schemas.microsoft.com/office/drawing/2014/main" xmlns="" val="10010"/>
                  </a:ext>
                </a:extLst>
              </a:tr>
              <a:tr h="246800">
                <a:tc>
                  <a:txBody>
                    <a:bodyPr/>
                    <a:lstStyle/>
                    <a:p>
                      <a:r>
                        <a:rPr lang="en-GB" sz="1050" noProof="0"/>
                        <a:t>Solomon Islands</a:t>
                      </a:r>
                      <a:endParaRPr lang="en-GB" sz="1050" noProof="0">
                        <a:solidFill>
                          <a:schemeClr val="tx1"/>
                        </a:solidFill>
                      </a:endParaRPr>
                    </a:p>
                  </a:txBody>
                  <a:tcPr marL="91468" marR="91468" marT="45712" marB="45712"/>
                </a:tc>
                <a:tc>
                  <a:txBody>
                    <a:bodyPr/>
                    <a:lstStyle/>
                    <a:p>
                      <a:pPr algn="ctr"/>
                      <a:r>
                        <a:rPr lang="en-GB" sz="1050" noProof="0"/>
                        <a:t>2014</a:t>
                      </a:r>
                    </a:p>
                  </a:txBody>
                  <a:tcPr marL="91468" marR="91468" marT="45712" marB="45712"/>
                </a:tc>
                <a:extLst>
                  <a:ext uri="{0D108BD9-81ED-4DB2-BD59-A6C34878D82A}">
                    <a16:rowId xmlns:a16="http://schemas.microsoft.com/office/drawing/2014/main" xmlns="" val="10011"/>
                  </a:ext>
                </a:extLst>
              </a:tr>
              <a:tr h="246800">
                <a:tc>
                  <a:txBody>
                    <a:bodyPr/>
                    <a:lstStyle/>
                    <a:p>
                      <a:r>
                        <a:rPr lang="en-GB" sz="1050" noProof="0"/>
                        <a:t>Yemen</a:t>
                      </a:r>
                      <a:endParaRPr lang="en-GB" sz="1050" noProof="0">
                        <a:solidFill>
                          <a:schemeClr val="tx1"/>
                        </a:solidFill>
                      </a:endParaRPr>
                    </a:p>
                  </a:txBody>
                  <a:tcPr marL="91468" marR="91468" marT="45712" marB="45712"/>
                </a:tc>
                <a:tc>
                  <a:txBody>
                    <a:bodyPr/>
                    <a:lstStyle/>
                    <a:p>
                      <a:pPr algn="ctr"/>
                      <a:r>
                        <a:rPr lang="en-GB" sz="1050" noProof="0"/>
                        <a:t>2014 </a:t>
                      </a:r>
                      <a:r>
                        <a:rPr lang="en-GB" sz="1050" baseline="0" noProof="0"/>
                        <a:t>(Nov)</a:t>
                      </a:r>
                      <a:endParaRPr lang="en-GB" sz="1050" noProof="0"/>
                    </a:p>
                  </a:txBody>
                  <a:tcPr marL="91468" marR="91468" marT="45712" marB="45712"/>
                </a:tc>
                <a:extLst>
                  <a:ext uri="{0D108BD9-81ED-4DB2-BD59-A6C34878D82A}">
                    <a16:rowId xmlns:a16="http://schemas.microsoft.com/office/drawing/2014/main" xmlns="" val="10012"/>
                  </a:ext>
                </a:extLst>
              </a:tr>
              <a:tr h="246800">
                <a:tc>
                  <a:txBody>
                    <a:bodyPr/>
                    <a:lstStyle/>
                    <a:p>
                      <a:r>
                        <a:rPr lang="en-GB" sz="1050" noProof="0"/>
                        <a:t>Myanmar</a:t>
                      </a:r>
                      <a:endParaRPr lang="en-GB" sz="1050" b="0" noProof="0">
                        <a:solidFill>
                          <a:schemeClr val="tx1"/>
                        </a:solidFill>
                      </a:endParaRPr>
                    </a:p>
                  </a:txBody>
                  <a:tcPr marL="91468" marR="91468" marT="45712" marB="45712"/>
                </a:tc>
                <a:tc>
                  <a:txBody>
                    <a:bodyPr/>
                    <a:lstStyle/>
                    <a:p>
                      <a:pPr algn="ctr"/>
                      <a:r>
                        <a:rPr lang="en-GB" sz="1050" noProof="0"/>
                        <a:t>2015 (Jan)</a:t>
                      </a:r>
                      <a:endParaRPr lang="en-GB" sz="1050" b="0" noProof="0">
                        <a:solidFill>
                          <a:schemeClr val="tx1"/>
                        </a:solidFill>
                      </a:endParaRPr>
                    </a:p>
                  </a:txBody>
                  <a:tcPr marL="91468" marR="91468" marT="45712" marB="45712"/>
                </a:tc>
                <a:extLst>
                  <a:ext uri="{0D108BD9-81ED-4DB2-BD59-A6C34878D82A}">
                    <a16:rowId xmlns:a16="http://schemas.microsoft.com/office/drawing/2014/main" xmlns="" val="10013"/>
                  </a:ext>
                </a:extLst>
              </a:tr>
              <a:tr h="246800">
                <a:tc>
                  <a:txBody>
                    <a:bodyPr/>
                    <a:lstStyle/>
                    <a:p>
                      <a:r>
                        <a:rPr lang="en-GB" sz="1050" noProof="0"/>
                        <a:t>PNG</a:t>
                      </a:r>
                      <a:endParaRPr lang="en-GB" sz="1050" b="0" noProof="0">
                        <a:solidFill>
                          <a:schemeClr val="tx1"/>
                        </a:solidFill>
                      </a:endParaRPr>
                    </a:p>
                  </a:txBody>
                  <a:tcPr marL="91468" marR="91468" marT="45712" marB="45712"/>
                </a:tc>
                <a:tc>
                  <a:txBody>
                    <a:bodyPr/>
                    <a:lstStyle/>
                    <a:p>
                      <a:pPr algn="ctr"/>
                      <a:r>
                        <a:rPr lang="en-GB" sz="1050" noProof="0"/>
                        <a:t>2015 (Aug)</a:t>
                      </a:r>
                      <a:endParaRPr lang="en-GB" sz="1050" b="0" noProof="0">
                        <a:solidFill>
                          <a:schemeClr val="tx1"/>
                        </a:solidFill>
                      </a:endParaRPr>
                    </a:p>
                  </a:txBody>
                  <a:tcPr marL="91468" marR="91468" marT="45712" marB="45712"/>
                </a:tc>
                <a:extLst>
                  <a:ext uri="{0D108BD9-81ED-4DB2-BD59-A6C34878D82A}">
                    <a16:rowId xmlns:a16="http://schemas.microsoft.com/office/drawing/2014/main" xmlns="" val="10014"/>
                  </a:ext>
                </a:extLst>
              </a:tr>
              <a:tr h="246800">
                <a:tc>
                  <a:txBody>
                    <a:bodyPr/>
                    <a:lstStyle/>
                    <a:p>
                      <a:r>
                        <a:rPr lang="en-GB" sz="1050" noProof="0"/>
                        <a:t>Zimbabwe</a:t>
                      </a:r>
                      <a:endParaRPr lang="en-GB" sz="1050" b="0" noProof="0">
                        <a:solidFill>
                          <a:schemeClr val="tx1"/>
                        </a:solidFill>
                      </a:endParaRPr>
                    </a:p>
                  </a:txBody>
                  <a:tcPr marL="91468" marR="91468" marT="45712" marB="45712"/>
                </a:tc>
                <a:tc>
                  <a:txBody>
                    <a:bodyPr/>
                    <a:lstStyle/>
                    <a:p>
                      <a:pPr algn="ctr"/>
                      <a:r>
                        <a:rPr lang="en-GB" sz="1050" noProof="0"/>
                        <a:t>2015 (Sep)</a:t>
                      </a:r>
                      <a:endParaRPr lang="en-GB" sz="1050" b="0" noProof="0"/>
                    </a:p>
                  </a:txBody>
                  <a:tcPr marL="91468" marR="91468" marT="45712" marB="45712"/>
                </a:tc>
                <a:extLst>
                  <a:ext uri="{0D108BD9-81ED-4DB2-BD59-A6C34878D82A}">
                    <a16:rowId xmlns:a16="http://schemas.microsoft.com/office/drawing/2014/main" xmlns="" val="10015"/>
                  </a:ext>
                </a:extLst>
              </a:tr>
              <a:tr h="246800">
                <a:tc>
                  <a:txBody>
                    <a:bodyPr/>
                    <a:lstStyle/>
                    <a:p>
                      <a:r>
                        <a:rPr lang="en-GB" sz="1050" noProof="0"/>
                        <a:t>Cameroon</a:t>
                      </a:r>
                      <a:endParaRPr lang="en-GB" sz="1050" noProof="0">
                        <a:solidFill>
                          <a:srgbClr val="0033A0"/>
                        </a:solidFill>
                      </a:endParaRPr>
                    </a:p>
                  </a:txBody>
                  <a:tcPr marL="91468" marR="91468" marT="45712" marB="45712"/>
                </a:tc>
                <a:tc>
                  <a:txBody>
                    <a:bodyPr/>
                    <a:lstStyle/>
                    <a:p>
                      <a:pPr algn="ctr"/>
                      <a:r>
                        <a:rPr lang="en-GB" sz="1050" noProof="0"/>
                        <a:t>2015 (Nov)</a:t>
                      </a:r>
                    </a:p>
                  </a:txBody>
                  <a:tcPr marL="91468" marR="91468" marT="45712" marB="45712"/>
                </a:tc>
                <a:extLst>
                  <a:ext uri="{0D108BD9-81ED-4DB2-BD59-A6C34878D82A}">
                    <a16:rowId xmlns:a16="http://schemas.microsoft.com/office/drawing/2014/main" xmlns="" val="10016"/>
                  </a:ext>
                </a:extLst>
              </a:tr>
              <a:tr h="246800">
                <a:tc>
                  <a:txBody>
                    <a:bodyPr/>
                    <a:lstStyle/>
                    <a:p>
                      <a:r>
                        <a:rPr lang="en-GB" sz="1050" noProof="0"/>
                        <a:t>Gambia</a:t>
                      </a:r>
                      <a:endParaRPr lang="en-GB" sz="1050" noProof="0">
                        <a:solidFill>
                          <a:schemeClr val="tx1">
                            <a:lumMod val="95000"/>
                            <a:lumOff val="5000"/>
                          </a:schemeClr>
                        </a:solidFill>
                      </a:endParaRPr>
                    </a:p>
                  </a:txBody>
                  <a:tcPr marL="91468" marR="91468" marT="45712" marB="45712"/>
                </a:tc>
                <a:tc>
                  <a:txBody>
                    <a:bodyPr/>
                    <a:lstStyle/>
                    <a:p>
                      <a:pPr algn="ctr"/>
                      <a:r>
                        <a:rPr lang="en-GB" sz="1050" baseline="0" noProof="0"/>
                        <a:t>2016 (Apr)</a:t>
                      </a:r>
                      <a:endParaRPr lang="en-GB" sz="1050" noProof="0">
                        <a:solidFill>
                          <a:schemeClr val="tx1">
                            <a:lumMod val="95000"/>
                            <a:lumOff val="5000"/>
                          </a:schemeClr>
                        </a:solidFill>
                      </a:endParaRPr>
                    </a:p>
                  </a:txBody>
                  <a:tcPr marL="91468" marR="91468" marT="45712" marB="45712" anchor="ctr"/>
                </a:tc>
                <a:extLst>
                  <a:ext uri="{0D108BD9-81ED-4DB2-BD59-A6C34878D82A}">
                    <a16:rowId xmlns:a16="http://schemas.microsoft.com/office/drawing/2014/main" xmlns="" val="10017"/>
                  </a:ext>
                </a:extLst>
              </a:tr>
              <a:tr h="246800">
                <a:tc>
                  <a:txBody>
                    <a:bodyPr/>
                    <a:lstStyle/>
                    <a:p>
                      <a:r>
                        <a:rPr lang="fr-CH" sz="1050" noProof="0"/>
                        <a:t>Kenya</a:t>
                      </a:r>
                      <a:endParaRPr lang="en-GB" sz="1050" noProof="0">
                        <a:solidFill>
                          <a:schemeClr val="tx1">
                            <a:lumMod val="95000"/>
                            <a:lumOff val="5000"/>
                          </a:schemeClr>
                        </a:solidFill>
                      </a:endParaRPr>
                    </a:p>
                  </a:txBody>
                  <a:tcPr marL="91468" marR="91468" marT="45712" marB="45712"/>
                </a:tc>
                <a:tc>
                  <a:txBody>
                    <a:bodyPr/>
                    <a:lstStyle/>
                    <a:p>
                      <a:pPr algn="ctr"/>
                      <a:r>
                        <a:rPr lang="fr-CH" sz="1050" noProof="0"/>
                        <a:t>2016 (May)</a:t>
                      </a:r>
                      <a:endParaRPr lang="en-GB" sz="1050" noProof="0">
                        <a:solidFill>
                          <a:schemeClr val="tx1">
                            <a:lumMod val="95000"/>
                            <a:lumOff val="5000"/>
                          </a:schemeClr>
                        </a:solidFill>
                      </a:endParaRPr>
                    </a:p>
                  </a:txBody>
                  <a:tcPr marL="91468" marR="91468" marT="45712" marB="45712" anchor="ctr"/>
                </a:tc>
                <a:extLst>
                  <a:ext uri="{0D108BD9-81ED-4DB2-BD59-A6C34878D82A}">
                    <a16:rowId xmlns:a16="http://schemas.microsoft.com/office/drawing/2014/main" xmlns="" val="10018"/>
                  </a:ext>
                </a:extLst>
              </a:tr>
              <a:tr h="246800">
                <a:tc>
                  <a:txBody>
                    <a:bodyPr/>
                    <a:lstStyle/>
                    <a:p>
                      <a:r>
                        <a:rPr lang="en-US" sz="1050" noProof="0"/>
                        <a:t>Zambia</a:t>
                      </a:r>
                      <a:endParaRPr lang="en-GB" sz="1050" noProof="0">
                        <a:solidFill>
                          <a:schemeClr val="tx1"/>
                        </a:solidFill>
                      </a:endParaRPr>
                    </a:p>
                  </a:txBody>
                  <a:tcPr marL="91468" marR="91468" marT="45712" marB="45712"/>
                </a:tc>
                <a:tc>
                  <a:txBody>
                    <a:bodyPr/>
                    <a:lstStyle/>
                    <a:p>
                      <a:pPr algn="ctr"/>
                      <a:r>
                        <a:rPr lang="en-US" sz="1050" noProof="0"/>
                        <a:t>2016 (Sep)</a:t>
                      </a:r>
                      <a:endParaRPr lang="en-GB" sz="1050" noProof="0">
                        <a:solidFill>
                          <a:schemeClr val="tx1"/>
                        </a:solidFill>
                      </a:endParaRPr>
                    </a:p>
                  </a:txBody>
                  <a:tcPr marL="91468" marR="91468" marT="45712" marB="45712" anchor="ctr"/>
                </a:tc>
                <a:extLst>
                  <a:ext uri="{0D108BD9-81ED-4DB2-BD59-A6C34878D82A}">
                    <a16:rowId xmlns:a16="http://schemas.microsoft.com/office/drawing/2014/main" xmlns="" val="10019"/>
                  </a:ext>
                </a:extLst>
              </a:tr>
              <a:tr h="246800">
                <a:tc>
                  <a:txBody>
                    <a:bodyPr/>
                    <a:lstStyle/>
                    <a:p>
                      <a:r>
                        <a:rPr lang="fr-CH" sz="1050" noProof="0"/>
                        <a:t>Sao Tome e Principe</a:t>
                      </a:r>
                      <a:endParaRPr lang="en-GB" sz="1050" noProof="0">
                        <a:solidFill>
                          <a:srgbClr val="FF0000"/>
                        </a:solidFill>
                      </a:endParaRPr>
                    </a:p>
                  </a:txBody>
                  <a:tcPr marL="91468" marR="91468" marT="45712" marB="45712"/>
                </a:tc>
                <a:tc>
                  <a:txBody>
                    <a:bodyPr/>
                    <a:lstStyle/>
                    <a:p>
                      <a:pPr algn="ctr"/>
                      <a:r>
                        <a:rPr lang="fr-CH" sz="1050" noProof="0"/>
                        <a:t>2016 (</a:t>
                      </a:r>
                      <a:r>
                        <a:rPr lang="fr-CH" sz="1050" noProof="0" err="1"/>
                        <a:t>Nov</a:t>
                      </a:r>
                      <a:r>
                        <a:rPr lang="fr-CH" sz="1050" noProof="0"/>
                        <a:t>)</a:t>
                      </a:r>
                      <a:endParaRPr lang="en-GB" sz="1050" noProof="0">
                        <a:solidFill>
                          <a:srgbClr val="FF0000"/>
                        </a:solidFill>
                      </a:endParaRPr>
                    </a:p>
                  </a:txBody>
                  <a:tcPr marL="91468" marR="91468" marT="45712" marB="45712" anchor="ctr"/>
                </a:tc>
                <a:extLst>
                  <a:ext uri="{0D108BD9-81ED-4DB2-BD59-A6C34878D82A}">
                    <a16:rowId xmlns:a16="http://schemas.microsoft.com/office/drawing/2014/main" xmlns="" val="10020"/>
                  </a:ext>
                </a:extLst>
              </a:tr>
            </a:tbl>
          </a:graphicData>
        </a:graphic>
      </p:graphicFrame>
      <p:sp>
        <p:nvSpPr>
          <p:cNvPr id="10" name="TextBox 9"/>
          <p:cNvSpPr txBox="1"/>
          <p:nvPr/>
        </p:nvSpPr>
        <p:spPr>
          <a:xfrm>
            <a:off x="3239717" y="4554511"/>
            <a:ext cx="859531" cy="253916"/>
          </a:xfrm>
          <a:prstGeom prst="rect">
            <a:avLst/>
          </a:prstGeom>
          <a:noFill/>
        </p:spPr>
        <p:txBody>
          <a:bodyPr wrap="none" rtlCol="0">
            <a:spAutoFit/>
          </a:bodyPr>
          <a:lstStyle/>
          <a:p>
            <a:pPr rtl="1" fontAlgn="base">
              <a:spcBef>
                <a:spcPct val="0"/>
              </a:spcBef>
              <a:spcAft>
                <a:spcPct val="0"/>
              </a:spcAft>
            </a:pPr>
            <a:r>
              <a:rPr lang="en-GB" sz="1050" b="1">
                <a:solidFill>
                  <a:prstClr val="black"/>
                </a:solidFill>
                <a:cs typeface="Arial" charset="0"/>
              </a:rPr>
              <a:t>* In phases</a:t>
            </a:r>
          </a:p>
        </p:txBody>
      </p:sp>
    </p:spTree>
    <p:extLst>
      <p:ext uri="{BB962C8B-B14F-4D97-AF65-F5344CB8AC3E}">
        <p14:creationId xmlns:p14="http://schemas.microsoft.com/office/powerpoint/2010/main" val="2557235220"/>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a:xfrm>
            <a:off x="935038" y="0"/>
            <a:ext cx="7669410" cy="1036638"/>
          </a:xfrm>
        </p:spPr>
        <p:txBody>
          <a:bodyPr/>
          <a:lstStyle/>
          <a:p>
            <a:r>
              <a:rPr lang="en-US"/>
              <a:t>Gavi support to enable successful implementation of Measles and Rubella strategy</a:t>
            </a:r>
            <a:endParaRPr lang="en-GB"/>
          </a:p>
        </p:txBody>
      </p:sp>
      <p:sp>
        <p:nvSpPr>
          <p:cNvPr id="9" name="Content Placeholder 8"/>
          <p:cNvSpPr>
            <a:spLocks noGrp="1"/>
          </p:cNvSpPr>
          <p:nvPr>
            <p:ph idx="1"/>
          </p:nvPr>
        </p:nvSpPr>
        <p:spPr>
          <a:xfrm>
            <a:off x="935038" y="1196752"/>
            <a:ext cx="7345362" cy="5184576"/>
          </a:xfrm>
        </p:spPr>
        <p:txBody>
          <a:bodyPr/>
          <a:lstStyle/>
          <a:p>
            <a:pPr marL="457200" indent="-457200">
              <a:buFont typeface="+mj-lt"/>
              <a:buAutoNum type="arabicPeriod"/>
            </a:pPr>
            <a:r>
              <a:rPr lang="pt-PT" sz="2400"/>
              <a:t>New Vaccine Support (NVS) for Measles and Rubella</a:t>
            </a:r>
          </a:p>
          <a:p>
            <a:pPr marL="485775" lvl="1" indent="-342900">
              <a:buFont typeface="Arial" panose="020B0604020202020204" pitchFamily="34" charset="0"/>
              <a:buChar char="•"/>
            </a:pPr>
            <a:r>
              <a:rPr lang="pt-PT" sz="1800"/>
              <a:t>Measles and Measles-Rubella vaccines and devices</a:t>
            </a:r>
          </a:p>
          <a:p>
            <a:pPr marL="485775" lvl="1" indent="-342900">
              <a:buFont typeface="Arial" panose="020B0604020202020204" pitchFamily="34" charset="0"/>
              <a:buChar char="•"/>
            </a:pPr>
            <a:r>
              <a:rPr lang="pt-PT" sz="1800"/>
              <a:t>Vaccine Introduction Grants and Campaign Operational Costs</a:t>
            </a:r>
          </a:p>
          <a:p>
            <a:pPr marL="342900" indent="-342900">
              <a:buFont typeface="Arial" panose="020B0604020202020204" pitchFamily="34" charset="0"/>
              <a:buChar char="•"/>
            </a:pPr>
            <a:endParaRPr lang="pt-PT" sz="2400"/>
          </a:p>
          <a:p>
            <a:pPr marL="457200" indent="-457200">
              <a:buFont typeface="+mj-lt"/>
              <a:buAutoNum type="arabicPeriod" startAt="2"/>
            </a:pPr>
            <a:r>
              <a:rPr lang="pt-PT" sz="2400"/>
              <a:t>Partners’ Engagement Framework (PEF)</a:t>
            </a:r>
          </a:p>
          <a:p>
            <a:pPr marL="485775" lvl="1" indent="-342900">
              <a:buFont typeface="Arial" panose="020B0604020202020204" pitchFamily="34" charset="0"/>
              <a:buChar char="•"/>
            </a:pPr>
            <a:r>
              <a:rPr lang="pt-PT" sz="1800"/>
              <a:t>Foundational support (FS)</a:t>
            </a:r>
          </a:p>
          <a:p>
            <a:pPr marL="485775" lvl="1" indent="-342900">
              <a:buFont typeface="Arial" panose="020B0604020202020204" pitchFamily="34" charset="0"/>
              <a:buChar char="•"/>
            </a:pPr>
            <a:r>
              <a:rPr lang="pt-PT" sz="1800"/>
              <a:t>Targeted country assistance (TCA)</a:t>
            </a:r>
          </a:p>
          <a:p>
            <a:pPr marL="485775" lvl="1" indent="-342900">
              <a:buFont typeface="Arial" panose="020B0604020202020204" pitchFamily="34" charset="0"/>
              <a:buChar char="•"/>
            </a:pPr>
            <a:r>
              <a:rPr lang="pt-PT" sz="1800"/>
              <a:t>Strategic Focus Areas (SFA)</a:t>
            </a:r>
          </a:p>
          <a:p>
            <a:pPr marL="342900" indent="-342900">
              <a:buFont typeface="Arial" panose="020B0604020202020204" pitchFamily="34" charset="0"/>
              <a:buChar char="•"/>
            </a:pPr>
            <a:endParaRPr lang="pt-PT" sz="2400"/>
          </a:p>
          <a:p>
            <a:pPr marL="457200" indent="-457200">
              <a:buFont typeface="+mj-lt"/>
              <a:buAutoNum type="arabicPeriod" startAt="3"/>
            </a:pPr>
            <a:r>
              <a:rPr lang="pt-PT" sz="2400"/>
              <a:t>Health Systems and Immunisation Strengthening (HSIS)</a:t>
            </a:r>
          </a:p>
          <a:p>
            <a:pPr marL="485775" lvl="1" indent="-342900">
              <a:buFont typeface="Arial" panose="020B0604020202020204" pitchFamily="34" charset="0"/>
              <a:buChar char="•"/>
            </a:pPr>
            <a:r>
              <a:rPr lang="pt-PT" sz="1800"/>
              <a:t>Routine immunisation strengthening (MCV1 and MCV2)</a:t>
            </a:r>
          </a:p>
          <a:p>
            <a:pPr marL="485775" lvl="1" indent="-342900">
              <a:buFont typeface="Arial" panose="020B0604020202020204" pitchFamily="34" charset="0"/>
              <a:buChar char="•"/>
            </a:pPr>
            <a:r>
              <a:rPr lang="pt-PT" sz="1800"/>
              <a:t>Strengthening of measles, rubella and/or CRS surveillance</a:t>
            </a:r>
          </a:p>
          <a:p>
            <a:pPr marL="342900" indent="-342900">
              <a:buFont typeface="Arial" panose="020B0604020202020204" pitchFamily="34" charset="0"/>
              <a:buChar char="•"/>
            </a:pPr>
            <a:endParaRPr lang="en-GB" sz="2400"/>
          </a:p>
        </p:txBody>
      </p:sp>
      <p:sp>
        <p:nvSpPr>
          <p:cNvPr id="7" name="Footer Placeholder 6"/>
          <p:cNvSpPr>
            <a:spLocks noGrp="1"/>
          </p:cNvSpPr>
          <p:nvPr>
            <p:ph type="ftr" sz="quarter" idx="11"/>
          </p:nvPr>
        </p:nvSpPr>
        <p:spPr/>
        <p:txBody>
          <a:bodyPr/>
          <a:lstStyle/>
          <a:p>
            <a:pPr>
              <a:defRPr/>
            </a:pPr>
            <a:r>
              <a:rPr lang="en-US">
                <a:solidFill>
                  <a:srgbClr val="005CB9"/>
                </a:solidFill>
              </a:rPr>
              <a:t>#</a:t>
            </a:r>
            <a:r>
              <a:rPr lang="en-US" err="1">
                <a:solidFill>
                  <a:srgbClr val="005CB9"/>
                </a:solidFill>
              </a:rPr>
              <a:t>vaccineswork</a:t>
            </a:r>
            <a:endParaRPr lang="en-US">
              <a:solidFill>
                <a:srgbClr val="005CB9"/>
              </a:solidFill>
            </a:endParaRPr>
          </a:p>
        </p:txBody>
      </p:sp>
      <p:sp>
        <p:nvSpPr>
          <p:cNvPr id="6" name="Slide Number Placeholder 5"/>
          <p:cNvSpPr>
            <a:spLocks noGrp="1"/>
          </p:cNvSpPr>
          <p:nvPr>
            <p:ph type="sldNum" sz="quarter" idx="12"/>
          </p:nvPr>
        </p:nvSpPr>
        <p:spPr>
          <a:xfrm>
            <a:off x="34926" y="6482180"/>
            <a:ext cx="432618" cy="375819"/>
          </a:xfrm>
        </p:spPr>
        <p:txBody>
          <a:bodyPr/>
          <a:lstStyle/>
          <a:p>
            <a:pPr algn="ctr">
              <a:defRPr/>
            </a:pPr>
            <a:fld id="{669CD8F2-86ED-43C7-A24E-82A206DEE6AE}" type="slidenum">
              <a:rPr lang="en-US" smtClean="0">
                <a:solidFill>
                  <a:srgbClr val="343434"/>
                </a:solidFill>
              </a:rPr>
              <a:pPr algn="ctr">
                <a:defRPr/>
              </a:pPr>
              <a:t>12</a:t>
            </a:fld>
            <a:endParaRPr lang="en-US">
              <a:solidFill>
                <a:srgbClr val="343434"/>
              </a:solidFill>
            </a:endParaRPr>
          </a:p>
        </p:txBody>
      </p:sp>
    </p:spTree>
    <p:extLst>
      <p:ext uri="{BB962C8B-B14F-4D97-AF65-F5344CB8AC3E}">
        <p14:creationId xmlns:p14="http://schemas.microsoft.com/office/powerpoint/2010/main" val="377632776"/>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re 5"/>
          <p:cNvSpPr>
            <a:spLocks noGrp="1"/>
          </p:cNvSpPr>
          <p:nvPr>
            <p:ph type="title"/>
          </p:nvPr>
        </p:nvSpPr>
        <p:spPr>
          <a:xfrm>
            <a:off x="842162" y="115962"/>
            <a:ext cx="7834294" cy="920006"/>
          </a:xfrm>
        </p:spPr>
        <p:txBody>
          <a:bodyPr/>
          <a:lstStyle/>
          <a:p>
            <a:r>
              <a:rPr lang="en-US">
                <a:latin typeface="+mn-lt"/>
              </a:rPr>
              <a:t>1. NVS for Measles and Rubella</a:t>
            </a:r>
          </a:p>
        </p:txBody>
      </p:sp>
      <p:sp>
        <p:nvSpPr>
          <p:cNvPr id="3" name="Espace réservé du numéro de diapositive 2"/>
          <p:cNvSpPr>
            <a:spLocks noGrp="1"/>
          </p:cNvSpPr>
          <p:nvPr>
            <p:ph type="sldNum" sz="quarter" idx="15"/>
          </p:nvPr>
        </p:nvSpPr>
        <p:spPr/>
        <p:txBody>
          <a:bodyPr/>
          <a:lstStyle/>
          <a:p>
            <a:fld id="{733122C9-A0B9-462F-8757-0847AD287B63}" type="slidenum">
              <a:rPr lang="en-US" smtClean="0">
                <a:solidFill>
                  <a:srgbClr val="343434"/>
                </a:solidFill>
              </a:rPr>
              <a:pPr/>
              <a:t>13</a:t>
            </a:fld>
            <a:endParaRPr lang="en-US">
              <a:solidFill>
                <a:srgbClr val="343434"/>
              </a:solidFill>
            </a:endParaRPr>
          </a:p>
        </p:txBody>
      </p:sp>
      <p:sp>
        <p:nvSpPr>
          <p:cNvPr id="14" name="Content Placeholder 2"/>
          <p:cNvSpPr txBox="1">
            <a:spLocks/>
          </p:cNvSpPr>
          <p:nvPr/>
        </p:nvSpPr>
        <p:spPr>
          <a:xfrm>
            <a:off x="808795" y="1272166"/>
            <a:ext cx="8335205" cy="5225471"/>
          </a:xfrm>
          <a:prstGeom prst="rect">
            <a:avLst/>
          </a:prstGeom>
        </p:spPr>
        <p:txBody>
          <a:bodyPr/>
          <a:lstStyle>
            <a:lvl1pPr algn="l" rtl="0" eaLnBrk="0" fontAlgn="base" hangingPunct="0">
              <a:lnSpc>
                <a:spcPct val="110000"/>
              </a:lnSpc>
              <a:spcBef>
                <a:spcPct val="0"/>
              </a:spcBef>
              <a:spcAft>
                <a:spcPct val="0"/>
              </a:spcAft>
              <a:buFont typeface="Arial" charset="0"/>
              <a:defRPr sz="2000" b="1" kern="1200">
                <a:solidFill>
                  <a:srgbClr val="005CB9"/>
                </a:solidFill>
                <a:latin typeface="+mn-lt"/>
                <a:ea typeface="+mn-ea"/>
                <a:cs typeface="+mn-cs"/>
              </a:defRPr>
            </a:lvl1pPr>
            <a:lvl2pPr marL="142875" algn="l" rtl="0" eaLnBrk="0" fontAlgn="base" hangingPunct="0">
              <a:spcBef>
                <a:spcPts val="300"/>
              </a:spcBef>
              <a:spcAft>
                <a:spcPct val="0"/>
              </a:spcAft>
              <a:buFont typeface="Arial" charset="0"/>
              <a:defRPr sz="1600" b="1" kern="1200">
                <a:solidFill>
                  <a:schemeClr val="tx2"/>
                </a:solidFill>
                <a:latin typeface="+mn-lt"/>
                <a:ea typeface="+mn-ea"/>
                <a:cs typeface="+mn-cs"/>
              </a:defRPr>
            </a:lvl2pPr>
            <a:lvl3pPr marL="142875" indent="107950" algn="l" rtl="0" eaLnBrk="0" fontAlgn="base" hangingPunct="0">
              <a:spcBef>
                <a:spcPts val="300"/>
              </a:spcBef>
              <a:spcAft>
                <a:spcPct val="0"/>
              </a:spcAft>
              <a:buSzPct val="100000"/>
              <a:buFont typeface="Arial" charset="0"/>
              <a:buChar char="•"/>
              <a:defRPr sz="1400" b="1" kern="1200">
                <a:solidFill>
                  <a:schemeClr val="tx2"/>
                </a:solidFill>
                <a:latin typeface="+mn-lt"/>
                <a:ea typeface="+mn-ea"/>
                <a:cs typeface="+mn-cs"/>
              </a:defRPr>
            </a:lvl3pPr>
            <a:lvl4pPr marL="358775" algn="l" rtl="0" eaLnBrk="0" fontAlgn="base" hangingPunct="0">
              <a:spcBef>
                <a:spcPts val="300"/>
              </a:spcBef>
              <a:spcAft>
                <a:spcPct val="0"/>
              </a:spcAft>
              <a:buSzPct val="100000"/>
              <a:buFont typeface="Arial" charset="0"/>
              <a:defRPr sz="1400" kern="1200">
                <a:solidFill>
                  <a:schemeClr val="tx2"/>
                </a:solidFill>
                <a:latin typeface="+mn-lt"/>
                <a:ea typeface="+mn-ea"/>
                <a:cs typeface="+mn-cs"/>
              </a:defRPr>
            </a:lvl4pPr>
            <a:lvl5pPr marL="503238" indent="107950" algn="l" rtl="0" eaLnBrk="0" fontAlgn="base" hangingPunct="0">
              <a:spcBef>
                <a:spcPts val="300"/>
              </a:spcBef>
              <a:spcAft>
                <a:spcPct val="0"/>
              </a:spcAft>
              <a:buSzPct val="100000"/>
              <a:buFont typeface="Arial" charset="0"/>
              <a:buChar char="•"/>
              <a:defRPr sz="12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85750" indent="-285750">
              <a:spcAft>
                <a:spcPts val="600"/>
              </a:spcAft>
              <a:buFont typeface="Arial" panose="020B0604020202020204" pitchFamily="34" charset="0"/>
              <a:buChar char="•"/>
            </a:pPr>
            <a:r>
              <a:rPr lang="en-GB"/>
              <a:t>Routine measles 2nd dose and MR 1st &amp; 2</a:t>
            </a:r>
            <a:r>
              <a:rPr lang="en-GB" baseline="30000"/>
              <a:t>nd</a:t>
            </a:r>
            <a:r>
              <a:rPr lang="en-GB"/>
              <a:t> dose </a:t>
            </a:r>
          </a:p>
          <a:p>
            <a:pPr marL="428625" lvl="1" indent="-285750">
              <a:spcAft>
                <a:spcPts val="600"/>
              </a:spcAft>
              <a:buFont typeface="Arial" panose="020B0604020202020204" pitchFamily="34" charset="0"/>
              <a:buChar char="•"/>
            </a:pPr>
            <a:r>
              <a:rPr lang="pt-PT" sz="1800" b="0">
                <a:solidFill>
                  <a:prstClr val="black"/>
                </a:solidFill>
              </a:rPr>
              <a:t>Previously Gavi supported measles second dose for 60 months</a:t>
            </a:r>
            <a:endParaRPr lang="en-GB" sz="1800" b="0">
              <a:solidFill>
                <a:prstClr val="black"/>
              </a:solidFill>
            </a:endParaRPr>
          </a:p>
          <a:p>
            <a:pPr marL="428625" lvl="1" indent="-285750">
              <a:spcAft>
                <a:spcPts val="600"/>
              </a:spcAft>
              <a:buFont typeface="Arial" panose="020B0604020202020204" pitchFamily="34" charset="0"/>
              <a:buChar char="•"/>
            </a:pPr>
            <a:r>
              <a:rPr lang="en-GB" sz="1800" b="0">
                <a:solidFill>
                  <a:prstClr val="black"/>
                </a:solidFill>
              </a:rPr>
              <a:t>Now M2, MR1 and MR2 supported with co-financing</a:t>
            </a:r>
          </a:p>
          <a:p>
            <a:pPr marL="285750" indent="-285750">
              <a:spcAft>
                <a:spcPts val="600"/>
              </a:spcAft>
              <a:buFont typeface="Arial" panose="020B0604020202020204" pitchFamily="34" charset="0"/>
              <a:buChar char="•"/>
            </a:pPr>
            <a:endParaRPr lang="en-GB" sz="800"/>
          </a:p>
          <a:p>
            <a:pPr marL="285750" indent="-285750">
              <a:spcAft>
                <a:spcPts val="600"/>
              </a:spcAft>
              <a:buFont typeface="Arial" panose="020B0604020202020204" pitchFamily="34" charset="0"/>
              <a:buChar char="•"/>
            </a:pPr>
            <a:r>
              <a:rPr lang="en-GB"/>
              <a:t>Wide age initial MR catch-up SIA </a:t>
            </a:r>
          </a:p>
          <a:p>
            <a:pPr marL="428625" lvl="1" indent="-285750">
              <a:spcAft>
                <a:spcPts val="600"/>
              </a:spcAft>
              <a:buFont typeface="Arial" panose="020B0604020202020204" pitchFamily="34" charset="0"/>
              <a:buChar char="•"/>
            </a:pPr>
            <a:r>
              <a:rPr lang="en-GB" sz="1800" b="0">
                <a:solidFill>
                  <a:prstClr val="black"/>
                </a:solidFill>
              </a:rPr>
              <a:t>Support of males and females aged 9 months – 14 years; any expansion of target pop is country financed</a:t>
            </a:r>
          </a:p>
          <a:p>
            <a:pPr marL="428625" lvl="1" indent="-285750">
              <a:spcAft>
                <a:spcPts val="600"/>
              </a:spcAft>
              <a:buFont typeface="Arial" panose="020B0604020202020204" pitchFamily="34" charset="0"/>
              <a:buChar char="•"/>
            </a:pPr>
            <a:endParaRPr lang="en-GB" sz="800" b="0">
              <a:solidFill>
                <a:prstClr val="black"/>
              </a:solidFill>
            </a:endParaRPr>
          </a:p>
          <a:p>
            <a:pPr marL="285750" indent="-285750">
              <a:spcAft>
                <a:spcPts val="600"/>
              </a:spcAft>
              <a:buFont typeface="Arial" panose="020B0604020202020204" pitchFamily="34" charset="0"/>
              <a:buChar char="•"/>
            </a:pPr>
            <a:r>
              <a:rPr lang="en-GB"/>
              <a:t>Measles and MR follow up SIA</a:t>
            </a:r>
            <a:r>
              <a:rPr lang="en-GB" b="0"/>
              <a:t> </a:t>
            </a:r>
          </a:p>
          <a:p>
            <a:pPr marL="428625" lvl="1" indent="-285750">
              <a:spcAft>
                <a:spcPts val="600"/>
              </a:spcAft>
              <a:buFont typeface="Arial" panose="020B0604020202020204" pitchFamily="34" charset="0"/>
              <a:buChar char="•"/>
            </a:pPr>
            <a:r>
              <a:rPr lang="pt-PT" sz="1800" b="0">
                <a:solidFill>
                  <a:prstClr val="black"/>
                </a:solidFill>
              </a:rPr>
              <a:t>Previously only 6 priority countries, now all Gavi eligible countries</a:t>
            </a:r>
          </a:p>
          <a:p>
            <a:pPr marL="428625" lvl="1" indent="-285750">
              <a:spcAft>
                <a:spcPts val="600"/>
              </a:spcAft>
              <a:buFont typeface="Arial" panose="020B0604020202020204" pitchFamily="34" charset="0"/>
              <a:buChar char="•"/>
            </a:pPr>
            <a:r>
              <a:rPr lang="pt-PT" sz="1800" b="0">
                <a:solidFill>
                  <a:prstClr val="black"/>
                </a:solidFill>
              </a:rPr>
              <a:t>Focus on children 9mo – 5yo; countries </a:t>
            </a:r>
            <a:r>
              <a:rPr lang="en-GB" sz="1800" b="0">
                <a:solidFill>
                  <a:prstClr val="black"/>
                </a:solidFill>
              </a:rPr>
              <a:t>can adjust target age within funding envelope IF evidence provided by the country supports this</a:t>
            </a:r>
            <a:endParaRPr lang="en-GB" b="0">
              <a:solidFill>
                <a:srgbClr val="005CB9"/>
              </a:solidFill>
            </a:endParaRPr>
          </a:p>
          <a:p>
            <a:pPr marL="428625" lvl="1" indent="-285750">
              <a:spcAft>
                <a:spcPts val="600"/>
              </a:spcAft>
              <a:buFont typeface="Arial" panose="020B0604020202020204" pitchFamily="34" charset="0"/>
              <a:buChar char="•"/>
            </a:pPr>
            <a:r>
              <a:rPr lang="en-GB" sz="1800" b="0">
                <a:solidFill>
                  <a:prstClr val="black"/>
                </a:solidFill>
              </a:rPr>
              <a:t>Countries co-finance vaccine costs from 2018 onwards</a:t>
            </a:r>
            <a:endParaRPr lang="en-GB" sz="1100" b="0">
              <a:solidFill>
                <a:prstClr val="black"/>
              </a:solidFill>
            </a:endParaRPr>
          </a:p>
          <a:p>
            <a:pPr marL="285750" indent="-285750">
              <a:spcAft>
                <a:spcPts val="600"/>
              </a:spcAft>
              <a:buFont typeface="Arial" panose="020B0604020202020204" pitchFamily="34" charset="0"/>
              <a:buChar char="•"/>
            </a:pPr>
            <a:endParaRPr lang="en-GB" sz="800" b="0"/>
          </a:p>
          <a:p>
            <a:pPr marL="285750" indent="-285750">
              <a:spcAft>
                <a:spcPts val="600"/>
              </a:spcAft>
              <a:buFont typeface="Arial" panose="020B0604020202020204" pitchFamily="34" charset="0"/>
              <a:buChar char="•"/>
            </a:pPr>
            <a:r>
              <a:rPr lang="en-GB"/>
              <a:t>Outbreak response fund </a:t>
            </a:r>
            <a:r>
              <a:rPr lang="en-GB" b="0"/>
              <a:t>(through M&amp;RI)</a:t>
            </a:r>
          </a:p>
          <a:p>
            <a:pPr>
              <a:spcAft>
                <a:spcPts val="600"/>
              </a:spcAft>
            </a:pPr>
            <a:endParaRPr lang="en-GB" b="0"/>
          </a:p>
          <a:p>
            <a:pPr marL="666900" lvl="1" indent="-342900"/>
            <a:endParaRPr lang="fr-CH" sz="2000" b="0">
              <a:solidFill>
                <a:srgbClr val="343434"/>
              </a:solidFill>
              <a:sym typeface="Wingdings" panose="05000000000000000000" pitchFamily="2" charset="2"/>
            </a:endParaRPr>
          </a:p>
        </p:txBody>
      </p:sp>
    </p:spTree>
    <p:extLst>
      <p:ext uri="{BB962C8B-B14F-4D97-AF65-F5344CB8AC3E}">
        <p14:creationId xmlns:p14="http://schemas.microsoft.com/office/powerpoint/2010/main" val="2201650002"/>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txBox="1">
            <a:spLocks/>
          </p:cNvSpPr>
          <p:nvPr/>
        </p:nvSpPr>
        <p:spPr bwMode="gray">
          <a:xfrm>
            <a:off x="270186" y="386323"/>
            <a:ext cx="8603629" cy="369332"/>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2"/>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algn="l" defTabSz="913526" rtl="0" eaLnBrk="1" fontAlgn="base" hangingPunct="1">
              <a:spcBef>
                <a:spcPct val="0"/>
              </a:spcBef>
              <a:spcAft>
                <a:spcPct val="0"/>
              </a:spcAft>
              <a:tabLst>
                <a:tab pos="275353" algn="l"/>
              </a:tabLst>
              <a:defRPr sz="2000" b="0" cap="none" baseline="0">
                <a:solidFill>
                  <a:schemeClr val="accent1"/>
                </a:solidFill>
                <a:latin typeface="+mj-lt"/>
                <a:ea typeface="Arial Unicode MS" pitchFamily="34" charset="-128"/>
                <a:cs typeface="Arial Unicode MS" pitchFamily="34" charset="-128"/>
              </a:defRPr>
            </a:lvl1pPr>
            <a:lvl2pPr algn="l" defTabSz="913526" rtl="0" eaLnBrk="1" fontAlgn="base" hangingPunct="1">
              <a:spcBef>
                <a:spcPct val="0"/>
              </a:spcBef>
              <a:spcAft>
                <a:spcPct val="0"/>
              </a:spcAft>
              <a:defRPr sz="1900" b="1">
                <a:solidFill>
                  <a:schemeClr val="tx2"/>
                </a:solidFill>
                <a:latin typeface="Arial" charset="0"/>
              </a:defRPr>
            </a:lvl2pPr>
            <a:lvl3pPr algn="l" defTabSz="913526" rtl="0" eaLnBrk="1" fontAlgn="base" hangingPunct="1">
              <a:spcBef>
                <a:spcPct val="0"/>
              </a:spcBef>
              <a:spcAft>
                <a:spcPct val="0"/>
              </a:spcAft>
              <a:defRPr sz="1900" b="1">
                <a:solidFill>
                  <a:schemeClr val="tx2"/>
                </a:solidFill>
                <a:latin typeface="Arial" charset="0"/>
              </a:defRPr>
            </a:lvl3pPr>
            <a:lvl4pPr algn="l" defTabSz="913526" rtl="0" eaLnBrk="1" fontAlgn="base" hangingPunct="1">
              <a:spcBef>
                <a:spcPct val="0"/>
              </a:spcBef>
              <a:spcAft>
                <a:spcPct val="0"/>
              </a:spcAft>
              <a:defRPr sz="1900" b="1">
                <a:solidFill>
                  <a:schemeClr val="tx2"/>
                </a:solidFill>
                <a:latin typeface="Arial" charset="0"/>
              </a:defRPr>
            </a:lvl4pPr>
            <a:lvl5pPr algn="l" defTabSz="913526" rtl="0" eaLnBrk="1" fontAlgn="base" hangingPunct="1">
              <a:spcBef>
                <a:spcPct val="0"/>
              </a:spcBef>
              <a:spcAft>
                <a:spcPct val="0"/>
              </a:spcAft>
              <a:defRPr sz="1900" b="1">
                <a:solidFill>
                  <a:schemeClr val="tx2"/>
                </a:solidFill>
                <a:latin typeface="Arial" charset="0"/>
              </a:defRPr>
            </a:lvl5pPr>
            <a:lvl6pPr marL="466481" algn="l" defTabSz="913526" rtl="0" eaLnBrk="1" fontAlgn="base" hangingPunct="1">
              <a:spcBef>
                <a:spcPct val="0"/>
              </a:spcBef>
              <a:spcAft>
                <a:spcPct val="0"/>
              </a:spcAft>
              <a:defRPr sz="1900" b="1">
                <a:solidFill>
                  <a:schemeClr val="tx2"/>
                </a:solidFill>
                <a:latin typeface="Arial" charset="0"/>
              </a:defRPr>
            </a:lvl6pPr>
            <a:lvl7pPr marL="932962" algn="l" defTabSz="913526" rtl="0" eaLnBrk="1" fontAlgn="base" hangingPunct="1">
              <a:spcBef>
                <a:spcPct val="0"/>
              </a:spcBef>
              <a:spcAft>
                <a:spcPct val="0"/>
              </a:spcAft>
              <a:defRPr sz="1900" b="1">
                <a:solidFill>
                  <a:schemeClr val="tx2"/>
                </a:solidFill>
                <a:latin typeface="Arial" charset="0"/>
              </a:defRPr>
            </a:lvl7pPr>
            <a:lvl8pPr marL="1399443" algn="l" defTabSz="913526" rtl="0" eaLnBrk="1" fontAlgn="base" hangingPunct="1">
              <a:spcBef>
                <a:spcPct val="0"/>
              </a:spcBef>
              <a:spcAft>
                <a:spcPct val="0"/>
              </a:spcAft>
              <a:defRPr sz="1900" b="1">
                <a:solidFill>
                  <a:schemeClr val="tx2"/>
                </a:solidFill>
                <a:latin typeface="Arial" charset="0"/>
              </a:defRPr>
            </a:lvl8pPr>
            <a:lvl9pPr marL="1865925" algn="l" defTabSz="913526" rtl="0" eaLnBrk="1" fontAlgn="base" hangingPunct="1">
              <a:spcBef>
                <a:spcPct val="0"/>
              </a:spcBef>
              <a:spcAft>
                <a:spcPct val="0"/>
              </a:spcAft>
              <a:defRPr sz="1900" b="1">
                <a:solidFill>
                  <a:schemeClr val="tx2"/>
                </a:solidFill>
                <a:latin typeface="Arial" charset="0"/>
              </a:defRPr>
            </a:lvl9pPr>
          </a:lstStyle>
          <a:p>
            <a:r>
              <a:rPr lang="en-US" sz="2400" kern="0">
                <a:solidFill>
                  <a:srgbClr val="005CB9"/>
                </a:solidFill>
              </a:rPr>
              <a:t>2. Partners’ Engagement Framework (PEF): Key principles</a:t>
            </a:r>
            <a:endParaRPr lang="en-GB" sz="2400" kern="0">
              <a:solidFill>
                <a:srgbClr val="005CB9"/>
              </a:solidFill>
            </a:endParaRPr>
          </a:p>
        </p:txBody>
      </p:sp>
      <p:sp>
        <p:nvSpPr>
          <p:cNvPr id="10" name="TextBox 9"/>
          <p:cNvSpPr txBox="1"/>
          <p:nvPr/>
        </p:nvSpPr>
        <p:spPr>
          <a:xfrm>
            <a:off x="611560" y="926718"/>
            <a:ext cx="8392229" cy="2862322"/>
          </a:xfrm>
          <a:prstGeom prst="rect">
            <a:avLst/>
          </a:prstGeom>
          <a:noFill/>
        </p:spPr>
        <p:txBody>
          <a:bodyPr wrap="square" rtlCol="0">
            <a:spAutoFit/>
          </a:bodyPr>
          <a:lstStyle/>
          <a:p>
            <a:pPr marL="285750" indent="-285750">
              <a:buClr>
                <a:srgbClr val="95D600"/>
              </a:buClr>
              <a:buFont typeface="Arial" charset="0"/>
              <a:buChar char="•"/>
            </a:pPr>
            <a:r>
              <a:rPr lang="en-GB" sz="2000">
                <a:solidFill>
                  <a:srgbClr val="005CB9"/>
                </a:solidFill>
                <a:cs typeface="Arial" charset="0"/>
              </a:rPr>
              <a:t>PEF is a new model aimed at purposeful partnerships</a:t>
            </a:r>
            <a:br>
              <a:rPr lang="en-GB" sz="2000">
                <a:solidFill>
                  <a:srgbClr val="005CB9"/>
                </a:solidFill>
                <a:cs typeface="Arial" charset="0"/>
              </a:rPr>
            </a:br>
            <a:endParaRPr lang="en-GB" sz="2000">
              <a:solidFill>
                <a:srgbClr val="005CB9"/>
              </a:solidFill>
              <a:cs typeface="Arial" charset="0"/>
            </a:endParaRPr>
          </a:p>
          <a:p>
            <a:pPr marL="285750" indent="-285750">
              <a:buClr>
                <a:srgbClr val="95D600"/>
              </a:buClr>
              <a:buFont typeface="Arial" charset="0"/>
              <a:buChar char="•"/>
            </a:pPr>
            <a:r>
              <a:rPr lang="en-GB" sz="2000">
                <a:solidFill>
                  <a:srgbClr val="005CB9"/>
                </a:solidFill>
                <a:cs typeface="Arial" charset="0"/>
              </a:rPr>
              <a:t>Replaces the Business Plan model applied in 2011-2015</a:t>
            </a:r>
          </a:p>
          <a:p>
            <a:pPr marL="285750" indent="-285750">
              <a:buClr>
                <a:srgbClr val="95D600"/>
              </a:buClr>
              <a:buFont typeface="Arial" charset="0"/>
              <a:buChar char="•"/>
            </a:pPr>
            <a:endParaRPr lang="en-GB" sz="2000">
              <a:solidFill>
                <a:srgbClr val="005CB9"/>
              </a:solidFill>
              <a:cs typeface="Arial" charset="0"/>
            </a:endParaRPr>
          </a:p>
          <a:p>
            <a:pPr marL="285750" indent="-285750">
              <a:buClr>
                <a:srgbClr val="95D600"/>
              </a:buClr>
              <a:buFont typeface="Arial" charset="0"/>
              <a:buChar char="•"/>
            </a:pPr>
            <a:r>
              <a:rPr lang="en-GB" sz="2000">
                <a:solidFill>
                  <a:srgbClr val="005CB9"/>
                </a:solidFill>
                <a:cs typeface="Arial" charset="0"/>
              </a:rPr>
              <a:t>Funds technical assistance to countries via partners to boost immunisation</a:t>
            </a:r>
            <a:br>
              <a:rPr lang="en-GB" sz="2000">
                <a:solidFill>
                  <a:srgbClr val="005CB9"/>
                </a:solidFill>
                <a:cs typeface="Arial" charset="0"/>
              </a:rPr>
            </a:br>
            <a:endParaRPr lang="en-GB" sz="2000">
              <a:solidFill>
                <a:srgbClr val="005CB9"/>
              </a:solidFill>
              <a:cs typeface="Arial" charset="0"/>
            </a:endParaRPr>
          </a:p>
          <a:p>
            <a:pPr marL="285750" indent="-285750">
              <a:buClr>
                <a:srgbClr val="95D600"/>
              </a:buClr>
              <a:buFont typeface="Arial" charset="0"/>
              <a:buChar char="•"/>
            </a:pPr>
            <a:r>
              <a:rPr lang="en-GB" sz="2000">
                <a:solidFill>
                  <a:srgbClr val="005CB9"/>
                </a:solidFill>
                <a:cs typeface="Arial" charset="0"/>
              </a:rPr>
              <a:t>Seeks to leverage the comparative advantage of partners</a:t>
            </a:r>
            <a:br>
              <a:rPr lang="en-GB" sz="2000">
                <a:solidFill>
                  <a:srgbClr val="005CB9"/>
                </a:solidFill>
                <a:cs typeface="Arial" charset="0"/>
              </a:rPr>
            </a:br>
            <a:endParaRPr lang="en-GB" sz="2000">
              <a:solidFill>
                <a:srgbClr val="005CB9"/>
              </a:solidFill>
              <a:cs typeface="Arial" charset="0"/>
            </a:endParaRPr>
          </a:p>
        </p:txBody>
      </p:sp>
      <p:pic>
        <p:nvPicPr>
          <p:cNvPr id="15" name="Picture 14"/>
          <p:cNvPicPr>
            <a:picLocks noChangeAspect="1"/>
          </p:cNvPicPr>
          <p:nvPr/>
        </p:nvPicPr>
        <p:blipFill rotWithShape="1">
          <a:blip r:embed="rId2" cstate="print">
            <a:extLst>
              <a:ext uri="{28A0092B-C50C-407E-A947-70E740481C1C}">
                <a14:useLocalDpi xmlns:a14="http://schemas.microsoft.com/office/drawing/2010/main" val="0"/>
              </a:ext>
            </a:extLst>
          </a:blip>
          <a:srcRect l="265" t="23545" r="5313" b="13186"/>
          <a:stretch/>
        </p:blipFill>
        <p:spPr>
          <a:xfrm>
            <a:off x="1706426" y="3490095"/>
            <a:ext cx="5436096" cy="2428311"/>
          </a:xfrm>
          <a:prstGeom prst="rect">
            <a:avLst/>
          </a:prstGeom>
        </p:spPr>
      </p:pic>
      <p:pic>
        <p:nvPicPr>
          <p:cNvPr id="16" name="Picture 1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rot="-120000">
            <a:off x="1780795" y="5536032"/>
            <a:ext cx="5222651" cy="1071501"/>
          </a:xfrm>
          <a:prstGeom prst="rect">
            <a:avLst/>
          </a:prstGeom>
        </p:spPr>
      </p:pic>
    </p:spTree>
    <p:extLst>
      <p:ext uri="{BB962C8B-B14F-4D97-AF65-F5344CB8AC3E}">
        <p14:creationId xmlns:p14="http://schemas.microsoft.com/office/powerpoint/2010/main" val="396914475"/>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Object 27"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92910"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251520" y="83290"/>
            <a:ext cx="8603629" cy="646331"/>
          </a:xfrm>
        </p:spPr>
        <p:txBody>
          <a:bodyPr/>
          <a:lstStyle/>
          <a:p>
            <a:r>
              <a:rPr lang="en-GB" sz="2400"/>
              <a:t>2. PEF Targeted Country Assistance (TCA): </a:t>
            </a:r>
            <a:r>
              <a:rPr lang="en-GB" sz="1800"/>
              <a:t>High-level identification of technical assistance needs takes place during country-led processes</a:t>
            </a:r>
          </a:p>
        </p:txBody>
      </p:sp>
      <p:grpSp>
        <p:nvGrpSpPr>
          <p:cNvPr id="24" name="Group 23"/>
          <p:cNvGrpSpPr/>
          <p:nvPr/>
        </p:nvGrpSpPr>
        <p:grpSpPr>
          <a:xfrm>
            <a:off x="217473" y="1700808"/>
            <a:ext cx="2724801" cy="3349620"/>
            <a:chOff x="5209590" y="555898"/>
            <a:chExt cx="3537175" cy="5529616"/>
          </a:xfrm>
        </p:grpSpPr>
        <p:pic>
          <p:nvPicPr>
            <p:cNvPr id="25" name="Picture 24"/>
            <p:cNvPicPr>
              <a:picLocks noChangeAspect="1"/>
            </p:cNvPicPr>
            <p:nvPr/>
          </p:nvPicPr>
          <p:blipFill>
            <a:blip r:embed="rId6"/>
            <a:stretch>
              <a:fillRect/>
            </a:stretch>
          </p:blipFill>
          <p:spPr>
            <a:xfrm>
              <a:off x="5209590" y="555898"/>
              <a:ext cx="2911965" cy="4090181"/>
            </a:xfrm>
            <a:prstGeom prst="rect">
              <a:avLst/>
            </a:prstGeom>
            <a:effectLst>
              <a:outerShdw blurRad="50800" dist="38100" dir="2700000" algn="tl" rotWithShape="0">
                <a:prstClr val="black">
                  <a:alpha val="40000"/>
                </a:prstClr>
              </a:outerShdw>
            </a:effectLst>
          </p:spPr>
        </p:pic>
        <p:pic>
          <p:nvPicPr>
            <p:cNvPr id="26" name="Picture 25"/>
            <p:cNvPicPr>
              <a:picLocks noChangeAspect="1"/>
            </p:cNvPicPr>
            <p:nvPr/>
          </p:nvPicPr>
          <p:blipFill>
            <a:blip r:embed="rId7"/>
            <a:stretch>
              <a:fillRect/>
            </a:stretch>
          </p:blipFill>
          <p:spPr>
            <a:xfrm>
              <a:off x="5895884" y="1996993"/>
              <a:ext cx="2850881" cy="4088521"/>
            </a:xfrm>
            <a:prstGeom prst="rect">
              <a:avLst/>
            </a:prstGeom>
            <a:effectLst>
              <a:outerShdw blurRad="50800" dist="38100" dir="2700000" algn="tl" rotWithShape="0">
                <a:prstClr val="black">
                  <a:alpha val="40000"/>
                </a:prstClr>
              </a:outerShdw>
            </a:effectLst>
          </p:spPr>
        </p:pic>
      </p:grpSp>
      <p:sp>
        <p:nvSpPr>
          <p:cNvPr id="13" name="Content Placeholder 2"/>
          <p:cNvSpPr txBox="1">
            <a:spLocks/>
          </p:cNvSpPr>
          <p:nvPr/>
        </p:nvSpPr>
        <p:spPr bwMode="gray">
          <a:xfrm>
            <a:off x="3203848" y="908720"/>
            <a:ext cx="5795726" cy="5472608"/>
          </a:xfrm>
          <a:prstGeom prst="rect">
            <a:avLst/>
          </a:prstGeom>
        </p:spPr>
        <p:txBody>
          <a:bodyPr vert="horz" lIns="0" tIns="0" rIns="0" bIns="0" rtlCol="0" anchor="t" anchorCtr="0">
            <a:noAutofit/>
          </a:bodyPr>
          <a:lstStyle>
            <a:lvl1pPr marL="0" indent="0" algn="l" defTabSz="914400" rtl="0" eaLnBrk="1" latinLnBrk="0" hangingPunct="1">
              <a:lnSpc>
                <a:spcPct val="110000"/>
              </a:lnSpc>
              <a:spcBef>
                <a:spcPts val="0"/>
              </a:spcBef>
              <a:buFont typeface="Arial" pitchFamily="34" charset="0"/>
              <a:buNone/>
              <a:defRPr sz="2000" b="1" kern="1200">
                <a:solidFill>
                  <a:schemeClr val="accent1"/>
                </a:solidFill>
                <a:latin typeface="+mn-lt"/>
                <a:ea typeface="+mn-ea"/>
                <a:cs typeface="+mn-cs"/>
              </a:defRPr>
            </a:lvl1pPr>
            <a:lvl2pPr marL="324000" indent="-180000" algn="l" defTabSz="914400" rtl="0" eaLnBrk="1" latinLnBrk="0" hangingPunct="1">
              <a:lnSpc>
                <a:spcPct val="100000"/>
              </a:lnSpc>
              <a:spcBef>
                <a:spcPts val="300"/>
              </a:spcBef>
              <a:buClr>
                <a:schemeClr val="accent3"/>
              </a:buClr>
              <a:buFont typeface="Arial" pitchFamily="34" charset="0"/>
              <a:buChar char="•"/>
              <a:defRPr sz="1800" b="1" kern="1200">
                <a:solidFill>
                  <a:schemeClr val="tx1"/>
                </a:solidFill>
                <a:latin typeface="+mn-lt"/>
                <a:ea typeface="+mn-ea"/>
                <a:cs typeface="+mn-cs"/>
              </a:defRPr>
            </a:lvl2pPr>
            <a:lvl3pPr marL="504000" indent="-180000" algn="l" defTabSz="914400" rtl="0" eaLnBrk="1" latinLnBrk="0" hangingPunct="1">
              <a:lnSpc>
                <a:spcPct val="100000"/>
              </a:lnSpc>
              <a:spcBef>
                <a:spcPts val="300"/>
              </a:spcBef>
              <a:buSzPct val="100000"/>
              <a:buFont typeface="Arial" pitchFamily="34" charset="0"/>
              <a:buChar char="•"/>
              <a:defRPr sz="1600" b="0" kern="1200">
                <a:solidFill>
                  <a:schemeClr val="tx1"/>
                </a:solidFill>
                <a:latin typeface="+mn-lt"/>
                <a:ea typeface="+mn-ea"/>
                <a:cs typeface="+mn-cs"/>
              </a:defRPr>
            </a:lvl3pPr>
            <a:lvl4pPr marL="504000" indent="0" algn="l" defTabSz="914400" rtl="0" eaLnBrk="1" latinLnBrk="0" hangingPunct="1">
              <a:lnSpc>
                <a:spcPct val="100000"/>
              </a:lnSpc>
              <a:spcBef>
                <a:spcPts val="300"/>
              </a:spcBef>
              <a:buSzPct val="100000"/>
              <a:buFont typeface="Arial" pitchFamily="34" charset="0"/>
              <a:buNone/>
              <a:defRPr sz="1600" kern="1200" baseline="0">
                <a:solidFill>
                  <a:schemeClr val="tx1"/>
                </a:solidFill>
                <a:latin typeface="+mn-lt"/>
                <a:ea typeface="+mn-ea"/>
                <a:cs typeface="+mn-cs"/>
              </a:defRPr>
            </a:lvl4pPr>
            <a:lvl5pPr marL="684000" indent="-180000" algn="l" defTabSz="914400" rtl="0" eaLnBrk="1" latinLnBrk="0" hangingPunct="1">
              <a:lnSpc>
                <a:spcPct val="100000"/>
              </a:lnSpc>
              <a:spcBef>
                <a:spcPts val="300"/>
              </a:spcBef>
              <a:buSzPct val="100000"/>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indent="-342900">
              <a:buFont typeface="Wingdings" panose="05000000000000000000" pitchFamily="2" charset="2"/>
              <a:buChar char="§"/>
              <a:defRPr/>
            </a:pPr>
            <a:r>
              <a:rPr lang="en-US" b="0">
                <a:solidFill>
                  <a:srgbClr val="005CB9"/>
                </a:solidFill>
              </a:rPr>
              <a:t>During the JA, partners will discuss:</a:t>
            </a:r>
          </a:p>
          <a:p>
            <a:pPr marL="666900" lvl="1" indent="-342900">
              <a:buClr>
                <a:srgbClr val="95D600"/>
              </a:buClr>
              <a:buFont typeface="Wingdings" panose="05000000000000000000" pitchFamily="2" charset="2"/>
              <a:buChar char="§"/>
              <a:defRPr/>
            </a:pPr>
            <a:r>
              <a:rPr lang="en-GB" b="0">
                <a:solidFill>
                  <a:srgbClr val="343434"/>
                </a:solidFill>
              </a:rPr>
              <a:t>Summary of key insights generated during the appraisal of Gavi TCA activities and milestones</a:t>
            </a:r>
          </a:p>
          <a:p>
            <a:pPr marL="666900" lvl="1" indent="-342900">
              <a:buClr>
                <a:srgbClr val="95D600"/>
              </a:buClr>
              <a:buFont typeface="Wingdings" panose="05000000000000000000" pitchFamily="2" charset="2"/>
              <a:buChar char="§"/>
              <a:defRPr/>
            </a:pPr>
            <a:r>
              <a:rPr lang="en-GB" b="0">
                <a:solidFill>
                  <a:srgbClr val="343434"/>
                </a:solidFill>
              </a:rPr>
              <a:t>Identification of high level needs</a:t>
            </a:r>
          </a:p>
          <a:p>
            <a:pPr>
              <a:defRPr/>
            </a:pPr>
            <a:endParaRPr lang="en-US" b="0">
              <a:solidFill>
                <a:srgbClr val="005CB9"/>
              </a:solidFill>
            </a:endParaRPr>
          </a:p>
          <a:p>
            <a:pPr marL="342900" indent="-342900">
              <a:buFont typeface="Wingdings" panose="05000000000000000000" pitchFamily="2" charset="2"/>
              <a:buChar char="§"/>
              <a:defRPr/>
            </a:pPr>
            <a:r>
              <a:rPr lang="en-US" b="0">
                <a:solidFill>
                  <a:srgbClr val="005CB9"/>
                </a:solidFill>
              </a:rPr>
              <a:t>P</a:t>
            </a:r>
            <a:r>
              <a:rPr lang="en-US" b="0" err="1">
                <a:solidFill>
                  <a:srgbClr val="005CB9"/>
                </a:solidFill>
              </a:rPr>
              <a:t>ost</a:t>
            </a:r>
            <a:r>
              <a:rPr lang="en-US" b="0">
                <a:solidFill>
                  <a:srgbClr val="005CB9"/>
                </a:solidFill>
              </a:rPr>
              <a:t>-Joint Appraisal, partners will discuss:</a:t>
            </a:r>
          </a:p>
          <a:p>
            <a:pPr marL="666900" lvl="1" indent="-342900">
              <a:buClr>
                <a:srgbClr val="95D600"/>
              </a:buClr>
              <a:buFont typeface="Wingdings" panose="05000000000000000000" pitchFamily="2" charset="2"/>
              <a:buChar char="§"/>
              <a:defRPr/>
            </a:pPr>
            <a:r>
              <a:rPr lang="en-GB" b="0">
                <a:solidFill>
                  <a:srgbClr val="343434"/>
                </a:solidFill>
              </a:rPr>
              <a:t>How has the 2017 technical assistance progressed? </a:t>
            </a:r>
          </a:p>
          <a:p>
            <a:pPr marL="666900" lvl="1" indent="-342900">
              <a:buClr>
                <a:srgbClr val="95D600"/>
              </a:buClr>
              <a:buFont typeface="Wingdings" panose="05000000000000000000" pitchFamily="2" charset="2"/>
              <a:buChar char="§"/>
              <a:defRPr/>
            </a:pPr>
            <a:r>
              <a:rPr lang="en-GB" b="0">
                <a:solidFill>
                  <a:srgbClr val="343434"/>
                </a:solidFill>
              </a:rPr>
              <a:t>What adjustments in TA required in 2018?</a:t>
            </a:r>
          </a:p>
          <a:p>
            <a:pPr marL="666900" lvl="1" indent="-342900">
              <a:buClr>
                <a:srgbClr val="95D600"/>
              </a:buClr>
              <a:buFont typeface="Wingdings" panose="05000000000000000000" pitchFamily="2" charset="2"/>
              <a:buChar char="§"/>
              <a:defRPr/>
            </a:pPr>
            <a:r>
              <a:rPr lang="en-GB" b="0">
                <a:solidFill>
                  <a:srgbClr val="343434"/>
                </a:solidFill>
              </a:rPr>
              <a:t>What areas would benefit from additional support </a:t>
            </a:r>
            <a:r>
              <a:rPr lang="en-US" b="0">
                <a:solidFill>
                  <a:srgbClr val="343434"/>
                </a:solidFill>
              </a:rPr>
              <a:t>from other non-core partners?</a:t>
            </a:r>
          </a:p>
          <a:p>
            <a:pPr marL="666900" lvl="1" indent="-342900">
              <a:buClr>
                <a:srgbClr val="95D600"/>
              </a:buClr>
              <a:buFont typeface="Wingdings" panose="05000000000000000000" pitchFamily="2" charset="2"/>
              <a:buChar char="§"/>
              <a:defRPr/>
            </a:pPr>
            <a:endParaRPr lang="en-US" sz="2000" b="0">
              <a:solidFill>
                <a:srgbClr val="005CB9"/>
              </a:solidFill>
            </a:endParaRPr>
          </a:p>
          <a:p>
            <a:pPr marL="342900" indent="-342900">
              <a:buFont typeface="Wingdings" panose="05000000000000000000" pitchFamily="2" charset="2"/>
              <a:buChar char="§"/>
              <a:defRPr/>
            </a:pPr>
            <a:r>
              <a:rPr lang="en-US" b="0">
                <a:solidFill>
                  <a:srgbClr val="005CB9"/>
                </a:solidFill>
              </a:rPr>
              <a:t>Menu of TA support</a:t>
            </a:r>
          </a:p>
          <a:p>
            <a:pPr marL="666900" lvl="1" indent="-342900">
              <a:buClr>
                <a:srgbClr val="95D600"/>
              </a:buClr>
              <a:buFont typeface="Wingdings" panose="05000000000000000000" pitchFamily="2" charset="2"/>
              <a:buChar char="§"/>
              <a:defRPr/>
            </a:pPr>
            <a:r>
              <a:rPr lang="en-US" b="0">
                <a:solidFill>
                  <a:srgbClr val="343434"/>
                </a:solidFill>
              </a:rPr>
              <a:t>A menu of potential technical assistance activities is incorporated into the TCA guidance</a:t>
            </a:r>
          </a:p>
          <a:p>
            <a:pPr marL="666900" lvl="1" indent="-342900">
              <a:buClr>
                <a:srgbClr val="95D600"/>
              </a:buClr>
              <a:buFont typeface="Wingdings" panose="05000000000000000000" pitchFamily="2" charset="2"/>
              <a:buChar char="§"/>
              <a:defRPr/>
            </a:pPr>
            <a:r>
              <a:rPr lang="en-US" b="0">
                <a:solidFill>
                  <a:srgbClr val="343434"/>
                </a:solidFill>
              </a:rPr>
              <a:t>It provides overview of the types of activities by programmatic area that EPI program and partners can consider </a:t>
            </a:r>
          </a:p>
          <a:p>
            <a:pPr marL="342900" indent="-342900">
              <a:lnSpc>
                <a:spcPct val="100000"/>
              </a:lnSpc>
              <a:spcBef>
                <a:spcPts val="300"/>
              </a:spcBef>
              <a:buClr>
                <a:srgbClr val="95D600"/>
              </a:buClr>
              <a:buFont typeface="Wingdings" panose="05000000000000000000" pitchFamily="2" charset="2"/>
              <a:buChar char="§"/>
            </a:pPr>
            <a:endParaRPr lang="en-US" b="0">
              <a:solidFill>
                <a:srgbClr val="005CB9"/>
              </a:solidFill>
            </a:endParaRPr>
          </a:p>
          <a:p>
            <a:pPr marL="666900" lvl="1" indent="-342900">
              <a:buClr>
                <a:srgbClr val="95D600"/>
              </a:buClr>
              <a:buFont typeface="Wingdings" panose="05000000000000000000" pitchFamily="2" charset="2"/>
              <a:buChar char="§"/>
              <a:defRPr/>
            </a:pPr>
            <a:endParaRPr lang="en-US" sz="2000" b="0">
              <a:solidFill>
                <a:srgbClr val="343434"/>
              </a:solidFill>
            </a:endParaRPr>
          </a:p>
          <a:p>
            <a:pPr marL="342900" indent="-342900">
              <a:buFont typeface="Wingdings" panose="05000000000000000000" pitchFamily="2" charset="2"/>
              <a:buChar char="§"/>
              <a:defRPr/>
            </a:pPr>
            <a:endParaRPr lang="en-US" b="0">
              <a:solidFill>
                <a:srgbClr val="005CB9"/>
              </a:solidFill>
            </a:endParaRPr>
          </a:p>
        </p:txBody>
      </p:sp>
    </p:spTree>
    <p:extLst>
      <p:ext uri="{BB962C8B-B14F-4D97-AF65-F5344CB8AC3E}">
        <p14:creationId xmlns:p14="http://schemas.microsoft.com/office/powerpoint/2010/main" val="3646597117"/>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a:xfrm>
            <a:off x="935037" y="1"/>
            <a:ext cx="7499099" cy="1036637"/>
          </a:xfrm>
        </p:spPr>
        <p:txBody>
          <a:bodyPr/>
          <a:lstStyle/>
          <a:p>
            <a:r>
              <a:rPr lang="pt-PT" sz="3200" dirty="0" smtClean="0"/>
              <a:t>Measles and Rubella support in Gavi countries by end of 2016</a:t>
            </a:r>
            <a:endParaRPr lang="en-GB" sz="3200" dirty="0"/>
          </a:p>
        </p:txBody>
      </p:sp>
      <p:sp>
        <p:nvSpPr>
          <p:cNvPr id="10" name="Content Placeholder 9"/>
          <p:cNvSpPr>
            <a:spLocks noGrp="1"/>
          </p:cNvSpPr>
          <p:nvPr>
            <p:ph idx="1"/>
          </p:nvPr>
        </p:nvSpPr>
        <p:spPr>
          <a:xfrm>
            <a:off x="2041358" y="1424296"/>
            <a:ext cx="6150811" cy="1122265"/>
          </a:xfrm>
        </p:spPr>
        <p:txBody>
          <a:bodyPr/>
          <a:lstStyle/>
          <a:p>
            <a:r>
              <a:rPr lang="pt-PT" dirty="0" smtClean="0">
                <a:solidFill>
                  <a:srgbClr val="0097A9"/>
                </a:solidFill>
              </a:rPr>
              <a:t>Measles and Measles-Rubella 2nd dose</a:t>
            </a:r>
          </a:p>
          <a:p>
            <a:pPr marL="342900" indent="-342900">
              <a:buFont typeface="Arial" panose="020B0604020202020204" pitchFamily="34" charset="0"/>
              <a:buChar char="•"/>
            </a:pPr>
            <a:r>
              <a:rPr lang="pt-PT" dirty="0" smtClean="0">
                <a:solidFill>
                  <a:srgbClr val="0097A9"/>
                </a:solidFill>
              </a:rPr>
              <a:t>21 countries</a:t>
            </a:r>
          </a:p>
          <a:p>
            <a:pPr marL="342900" indent="-342900">
              <a:buFont typeface="Arial" panose="020B0604020202020204" pitchFamily="34" charset="0"/>
              <a:buChar char="•"/>
            </a:pPr>
            <a:r>
              <a:rPr lang="pt-PT" dirty="0" smtClean="0">
                <a:solidFill>
                  <a:srgbClr val="0097A9"/>
                </a:solidFill>
              </a:rPr>
              <a:t>&gt;41 million people immunised</a:t>
            </a:r>
            <a:endParaRPr lang="en-GB" dirty="0">
              <a:solidFill>
                <a:srgbClr val="0097A9"/>
              </a:solidFill>
            </a:endParaRPr>
          </a:p>
        </p:txBody>
      </p:sp>
      <p:sp>
        <p:nvSpPr>
          <p:cNvPr id="4" name="Slide Number Placeholder 3"/>
          <p:cNvSpPr>
            <a:spLocks noGrp="1"/>
          </p:cNvSpPr>
          <p:nvPr>
            <p:ph type="sldNum" sz="quarter" idx="11"/>
          </p:nvPr>
        </p:nvSpPr>
        <p:spPr>
          <a:xfrm>
            <a:off x="34926" y="6510979"/>
            <a:ext cx="313990" cy="360000"/>
          </a:xfrm>
        </p:spPr>
        <p:txBody>
          <a:bodyPr/>
          <a:lstStyle/>
          <a:p>
            <a:pPr algn="ctr"/>
            <a:r>
              <a:rPr lang="en-US" sz="1000" dirty="0"/>
              <a:t>2</a:t>
            </a:r>
            <a:endParaRPr lang="en-US" sz="1000" noProof="0" dirty="0"/>
          </a:p>
        </p:txBody>
      </p:sp>
      <p:sp>
        <p:nvSpPr>
          <p:cNvPr id="5" name="Footer Placeholder 4"/>
          <p:cNvSpPr>
            <a:spLocks noGrp="1"/>
          </p:cNvSpPr>
          <p:nvPr>
            <p:ph type="ftr" sz="quarter" idx="12"/>
          </p:nvPr>
        </p:nvSpPr>
        <p:spPr>
          <a:xfrm>
            <a:off x="2447719" y="6449968"/>
            <a:ext cx="4320000" cy="360000"/>
          </a:xfrm>
        </p:spPr>
        <p:txBody>
          <a:bodyPr/>
          <a:lstStyle/>
          <a:p>
            <a:pPr>
              <a:defRPr/>
            </a:pPr>
            <a:r>
              <a:rPr lang="en-US" dirty="0">
                <a:solidFill>
                  <a:srgbClr val="005CB9"/>
                </a:solidFill>
              </a:rPr>
              <a:t>#</a:t>
            </a:r>
            <a:r>
              <a:rPr lang="en-US" dirty="0" err="1">
                <a:solidFill>
                  <a:srgbClr val="005CB9"/>
                </a:solidFill>
              </a:rPr>
              <a:t>vaccineswork</a:t>
            </a:r>
            <a:endParaRPr lang="en-US" dirty="0">
              <a:solidFill>
                <a:srgbClr val="005CB9"/>
              </a:solidFill>
            </a:endParaRPr>
          </a:p>
        </p:txBody>
      </p:sp>
      <p:pic>
        <p:nvPicPr>
          <p:cNvPr id="11" name="Picture 10"/>
          <p:cNvPicPr>
            <a:picLocks noChangeAspect="1"/>
          </p:cNvPicPr>
          <p:nvPr/>
        </p:nvPicPr>
        <p:blipFill>
          <a:blip r:embed="rId3"/>
          <a:stretch>
            <a:fillRect/>
          </a:stretch>
        </p:blipFill>
        <p:spPr>
          <a:xfrm>
            <a:off x="767813" y="2777802"/>
            <a:ext cx="1099734" cy="1565594"/>
          </a:xfrm>
          <a:prstGeom prst="rect">
            <a:avLst/>
          </a:prstGeom>
        </p:spPr>
      </p:pic>
      <p:pic>
        <p:nvPicPr>
          <p:cNvPr id="13" name="Picture 12"/>
          <p:cNvPicPr>
            <a:picLocks noChangeAspect="1"/>
          </p:cNvPicPr>
          <p:nvPr/>
        </p:nvPicPr>
        <p:blipFill>
          <a:blip r:embed="rId4"/>
          <a:stretch>
            <a:fillRect/>
          </a:stretch>
        </p:blipFill>
        <p:spPr>
          <a:xfrm>
            <a:off x="710384" y="1224639"/>
            <a:ext cx="1078102" cy="1521577"/>
          </a:xfrm>
          <a:prstGeom prst="rect">
            <a:avLst/>
          </a:prstGeom>
        </p:spPr>
      </p:pic>
      <p:pic>
        <p:nvPicPr>
          <p:cNvPr id="14" name="Picture 13"/>
          <p:cNvPicPr>
            <a:picLocks noChangeAspect="1"/>
          </p:cNvPicPr>
          <p:nvPr/>
        </p:nvPicPr>
        <p:blipFill>
          <a:blip r:embed="rId5"/>
          <a:stretch>
            <a:fillRect/>
          </a:stretch>
        </p:blipFill>
        <p:spPr>
          <a:xfrm>
            <a:off x="807733" y="4487780"/>
            <a:ext cx="1146719" cy="1602034"/>
          </a:xfrm>
          <a:prstGeom prst="rect">
            <a:avLst/>
          </a:prstGeom>
        </p:spPr>
      </p:pic>
      <p:sp>
        <p:nvSpPr>
          <p:cNvPr id="15" name="Content Placeholder 9"/>
          <p:cNvSpPr txBox="1">
            <a:spLocks/>
          </p:cNvSpPr>
          <p:nvPr/>
        </p:nvSpPr>
        <p:spPr bwMode="gray">
          <a:xfrm>
            <a:off x="2041358" y="2981508"/>
            <a:ext cx="6825916" cy="1122265"/>
          </a:xfrm>
          <a:prstGeom prst="rect">
            <a:avLst/>
          </a:prstGeom>
        </p:spPr>
        <p:txBody>
          <a:bodyPr vert="horz" lIns="0" tIns="0" rIns="0" bIns="0" rtlCol="0" anchor="t" anchorCtr="0">
            <a:noAutofit/>
          </a:bodyPr>
          <a:lstStyle>
            <a:lvl1pPr marL="0" indent="0" algn="l" defTabSz="914400" rtl="0" eaLnBrk="1" latinLnBrk="0" hangingPunct="1">
              <a:lnSpc>
                <a:spcPct val="110000"/>
              </a:lnSpc>
              <a:spcBef>
                <a:spcPts val="0"/>
              </a:spcBef>
              <a:buFont typeface="Arial" pitchFamily="34" charset="0"/>
              <a:buNone/>
              <a:defRPr sz="2000" b="1" kern="1200">
                <a:solidFill>
                  <a:schemeClr val="accent1"/>
                </a:solidFill>
                <a:latin typeface="+mn-lt"/>
                <a:ea typeface="+mn-ea"/>
                <a:cs typeface="+mn-cs"/>
              </a:defRPr>
            </a:lvl1pPr>
            <a:lvl2pPr marL="324000" indent="-180000" algn="l" defTabSz="914400" rtl="0" eaLnBrk="1" latinLnBrk="0" hangingPunct="1">
              <a:lnSpc>
                <a:spcPct val="100000"/>
              </a:lnSpc>
              <a:spcBef>
                <a:spcPts val="300"/>
              </a:spcBef>
              <a:buClr>
                <a:schemeClr val="accent3"/>
              </a:buClr>
              <a:buFont typeface="Arial" pitchFamily="34" charset="0"/>
              <a:buChar char="•"/>
              <a:defRPr sz="1800" b="1" kern="1200">
                <a:solidFill>
                  <a:schemeClr val="tx1"/>
                </a:solidFill>
                <a:latin typeface="+mn-lt"/>
                <a:ea typeface="+mn-ea"/>
                <a:cs typeface="+mn-cs"/>
              </a:defRPr>
            </a:lvl2pPr>
            <a:lvl3pPr marL="504000" indent="-180000" algn="l" defTabSz="914400" rtl="0" eaLnBrk="1" latinLnBrk="0" hangingPunct="1">
              <a:lnSpc>
                <a:spcPct val="100000"/>
              </a:lnSpc>
              <a:spcBef>
                <a:spcPts val="300"/>
              </a:spcBef>
              <a:buSzPct val="100000"/>
              <a:buFont typeface="Arial" pitchFamily="34" charset="0"/>
              <a:buChar char="•"/>
              <a:defRPr sz="1600" b="0" kern="1200">
                <a:solidFill>
                  <a:schemeClr val="tx1"/>
                </a:solidFill>
                <a:latin typeface="+mn-lt"/>
                <a:ea typeface="+mn-ea"/>
                <a:cs typeface="+mn-cs"/>
              </a:defRPr>
            </a:lvl3pPr>
            <a:lvl4pPr marL="504000" indent="0" algn="l" defTabSz="914400" rtl="0" eaLnBrk="1" latinLnBrk="0" hangingPunct="1">
              <a:lnSpc>
                <a:spcPct val="100000"/>
              </a:lnSpc>
              <a:spcBef>
                <a:spcPts val="300"/>
              </a:spcBef>
              <a:buSzPct val="100000"/>
              <a:buFont typeface="Arial" pitchFamily="34" charset="0"/>
              <a:buNone/>
              <a:defRPr sz="1600" kern="1200" baseline="0">
                <a:solidFill>
                  <a:schemeClr val="tx1"/>
                </a:solidFill>
                <a:latin typeface="+mn-lt"/>
                <a:ea typeface="+mn-ea"/>
                <a:cs typeface="+mn-cs"/>
              </a:defRPr>
            </a:lvl4pPr>
            <a:lvl5pPr marL="684000" indent="-180000" algn="l" defTabSz="914400" rtl="0" eaLnBrk="1" latinLnBrk="0" hangingPunct="1">
              <a:lnSpc>
                <a:spcPct val="100000"/>
              </a:lnSpc>
              <a:spcBef>
                <a:spcPts val="300"/>
              </a:spcBef>
              <a:buSzPct val="100000"/>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pt-PT" dirty="0" smtClean="0">
                <a:solidFill>
                  <a:srgbClr val="005A70"/>
                </a:solidFill>
              </a:rPr>
              <a:t>Measles-Rubella catch-up campaigns*</a:t>
            </a:r>
          </a:p>
          <a:p>
            <a:pPr marL="342900" indent="-342900">
              <a:buFont typeface="Arial" panose="020B0604020202020204" pitchFamily="34" charset="0"/>
              <a:buChar char="•"/>
            </a:pPr>
            <a:r>
              <a:rPr lang="pt-PT" dirty="0" smtClean="0">
                <a:solidFill>
                  <a:srgbClr val="005A70"/>
                </a:solidFill>
              </a:rPr>
              <a:t>20 countries</a:t>
            </a:r>
          </a:p>
          <a:p>
            <a:pPr marL="342900" indent="-342900">
              <a:buFont typeface="Arial" panose="020B0604020202020204" pitchFamily="34" charset="0"/>
              <a:buChar char="•"/>
            </a:pPr>
            <a:r>
              <a:rPr lang="pt-PT" dirty="0" smtClean="0">
                <a:solidFill>
                  <a:srgbClr val="005A70"/>
                </a:solidFill>
              </a:rPr>
              <a:t>&gt;196 million people immunised</a:t>
            </a:r>
            <a:endParaRPr lang="en-GB" dirty="0">
              <a:solidFill>
                <a:srgbClr val="005A70"/>
              </a:solidFill>
            </a:endParaRPr>
          </a:p>
        </p:txBody>
      </p:sp>
      <p:sp>
        <p:nvSpPr>
          <p:cNvPr id="16" name="Content Placeholder 9"/>
          <p:cNvSpPr txBox="1">
            <a:spLocks/>
          </p:cNvSpPr>
          <p:nvPr/>
        </p:nvSpPr>
        <p:spPr bwMode="gray">
          <a:xfrm>
            <a:off x="2129589" y="4697450"/>
            <a:ext cx="6150811" cy="1122265"/>
          </a:xfrm>
          <a:prstGeom prst="rect">
            <a:avLst/>
          </a:prstGeom>
        </p:spPr>
        <p:txBody>
          <a:bodyPr vert="horz" lIns="0" tIns="0" rIns="0" bIns="0" rtlCol="0" anchor="t" anchorCtr="0">
            <a:noAutofit/>
          </a:bodyPr>
          <a:lstStyle>
            <a:lvl1pPr marL="0" indent="0" algn="l" defTabSz="914400" rtl="0" eaLnBrk="1" latinLnBrk="0" hangingPunct="1">
              <a:lnSpc>
                <a:spcPct val="110000"/>
              </a:lnSpc>
              <a:spcBef>
                <a:spcPts val="0"/>
              </a:spcBef>
              <a:buFont typeface="Arial" pitchFamily="34" charset="0"/>
              <a:buNone/>
              <a:defRPr sz="2000" b="1" kern="1200">
                <a:solidFill>
                  <a:schemeClr val="accent1"/>
                </a:solidFill>
                <a:latin typeface="+mn-lt"/>
                <a:ea typeface="+mn-ea"/>
                <a:cs typeface="+mn-cs"/>
              </a:defRPr>
            </a:lvl1pPr>
            <a:lvl2pPr marL="324000" indent="-180000" algn="l" defTabSz="914400" rtl="0" eaLnBrk="1" latinLnBrk="0" hangingPunct="1">
              <a:lnSpc>
                <a:spcPct val="100000"/>
              </a:lnSpc>
              <a:spcBef>
                <a:spcPts val="300"/>
              </a:spcBef>
              <a:buClr>
                <a:schemeClr val="accent3"/>
              </a:buClr>
              <a:buFont typeface="Arial" pitchFamily="34" charset="0"/>
              <a:buChar char="•"/>
              <a:defRPr sz="1800" b="1" kern="1200">
                <a:solidFill>
                  <a:schemeClr val="tx1"/>
                </a:solidFill>
                <a:latin typeface="+mn-lt"/>
                <a:ea typeface="+mn-ea"/>
                <a:cs typeface="+mn-cs"/>
              </a:defRPr>
            </a:lvl2pPr>
            <a:lvl3pPr marL="504000" indent="-180000" algn="l" defTabSz="914400" rtl="0" eaLnBrk="1" latinLnBrk="0" hangingPunct="1">
              <a:lnSpc>
                <a:spcPct val="100000"/>
              </a:lnSpc>
              <a:spcBef>
                <a:spcPts val="300"/>
              </a:spcBef>
              <a:buSzPct val="100000"/>
              <a:buFont typeface="Arial" pitchFamily="34" charset="0"/>
              <a:buChar char="•"/>
              <a:defRPr sz="1600" b="0" kern="1200">
                <a:solidFill>
                  <a:schemeClr val="tx1"/>
                </a:solidFill>
                <a:latin typeface="+mn-lt"/>
                <a:ea typeface="+mn-ea"/>
                <a:cs typeface="+mn-cs"/>
              </a:defRPr>
            </a:lvl3pPr>
            <a:lvl4pPr marL="504000" indent="0" algn="l" defTabSz="914400" rtl="0" eaLnBrk="1" latinLnBrk="0" hangingPunct="1">
              <a:lnSpc>
                <a:spcPct val="100000"/>
              </a:lnSpc>
              <a:spcBef>
                <a:spcPts val="300"/>
              </a:spcBef>
              <a:buSzPct val="100000"/>
              <a:buFont typeface="Arial" pitchFamily="34" charset="0"/>
              <a:buNone/>
              <a:defRPr sz="1600" kern="1200" baseline="0">
                <a:solidFill>
                  <a:schemeClr val="tx1"/>
                </a:solidFill>
                <a:latin typeface="+mn-lt"/>
                <a:ea typeface="+mn-ea"/>
                <a:cs typeface="+mn-cs"/>
              </a:defRPr>
            </a:lvl4pPr>
            <a:lvl5pPr marL="684000" indent="-180000" algn="l" defTabSz="914400" rtl="0" eaLnBrk="1" latinLnBrk="0" hangingPunct="1">
              <a:lnSpc>
                <a:spcPct val="100000"/>
              </a:lnSpc>
              <a:spcBef>
                <a:spcPts val="300"/>
              </a:spcBef>
              <a:buSzPct val="100000"/>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pt-PT" dirty="0" smtClean="0">
                <a:solidFill>
                  <a:srgbClr val="41B6E6"/>
                </a:solidFill>
              </a:rPr>
              <a:t>Measles follow-up campaigns</a:t>
            </a:r>
          </a:p>
          <a:p>
            <a:pPr marL="342900" indent="-342900">
              <a:buFont typeface="Arial" panose="020B0604020202020204" pitchFamily="34" charset="0"/>
              <a:buChar char="•"/>
            </a:pPr>
            <a:r>
              <a:rPr lang="pt-PT" dirty="0" smtClean="0">
                <a:solidFill>
                  <a:srgbClr val="41B6E6"/>
                </a:solidFill>
              </a:rPr>
              <a:t>6 countries, 9 campaigns</a:t>
            </a:r>
          </a:p>
          <a:p>
            <a:pPr marL="342900" indent="-342900">
              <a:buFont typeface="Arial" panose="020B0604020202020204" pitchFamily="34" charset="0"/>
              <a:buChar char="•"/>
            </a:pPr>
            <a:r>
              <a:rPr lang="pt-PT" dirty="0" smtClean="0">
                <a:solidFill>
                  <a:srgbClr val="41B6E6"/>
                </a:solidFill>
              </a:rPr>
              <a:t>&gt;132 million people immunised</a:t>
            </a:r>
            <a:endParaRPr lang="en-GB" dirty="0">
              <a:solidFill>
                <a:srgbClr val="41B6E6"/>
              </a:solidFill>
            </a:endParaRPr>
          </a:p>
        </p:txBody>
      </p:sp>
      <p:sp>
        <p:nvSpPr>
          <p:cNvPr id="17" name="Content Placeholder 9"/>
          <p:cNvSpPr txBox="1">
            <a:spLocks/>
          </p:cNvSpPr>
          <p:nvPr/>
        </p:nvSpPr>
        <p:spPr bwMode="gray">
          <a:xfrm>
            <a:off x="817564" y="6222517"/>
            <a:ext cx="6825916" cy="455762"/>
          </a:xfrm>
          <a:prstGeom prst="rect">
            <a:avLst/>
          </a:prstGeom>
        </p:spPr>
        <p:txBody>
          <a:bodyPr vert="horz" lIns="0" tIns="0" rIns="0" bIns="0" rtlCol="0" anchor="t" anchorCtr="0">
            <a:noAutofit/>
          </a:bodyPr>
          <a:lstStyle>
            <a:lvl1pPr marL="0" indent="0" algn="l" defTabSz="914400" rtl="0" eaLnBrk="1" latinLnBrk="0" hangingPunct="1">
              <a:lnSpc>
                <a:spcPct val="110000"/>
              </a:lnSpc>
              <a:spcBef>
                <a:spcPts val="0"/>
              </a:spcBef>
              <a:buFont typeface="Arial" pitchFamily="34" charset="0"/>
              <a:buNone/>
              <a:defRPr sz="2000" b="1" kern="1200">
                <a:solidFill>
                  <a:schemeClr val="accent1"/>
                </a:solidFill>
                <a:latin typeface="+mn-lt"/>
                <a:ea typeface="+mn-ea"/>
                <a:cs typeface="+mn-cs"/>
              </a:defRPr>
            </a:lvl1pPr>
            <a:lvl2pPr marL="324000" indent="-180000" algn="l" defTabSz="914400" rtl="0" eaLnBrk="1" latinLnBrk="0" hangingPunct="1">
              <a:lnSpc>
                <a:spcPct val="100000"/>
              </a:lnSpc>
              <a:spcBef>
                <a:spcPts val="300"/>
              </a:spcBef>
              <a:buClr>
                <a:schemeClr val="accent3"/>
              </a:buClr>
              <a:buFont typeface="Arial" pitchFamily="34" charset="0"/>
              <a:buChar char="•"/>
              <a:defRPr sz="1800" b="1" kern="1200">
                <a:solidFill>
                  <a:schemeClr val="tx1"/>
                </a:solidFill>
                <a:latin typeface="+mn-lt"/>
                <a:ea typeface="+mn-ea"/>
                <a:cs typeface="+mn-cs"/>
              </a:defRPr>
            </a:lvl2pPr>
            <a:lvl3pPr marL="504000" indent="-180000" algn="l" defTabSz="914400" rtl="0" eaLnBrk="1" latinLnBrk="0" hangingPunct="1">
              <a:lnSpc>
                <a:spcPct val="100000"/>
              </a:lnSpc>
              <a:spcBef>
                <a:spcPts val="300"/>
              </a:spcBef>
              <a:buSzPct val="100000"/>
              <a:buFont typeface="Arial" pitchFamily="34" charset="0"/>
              <a:buChar char="•"/>
              <a:defRPr sz="1600" b="0" kern="1200">
                <a:solidFill>
                  <a:schemeClr val="tx1"/>
                </a:solidFill>
                <a:latin typeface="+mn-lt"/>
                <a:ea typeface="+mn-ea"/>
                <a:cs typeface="+mn-cs"/>
              </a:defRPr>
            </a:lvl3pPr>
            <a:lvl4pPr marL="504000" indent="0" algn="l" defTabSz="914400" rtl="0" eaLnBrk="1" latinLnBrk="0" hangingPunct="1">
              <a:lnSpc>
                <a:spcPct val="100000"/>
              </a:lnSpc>
              <a:spcBef>
                <a:spcPts val="300"/>
              </a:spcBef>
              <a:buSzPct val="100000"/>
              <a:buFont typeface="Arial" pitchFamily="34" charset="0"/>
              <a:buNone/>
              <a:defRPr sz="1600" kern="1200" baseline="0">
                <a:solidFill>
                  <a:schemeClr val="tx1"/>
                </a:solidFill>
                <a:latin typeface="+mn-lt"/>
                <a:ea typeface="+mn-ea"/>
                <a:cs typeface="+mn-cs"/>
              </a:defRPr>
            </a:lvl4pPr>
            <a:lvl5pPr marL="684000" indent="-180000" algn="l" defTabSz="914400" rtl="0" eaLnBrk="1" latinLnBrk="0" hangingPunct="1">
              <a:lnSpc>
                <a:spcPct val="100000"/>
              </a:lnSpc>
              <a:spcBef>
                <a:spcPts val="300"/>
              </a:spcBef>
              <a:buSzPct val="100000"/>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pt-PT" sz="1400" dirty="0" smtClean="0">
                <a:solidFill>
                  <a:srgbClr val="005A70"/>
                </a:solidFill>
              </a:rPr>
              <a:t>*with catalytic support for routine introduction of MR 1st dose (provision of VIG)</a:t>
            </a:r>
          </a:p>
        </p:txBody>
      </p:sp>
    </p:spTree>
    <p:extLst>
      <p:ext uri="{BB962C8B-B14F-4D97-AF65-F5344CB8AC3E}">
        <p14:creationId xmlns:p14="http://schemas.microsoft.com/office/powerpoint/2010/main" val="284426501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0">
                                            <p:txEl>
                                              <p:pRg st="0" end="0"/>
                                            </p:txEl>
                                          </p:spTgt>
                                        </p:tgtEl>
                                        <p:attrNameLst>
                                          <p:attrName>style.visibility</p:attrName>
                                        </p:attrNameLst>
                                      </p:cBhvr>
                                      <p:to>
                                        <p:strVal val="visible"/>
                                      </p:to>
                                    </p:set>
                                    <p:animEffect transition="in" filter="fade">
                                      <p:cBhvr>
                                        <p:cTn id="7" dur="500"/>
                                        <p:tgtEl>
                                          <p:spTgt spid="10">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0">
                                            <p:txEl>
                                              <p:pRg st="1" end="1"/>
                                            </p:txEl>
                                          </p:spTgt>
                                        </p:tgtEl>
                                        <p:attrNameLst>
                                          <p:attrName>style.visibility</p:attrName>
                                        </p:attrNameLst>
                                      </p:cBhvr>
                                      <p:to>
                                        <p:strVal val="visible"/>
                                      </p:to>
                                    </p:set>
                                    <p:animEffect transition="in" filter="fade">
                                      <p:cBhvr>
                                        <p:cTn id="10" dur="500"/>
                                        <p:tgtEl>
                                          <p:spTgt spid="10">
                                            <p:txEl>
                                              <p:pRg st="1" end="1"/>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0">
                                            <p:txEl>
                                              <p:pRg st="2" end="2"/>
                                            </p:txEl>
                                          </p:spTgt>
                                        </p:tgtEl>
                                        <p:attrNameLst>
                                          <p:attrName>style.visibility</p:attrName>
                                        </p:attrNameLst>
                                      </p:cBhvr>
                                      <p:to>
                                        <p:strVal val="visible"/>
                                      </p:to>
                                    </p:set>
                                    <p:animEffect transition="in" filter="fade">
                                      <p:cBhvr>
                                        <p:cTn id="13" dur="500"/>
                                        <p:tgtEl>
                                          <p:spTgt spid="10">
                                            <p:txEl>
                                              <p:pRg st="2" end="2"/>
                                            </p:txEl>
                                          </p:spTgt>
                                        </p:tgtEl>
                                      </p:cBhvr>
                                    </p:animEffect>
                                  </p:childTnLst>
                                </p:cTn>
                              </p:par>
                              <p:par>
                                <p:cTn id="14" presetID="10" presetClass="entr" presetSubtype="0" fill="hold" nodeType="withEffect">
                                  <p:stCondLst>
                                    <p:cond delay="0"/>
                                  </p:stCondLst>
                                  <p:childTnLst>
                                    <p:set>
                                      <p:cBhvr>
                                        <p:cTn id="15" dur="1" fill="hold">
                                          <p:stCondLst>
                                            <p:cond delay="0"/>
                                          </p:stCondLst>
                                        </p:cTn>
                                        <p:tgtEl>
                                          <p:spTgt spid="13"/>
                                        </p:tgtEl>
                                        <p:attrNameLst>
                                          <p:attrName>style.visibility</p:attrName>
                                        </p:attrNameLst>
                                      </p:cBhvr>
                                      <p:to>
                                        <p:strVal val="visible"/>
                                      </p:to>
                                    </p:set>
                                    <p:animEffect transition="in" filter="fade">
                                      <p:cBhvr>
                                        <p:cTn id="16" dur="500"/>
                                        <p:tgtEl>
                                          <p:spTgt spid="13"/>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11"/>
                                        </p:tgtEl>
                                        <p:attrNameLst>
                                          <p:attrName>style.visibility</p:attrName>
                                        </p:attrNameLst>
                                      </p:cBhvr>
                                      <p:to>
                                        <p:strVal val="visible"/>
                                      </p:to>
                                    </p:set>
                                    <p:animEffect transition="in" filter="fade">
                                      <p:cBhvr>
                                        <p:cTn id="21" dur="500"/>
                                        <p:tgtEl>
                                          <p:spTgt spid="11"/>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15"/>
                                        </p:tgtEl>
                                        <p:attrNameLst>
                                          <p:attrName>style.visibility</p:attrName>
                                        </p:attrNameLst>
                                      </p:cBhvr>
                                      <p:to>
                                        <p:strVal val="visible"/>
                                      </p:to>
                                    </p:set>
                                    <p:animEffect transition="in" filter="fade">
                                      <p:cBhvr>
                                        <p:cTn id="24" dur="500"/>
                                        <p:tgtEl>
                                          <p:spTgt spid="15"/>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17"/>
                                        </p:tgtEl>
                                        <p:attrNameLst>
                                          <p:attrName>style.visibility</p:attrName>
                                        </p:attrNameLst>
                                      </p:cBhvr>
                                      <p:to>
                                        <p:strVal val="visible"/>
                                      </p:to>
                                    </p:set>
                                    <p:animEffect transition="in" filter="fade">
                                      <p:cBhvr>
                                        <p:cTn id="27" dur="500"/>
                                        <p:tgtEl>
                                          <p:spTgt spid="17"/>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14"/>
                                        </p:tgtEl>
                                        <p:attrNameLst>
                                          <p:attrName>style.visibility</p:attrName>
                                        </p:attrNameLst>
                                      </p:cBhvr>
                                      <p:to>
                                        <p:strVal val="visible"/>
                                      </p:to>
                                    </p:set>
                                    <p:animEffect transition="in" filter="fade">
                                      <p:cBhvr>
                                        <p:cTn id="32" dur="500"/>
                                        <p:tgtEl>
                                          <p:spTgt spid="14"/>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16"/>
                                        </p:tgtEl>
                                        <p:attrNameLst>
                                          <p:attrName>style.visibility</p:attrName>
                                        </p:attrNameLst>
                                      </p:cBhvr>
                                      <p:to>
                                        <p:strVal val="visible"/>
                                      </p:to>
                                    </p:set>
                                    <p:animEffect transition="in" filter="fade">
                                      <p:cBhvr>
                                        <p:cTn id="35"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uiExpand="1" build="p"/>
      <p:bldP spid="15" grpId="0"/>
      <p:bldP spid="16" grpId="0"/>
      <p:bldP spid="17"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25687" y="60232"/>
            <a:ext cx="7669410" cy="1036637"/>
          </a:xfrm>
        </p:spPr>
        <p:txBody>
          <a:bodyPr/>
          <a:lstStyle/>
          <a:p>
            <a:r>
              <a:rPr lang="en-US" sz="3200" dirty="0" smtClean="0"/>
              <a:t>Nonetheless, MCV1 </a:t>
            </a:r>
            <a:r>
              <a:rPr lang="en-US" sz="3200" dirty="0"/>
              <a:t>coverage has </a:t>
            </a:r>
            <a:r>
              <a:rPr lang="en-US" sz="3200" dirty="0" smtClean="0"/>
              <a:t/>
            </a:r>
            <a:br>
              <a:rPr lang="en-US" sz="3200" dirty="0" smtClean="0"/>
            </a:br>
            <a:r>
              <a:rPr lang="en-US" sz="3200" dirty="0" smtClean="0"/>
              <a:t>stagnated in </a:t>
            </a:r>
            <a:r>
              <a:rPr lang="en-US" sz="3200" dirty="0"/>
              <a:t>Gavi </a:t>
            </a:r>
            <a:r>
              <a:rPr lang="en-US" sz="3200" dirty="0" smtClean="0"/>
              <a:t>countries </a:t>
            </a:r>
            <a:endParaRPr lang="en-US" sz="3200" dirty="0"/>
          </a:p>
        </p:txBody>
      </p:sp>
      <p:pic>
        <p:nvPicPr>
          <p:cNvPr id="14" name="Picture 13"/>
          <p:cNvPicPr>
            <a:picLocks noChangeAspect="1"/>
          </p:cNvPicPr>
          <p:nvPr/>
        </p:nvPicPr>
        <p:blipFill rotWithShape="1">
          <a:blip r:embed="rId3" cstate="print">
            <a:extLst>
              <a:ext uri="{28A0092B-C50C-407E-A947-70E740481C1C}">
                <a14:useLocalDpi xmlns:a14="http://schemas.microsoft.com/office/drawing/2010/main" val="0"/>
              </a:ext>
            </a:extLst>
          </a:blip>
          <a:srcRect l="15909" t="10200" r="15909" b="10200"/>
          <a:stretch/>
        </p:blipFill>
        <p:spPr>
          <a:xfrm>
            <a:off x="7298016" y="257591"/>
            <a:ext cx="1619172" cy="1417902"/>
          </a:xfrm>
          <a:prstGeom prst="rect">
            <a:avLst/>
          </a:prstGeom>
        </p:spPr>
      </p:pic>
      <p:sp>
        <p:nvSpPr>
          <p:cNvPr id="4" name="Slide Number Placeholder 3"/>
          <p:cNvSpPr>
            <a:spLocks noGrp="1"/>
          </p:cNvSpPr>
          <p:nvPr>
            <p:ph type="sldNum" sz="quarter" idx="11"/>
          </p:nvPr>
        </p:nvSpPr>
        <p:spPr>
          <a:xfrm>
            <a:off x="0" y="6490990"/>
            <a:ext cx="453615" cy="360362"/>
          </a:xfrm>
        </p:spPr>
        <p:txBody>
          <a:bodyPr/>
          <a:lstStyle/>
          <a:p>
            <a:r>
              <a:rPr lang="en-GB" dirty="0" smtClean="0">
                <a:solidFill>
                  <a:srgbClr val="343434"/>
                </a:solidFill>
              </a:rPr>
              <a:t>3</a:t>
            </a:r>
            <a:endParaRPr lang="en-GB" dirty="0">
              <a:solidFill>
                <a:srgbClr val="343434"/>
              </a:solidFill>
            </a:endParaRPr>
          </a:p>
        </p:txBody>
      </p:sp>
      <p:sp>
        <p:nvSpPr>
          <p:cNvPr id="5" name="Oval 4"/>
          <p:cNvSpPr/>
          <p:nvPr/>
        </p:nvSpPr>
        <p:spPr>
          <a:xfrm>
            <a:off x="7741884" y="1988840"/>
            <a:ext cx="914400" cy="914400"/>
          </a:xfrm>
          <a:prstGeom prst="ellipse">
            <a:avLst/>
          </a:prstGeom>
          <a:solidFill>
            <a:schemeClr val="bg1"/>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fontAlgn="base">
              <a:spcBef>
                <a:spcPct val="0"/>
              </a:spcBef>
              <a:spcAft>
                <a:spcPct val="0"/>
              </a:spcAft>
            </a:pPr>
            <a:endParaRPr lang="en-GB" sz="3900" b="1">
              <a:solidFill>
                <a:prstClr val="white"/>
              </a:solidFill>
            </a:endParaRPr>
          </a:p>
        </p:txBody>
      </p:sp>
      <p:sp>
        <p:nvSpPr>
          <p:cNvPr id="29" name="Content Placeholder 5"/>
          <p:cNvSpPr>
            <a:spLocks noGrp="1"/>
          </p:cNvSpPr>
          <p:nvPr>
            <p:ph idx="4294967295"/>
          </p:nvPr>
        </p:nvSpPr>
        <p:spPr>
          <a:xfrm>
            <a:off x="7787301" y="1956507"/>
            <a:ext cx="865990" cy="825393"/>
          </a:xfrm>
          <a:prstGeom prst="rect">
            <a:avLst/>
          </a:prstGeom>
        </p:spPr>
        <p:txBody>
          <a:bodyPr/>
          <a:lstStyle/>
          <a:p>
            <a:pPr algn="ctr"/>
            <a:endParaRPr lang="en-GB" sz="900" dirty="0">
              <a:solidFill>
                <a:schemeClr val="bg1">
                  <a:lumMod val="65000"/>
                </a:schemeClr>
              </a:solidFill>
            </a:endParaRPr>
          </a:p>
          <a:p>
            <a:pPr algn="ctr"/>
            <a:r>
              <a:rPr lang="en-GB" sz="900" b="0" dirty="0">
                <a:solidFill>
                  <a:schemeClr val="accent4"/>
                </a:solidFill>
                <a:latin typeface="Arial" panose="020B0604020202020204" pitchFamily="34" charset="0"/>
                <a:cs typeface="Arial" panose="020B0604020202020204" pitchFamily="34" charset="0"/>
              </a:rPr>
              <a:t>MCV1 </a:t>
            </a:r>
          </a:p>
          <a:p>
            <a:pPr algn="ctr"/>
            <a:r>
              <a:rPr lang="en-GB" sz="900" b="0" dirty="0">
                <a:solidFill>
                  <a:schemeClr val="accent4"/>
                </a:solidFill>
                <a:latin typeface="Arial" panose="020B0604020202020204" pitchFamily="34" charset="0"/>
                <a:cs typeface="Arial" panose="020B0604020202020204" pitchFamily="34" charset="0"/>
              </a:rPr>
              <a:t>coverage </a:t>
            </a:r>
          </a:p>
          <a:p>
            <a:pPr algn="ctr"/>
            <a:r>
              <a:rPr lang="en-GB" sz="900" b="0" dirty="0">
                <a:solidFill>
                  <a:schemeClr val="accent4"/>
                </a:solidFill>
                <a:latin typeface="Arial" panose="020B0604020202020204" pitchFamily="34" charset="0"/>
                <a:cs typeface="Arial" panose="020B0604020202020204" pitchFamily="34" charset="0"/>
              </a:rPr>
              <a:t>range: </a:t>
            </a:r>
          </a:p>
          <a:p>
            <a:pPr algn="ctr"/>
            <a:r>
              <a:rPr lang="en-GB" sz="1400" kern="0" dirty="0">
                <a:solidFill>
                  <a:schemeClr val="accent4"/>
                </a:solidFill>
                <a:latin typeface="Arial"/>
              </a:rPr>
              <a:t>20-99%</a:t>
            </a:r>
          </a:p>
        </p:txBody>
      </p:sp>
      <p:graphicFrame>
        <p:nvGraphicFramePr>
          <p:cNvPr id="16" name="Chart 15"/>
          <p:cNvGraphicFramePr>
            <a:graphicFrameLocks/>
          </p:cNvGraphicFramePr>
          <p:nvPr>
            <p:extLst>
              <p:ext uri="{D42A27DB-BD31-4B8C-83A1-F6EECF244321}">
                <p14:modId xmlns:p14="http://schemas.microsoft.com/office/powerpoint/2010/main" val="2220814039"/>
              </p:ext>
            </p:extLst>
          </p:nvPr>
        </p:nvGraphicFramePr>
        <p:xfrm>
          <a:off x="1090157" y="1345563"/>
          <a:ext cx="6192688" cy="2822168"/>
        </p:xfrm>
        <a:graphic>
          <a:graphicData uri="http://schemas.openxmlformats.org/drawingml/2006/chart">
            <c:chart xmlns:c="http://schemas.openxmlformats.org/drawingml/2006/chart" xmlns:r="http://schemas.openxmlformats.org/officeDocument/2006/relationships" r:id="rId4"/>
          </a:graphicData>
        </a:graphic>
      </p:graphicFrame>
      <p:sp>
        <p:nvSpPr>
          <p:cNvPr id="17" name="TextBox 1"/>
          <p:cNvSpPr txBox="1"/>
          <p:nvPr/>
        </p:nvSpPr>
        <p:spPr>
          <a:xfrm>
            <a:off x="564348" y="6006081"/>
            <a:ext cx="6959980" cy="484909"/>
          </a:xfrm>
          <a:prstGeom prst="rect">
            <a:avLst/>
          </a:prstGeom>
        </p:spPr>
        <p:txBody>
          <a:bodyPr wrap="non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rtl="1" fontAlgn="base">
              <a:spcBef>
                <a:spcPct val="0"/>
              </a:spcBef>
              <a:spcAft>
                <a:spcPct val="0"/>
              </a:spcAft>
            </a:pPr>
            <a:r>
              <a:rPr lang="fr-CH" sz="800" b="1">
                <a:solidFill>
                  <a:srgbClr val="005CB9"/>
                </a:solidFill>
              </a:rPr>
              <a:t>Source: Gavi; WHO/UNICEF vaccination </a:t>
            </a:r>
            <a:r>
              <a:rPr lang="fr-CH" sz="800" b="1" err="1">
                <a:solidFill>
                  <a:srgbClr val="005CB9"/>
                </a:solidFill>
              </a:rPr>
              <a:t>coverage</a:t>
            </a:r>
            <a:r>
              <a:rPr lang="fr-CH" sz="800" b="1">
                <a:solidFill>
                  <a:srgbClr val="005CB9"/>
                </a:solidFill>
              </a:rPr>
              <a:t> </a:t>
            </a:r>
            <a:r>
              <a:rPr lang="fr-CH" sz="800" b="1" err="1">
                <a:solidFill>
                  <a:srgbClr val="005CB9"/>
                </a:solidFill>
              </a:rPr>
              <a:t>estimates</a:t>
            </a:r>
            <a:r>
              <a:rPr lang="fr-CH" sz="800" b="1">
                <a:solidFill>
                  <a:srgbClr val="005CB9"/>
                </a:solidFill>
              </a:rPr>
              <a:t>, 2016 </a:t>
            </a:r>
            <a:r>
              <a:rPr lang="fr-CH" sz="800" b="1" err="1">
                <a:solidFill>
                  <a:srgbClr val="005CB9"/>
                </a:solidFill>
              </a:rPr>
              <a:t>revision</a:t>
            </a:r>
            <a:r>
              <a:rPr lang="fr-CH" sz="800" b="1">
                <a:solidFill>
                  <a:srgbClr val="005CB9"/>
                </a:solidFill>
              </a:rPr>
              <a:t>, July 2017; </a:t>
            </a:r>
            <a:r>
              <a:rPr lang="fr-CH" sz="800" b="1" err="1">
                <a:solidFill>
                  <a:srgbClr val="005CB9"/>
                </a:solidFill>
              </a:rPr>
              <a:t>Weighted</a:t>
            </a:r>
            <a:r>
              <a:rPr lang="fr-CH" sz="800" b="1">
                <a:solidFill>
                  <a:srgbClr val="005CB9"/>
                </a:solidFill>
              </a:rPr>
              <a:t> </a:t>
            </a:r>
            <a:r>
              <a:rPr lang="fr-CH" sz="800" b="1" err="1">
                <a:solidFill>
                  <a:srgbClr val="005CB9"/>
                </a:solidFill>
              </a:rPr>
              <a:t>coverage</a:t>
            </a:r>
            <a:r>
              <a:rPr lang="fr-CH" sz="800" b="1">
                <a:solidFill>
                  <a:srgbClr val="005CB9"/>
                </a:solidFill>
              </a:rPr>
              <a:t> for Gavi 73 countries</a:t>
            </a:r>
          </a:p>
          <a:p>
            <a:pPr rtl="1" fontAlgn="base">
              <a:spcBef>
                <a:spcPct val="0"/>
              </a:spcBef>
              <a:spcAft>
                <a:spcPct val="0"/>
              </a:spcAft>
            </a:pPr>
            <a:r>
              <a:rPr lang="fr-CH" sz="800" b="1">
                <a:solidFill>
                  <a:srgbClr val="005CB9"/>
                </a:solidFill>
              </a:rPr>
              <a:t>(Date of slide 11 August 2017)</a:t>
            </a:r>
            <a:endParaRPr lang="en-GB" sz="800" b="1">
              <a:solidFill>
                <a:srgbClr val="005CB9"/>
              </a:solidFill>
            </a:endParaRPr>
          </a:p>
        </p:txBody>
      </p:sp>
      <p:sp>
        <p:nvSpPr>
          <p:cNvPr id="3" name="TextBox 2"/>
          <p:cNvSpPr txBox="1"/>
          <p:nvPr/>
        </p:nvSpPr>
        <p:spPr>
          <a:xfrm>
            <a:off x="7105419" y="1796833"/>
            <a:ext cx="611065" cy="461665"/>
          </a:xfrm>
          <a:prstGeom prst="rect">
            <a:avLst/>
          </a:prstGeom>
          <a:noFill/>
        </p:spPr>
        <p:txBody>
          <a:bodyPr wrap="none" rtlCol="0">
            <a:spAutoFit/>
          </a:bodyPr>
          <a:lstStyle/>
          <a:p>
            <a:pPr rtl="1" fontAlgn="base">
              <a:spcBef>
                <a:spcPct val="0"/>
              </a:spcBef>
              <a:spcAft>
                <a:spcPct val="0"/>
              </a:spcAft>
            </a:pPr>
            <a:r>
              <a:rPr lang="fr-CH" sz="1200" b="1">
                <a:solidFill>
                  <a:srgbClr val="00B050"/>
                </a:solidFill>
                <a:cs typeface="Arial" charset="0"/>
              </a:rPr>
              <a:t>MCV1</a:t>
            </a:r>
          </a:p>
          <a:p>
            <a:pPr rtl="1" fontAlgn="base">
              <a:spcBef>
                <a:spcPct val="0"/>
              </a:spcBef>
              <a:spcAft>
                <a:spcPct val="0"/>
              </a:spcAft>
            </a:pPr>
            <a:r>
              <a:rPr lang="fr-CH" sz="1200" b="1">
                <a:solidFill>
                  <a:srgbClr val="00B050"/>
                </a:solidFill>
                <a:cs typeface="Arial" charset="0"/>
              </a:rPr>
              <a:t>78%</a:t>
            </a:r>
            <a:endParaRPr lang="en-GB" sz="1200" b="1">
              <a:solidFill>
                <a:srgbClr val="00B050"/>
              </a:solidFill>
              <a:cs typeface="Arial" charset="0"/>
            </a:endParaRPr>
          </a:p>
        </p:txBody>
      </p:sp>
      <p:sp>
        <p:nvSpPr>
          <p:cNvPr id="19" name="TextBox 18"/>
          <p:cNvSpPr txBox="1"/>
          <p:nvPr/>
        </p:nvSpPr>
        <p:spPr>
          <a:xfrm>
            <a:off x="7105418" y="2478935"/>
            <a:ext cx="611065" cy="461665"/>
          </a:xfrm>
          <a:prstGeom prst="rect">
            <a:avLst/>
          </a:prstGeom>
          <a:noFill/>
        </p:spPr>
        <p:txBody>
          <a:bodyPr wrap="none" rtlCol="0">
            <a:spAutoFit/>
          </a:bodyPr>
          <a:lstStyle/>
          <a:p>
            <a:pPr rtl="1" fontAlgn="base">
              <a:spcBef>
                <a:spcPct val="0"/>
              </a:spcBef>
              <a:spcAft>
                <a:spcPct val="0"/>
              </a:spcAft>
            </a:pPr>
            <a:r>
              <a:rPr lang="fr-CH" sz="1200" b="1">
                <a:solidFill>
                  <a:srgbClr val="92D050"/>
                </a:solidFill>
                <a:cs typeface="Arial" charset="0"/>
              </a:rPr>
              <a:t>MCV2</a:t>
            </a:r>
          </a:p>
          <a:p>
            <a:pPr rtl="1" fontAlgn="base">
              <a:spcBef>
                <a:spcPct val="0"/>
              </a:spcBef>
              <a:spcAft>
                <a:spcPct val="0"/>
              </a:spcAft>
            </a:pPr>
            <a:r>
              <a:rPr lang="fr-CH" sz="1200" b="1">
                <a:solidFill>
                  <a:srgbClr val="92D050"/>
                </a:solidFill>
                <a:cs typeface="Arial" charset="0"/>
              </a:rPr>
              <a:t>50%</a:t>
            </a:r>
            <a:endParaRPr lang="en-GB" sz="1200" b="1">
              <a:solidFill>
                <a:srgbClr val="92D050"/>
              </a:solidFill>
              <a:cs typeface="Arial" charset="0"/>
            </a:endParaRPr>
          </a:p>
        </p:txBody>
      </p:sp>
      <p:sp>
        <p:nvSpPr>
          <p:cNvPr id="20" name="Footer Placeholder 6"/>
          <p:cNvSpPr txBox="1">
            <a:spLocks/>
          </p:cNvSpPr>
          <p:nvPr/>
        </p:nvSpPr>
        <p:spPr bwMode="gray">
          <a:xfrm>
            <a:off x="2353059" y="6490990"/>
            <a:ext cx="4321175" cy="360362"/>
          </a:xfrm>
          <a:prstGeom prst="rect">
            <a:avLst/>
          </a:prstGeom>
        </p:spPr>
        <p:txBody>
          <a:bodyPr vert="horz" lIns="0" tIns="7200" rIns="0" bIns="0" rtlCol="0" anchor="t" anchorCtr="0">
            <a:noAutofit/>
          </a:bodyPr>
          <a:lstStyle>
            <a:defPPr>
              <a:defRPr lang="fr-FR"/>
            </a:defPPr>
            <a:lvl1pPr marL="0" algn="ctr" defTabSz="914400" rtl="0" eaLnBrk="1" fontAlgn="auto" latinLnBrk="0" hangingPunct="1">
              <a:spcBef>
                <a:spcPts val="0"/>
              </a:spcBef>
              <a:spcAft>
                <a:spcPts val="0"/>
              </a:spcAft>
              <a:defRPr sz="1000" b="1" kern="1200">
                <a:solidFill>
                  <a:schemeClr val="accent4"/>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dirty="0">
                <a:solidFill>
                  <a:srgbClr val="005CB9"/>
                </a:solidFill>
              </a:rPr>
              <a:t>#</a:t>
            </a:r>
            <a:r>
              <a:rPr lang="en-US" dirty="0" err="1">
                <a:solidFill>
                  <a:srgbClr val="005CB9"/>
                </a:solidFill>
              </a:rPr>
              <a:t>vaccineswork</a:t>
            </a:r>
            <a:endParaRPr lang="en-US" dirty="0">
              <a:solidFill>
                <a:srgbClr val="005CB9"/>
              </a:solidFill>
            </a:endParaRPr>
          </a:p>
        </p:txBody>
      </p:sp>
      <p:sp>
        <p:nvSpPr>
          <p:cNvPr id="8" name="Rectangle 7"/>
          <p:cNvSpPr/>
          <p:nvPr/>
        </p:nvSpPr>
        <p:spPr>
          <a:xfrm>
            <a:off x="564788" y="4307258"/>
            <a:ext cx="7897715" cy="1477328"/>
          </a:xfrm>
          <a:prstGeom prst="rect">
            <a:avLst/>
          </a:prstGeom>
        </p:spPr>
        <p:txBody>
          <a:bodyPr wrap="square">
            <a:spAutoFit/>
          </a:bodyPr>
          <a:lstStyle/>
          <a:p>
            <a:pPr algn="ctr"/>
            <a:r>
              <a:rPr lang="en-GB" i="1" dirty="0">
                <a:solidFill>
                  <a:schemeClr val="tx1">
                    <a:lumMod val="75000"/>
                    <a:lumOff val="25000"/>
                  </a:schemeClr>
                </a:solidFill>
              </a:rPr>
              <a:t>“recommends focusing on </a:t>
            </a:r>
            <a:r>
              <a:rPr lang="en-GB" b="1" i="1" dirty="0">
                <a:solidFill>
                  <a:schemeClr val="tx1">
                    <a:lumMod val="75000"/>
                    <a:lumOff val="25000"/>
                  </a:schemeClr>
                </a:solidFill>
              </a:rPr>
              <a:t>improving ongoing immunization systems </a:t>
            </a:r>
            <a:r>
              <a:rPr lang="en-GB" i="1" dirty="0">
                <a:solidFill>
                  <a:schemeClr val="tx1">
                    <a:lumMod val="75000"/>
                    <a:lumOff val="25000"/>
                  </a:schemeClr>
                </a:solidFill>
              </a:rPr>
              <a:t>-- although this may delay reaching measles and rubella elimination goals -- in order to ensure that gains in measles and rubella control can be sustained”</a:t>
            </a:r>
          </a:p>
          <a:p>
            <a:pPr algn="ctr"/>
            <a:endParaRPr lang="pt-PT" i="1" dirty="0">
              <a:solidFill>
                <a:schemeClr val="tx1">
                  <a:lumMod val="75000"/>
                  <a:lumOff val="25000"/>
                </a:schemeClr>
              </a:solidFill>
            </a:endParaRPr>
          </a:p>
          <a:p>
            <a:pPr algn="ctr"/>
            <a:r>
              <a:rPr lang="en-GB" sz="1600" i="1" dirty="0">
                <a:solidFill>
                  <a:schemeClr val="tx1">
                    <a:lumMod val="75000"/>
                    <a:lumOff val="25000"/>
                  </a:schemeClr>
                </a:solidFill>
              </a:rPr>
              <a:t>Measles and Rubella Global Strategic Plan 2012-2020 Midterm Review</a:t>
            </a:r>
          </a:p>
        </p:txBody>
      </p:sp>
    </p:spTree>
    <p:extLst>
      <p:ext uri="{BB962C8B-B14F-4D97-AF65-F5344CB8AC3E}">
        <p14:creationId xmlns:p14="http://schemas.microsoft.com/office/powerpoint/2010/main" val="78524556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p:cNvSpPr txBox="1"/>
          <p:nvPr/>
        </p:nvSpPr>
        <p:spPr>
          <a:xfrm>
            <a:off x="4814733" y="1751905"/>
            <a:ext cx="3987149" cy="3693319"/>
          </a:xfrm>
          <a:prstGeom prst="rect">
            <a:avLst/>
          </a:prstGeom>
          <a:noFill/>
        </p:spPr>
        <p:txBody>
          <a:bodyPr wrap="square" rtlCol="0">
            <a:spAutoFit/>
          </a:bodyPr>
          <a:lstStyle/>
          <a:p>
            <a:pPr rtl="1" fontAlgn="base">
              <a:spcBef>
                <a:spcPct val="0"/>
              </a:spcBef>
              <a:spcAft>
                <a:spcPts val="1200"/>
              </a:spcAft>
            </a:pPr>
            <a:r>
              <a:rPr lang="en-GB" sz="2000">
                <a:solidFill>
                  <a:schemeClr val="accent4"/>
                </a:solidFill>
                <a:cs typeface="Arial" charset="0"/>
              </a:rPr>
              <a:t>-</a:t>
            </a:r>
            <a:r>
              <a:rPr lang="en-GB" sz="2000" b="1">
                <a:solidFill>
                  <a:schemeClr val="accent4"/>
                </a:solidFill>
                <a:cs typeface="Arial" charset="0"/>
              </a:rPr>
              <a:t> Measles control</a:t>
            </a:r>
            <a:r>
              <a:rPr lang="en-GB" sz="2000">
                <a:solidFill>
                  <a:schemeClr val="accent4"/>
                </a:solidFill>
                <a:cs typeface="Arial" charset="0"/>
              </a:rPr>
              <a:t>: an important step on the </a:t>
            </a:r>
            <a:r>
              <a:rPr lang="en-GB" sz="2000" b="1">
                <a:solidFill>
                  <a:schemeClr val="accent4"/>
                </a:solidFill>
                <a:cs typeface="Arial" charset="0"/>
              </a:rPr>
              <a:t>continuum</a:t>
            </a:r>
            <a:r>
              <a:rPr lang="en-GB" sz="2000">
                <a:solidFill>
                  <a:schemeClr val="accent4"/>
                </a:solidFill>
                <a:cs typeface="Arial" charset="0"/>
              </a:rPr>
              <a:t> towards elimination</a:t>
            </a:r>
          </a:p>
          <a:p>
            <a:pPr rtl="1" fontAlgn="base">
              <a:spcBef>
                <a:spcPct val="0"/>
              </a:spcBef>
              <a:spcAft>
                <a:spcPts val="1200"/>
              </a:spcAft>
            </a:pPr>
            <a:r>
              <a:rPr lang="en-GB" sz="2000">
                <a:solidFill>
                  <a:schemeClr val="accent4"/>
                </a:solidFill>
                <a:cs typeface="Arial" charset="0"/>
              </a:rPr>
              <a:t>- Gavi support should be to contribute to countries along this </a:t>
            </a:r>
            <a:r>
              <a:rPr lang="en-GB" sz="2000" b="1">
                <a:solidFill>
                  <a:schemeClr val="accent4"/>
                </a:solidFill>
                <a:cs typeface="Arial" charset="0"/>
              </a:rPr>
              <a:t>continuum</a:t>
            </a:r>
            <a:r>
              <a:rPr lang="en-GB" sz="2000">
                <a:solidFill>
                  <a:schemeClr val="accent4"/>
                </a:solidFill>
                <a:cs typeface="Arial" charset="0"/>
              </a:rPr>
              <a:t> through improved disease control</a:t>
            </a:r>
          </a:p>
          <a:p>
            <a:pPr rtl="1" fontAlgn="base">
              <a:spcBef>
                <a:spcPct val="0"/>
              </a:spcBef>
              <a:spcAft>
                <a:spcPts val="1200"/>
              </a:spcAft>
            </a:pPr>
            <a:r>
              <a:rPr lang="en-GB" sz="2000">
                <a:solidFill>
                  <a:schemeClr val="accent4"/>
                </a:solidFill>
                <a:cs typeface="Arial" charset="0"/>
              </a:rPr>
              <a:t>- Gavi’s estimated investment for 2016-2020 is ~US$ 1 billion</a:t>
            </a:r>
          </a:p>
          <a:p>
            <a:pPr rtl="1" fontAlgn="base">
              <a:spcBef>
                <a:spcPct val="0"/>
              </a:spcBef>
              <a:spcAft>
                <a:spcPts val="1200"/>
              </a:spcAft>
            </a:pPr>
            <a:endParaRPr lang="en-GB" sz="2400" b="1">
              <a:solidFill>
                <a:srgbClr val="00A03A"/>
              </a:solidFill>
              <a:cs typeface="Arial" charset="0"/>
            </a:endParaRPr>
          </a:p>
        </p:txBody>
      </p:sp>
      <p:sp>
        <p:nvSpPr>
          <p:cNvPr id="9" name="Titre 1"/>
          <p:cNvSpPr>
            <a:spLocks noGrp="1"/>
          </p:cNvSpPr>
          <p:nvPr>
            <p:ph type="title"/>
          </p:nvPr>
        </p:nvSpPr>
        <p:spPr>
          <a:xfrm>
            <a:off x="539552" y="50851"/>
            <a:ext cx="7932170" cy="1036637"/>
          </a:xfrm>
        </p:spPr>
        <p:txBody>
          <a:bodyPr/>
          <a:lstStyle/>
          <a:p>
            <a:r>
              <a:rPr lang="en-US" sz="3200" err="1"/>
              <a:t>Gavi’s</a:t>
            </a:r>
            <a:r>
              <a:rPr lang="en-US" sz="3200"/>
              <a:t> new Measles and Rubella Strategy: Best pragmatic return on investment </a:t>
            </a:r>
          </a:p>
        </p:txBody>
      </p:sp>
      <p:pic>
        <p:nvPicPr>
          <p:cNvPr id="2" name="Picture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79512" y="1648460"/>
            <a:ext cx="4320480" cy="3221196"/>
          </a:xfrm>
          <a:prstGeom prst="rect">
            <a:avLst/>
          </a:prstGeom>
        </p:spPr>
      </p:pic>
      <p:sp>
        <p:nvSpPr>
          <p:cNvPr id="4" name="TextBox 3"/>
          <p:cNvSpPr txBox="1"/>
          <p:nvPr/>
        </p:nvSpPr>
        <p:spPr>
          <a:xfrm>
            <a:off x="1619672" y="2019735"/>
            <a:ext cx="2088232" cy="646331"/>
          </a:xfrm>
          <a:prstGeom prst="rect">
            <a:avLst/>
          </a:prstGeom>
          <a:noFill/>
        </p:spPr>
        <p:txBody>
          <a:bodyPr wrap="square" rtlCol="0">
            <a:spAutoFit/>
          </a:bodyPr>
          <a:lstStyle/>
          <a:p>
            <a:pPr algn="ctr" rtl="1" fontAlgn="base">
              <a:spcBef>
                <a:spcPct val="0"/>
              </a:spcBef>
              <a:spcAft>
                <a:spcPct val="0"/>
              </a:spcAft>
            </a:pPr>
            <a:r>
              <a:rPr lang="en-US">
                <a:solidFill>
                  <a:srgbClr val="00A03A"/>
                </a:solidFill>
                <a:cs typeface="Arial" charset="0"/>
              </a:rPr>
              <a:t>Increased </a:t>
            </a:r>
          </a:p>
          <a:p>
            <a:pPr algn="ctr" rtl="1" fontAlgn="base">
              <a:spcBef>
                <a:spcPct val="0"/>
              </a:spcBef>
              <a:spcAft>
                <a:spcPct val="0"/>
              </a:spcAft>
            </a:pPr>
            <a:r>
              <a:rPr lang="en-US">
                <a:solidFill>
                  <a:srgbClr val="00A03A"/>
                </a:solidFill>
                <a:cs typeface="Arial" charset="0"/>
              </a:rPr>
              <a:t>country ownership</a:t>
            </a:r>
          </a:p>
        </p:txBody>
      </p:sp>
      <p:sp>
        <p:nvSpPr>
          <p:cNvPr id="12" name="TextBox 11"/>
          <p:cNvSpPr txBox="1"/>
          <p:nvPr/>
        </p:nvSpPr>
        <p:spPr>
          <a:xfrm>
            <a:off x="918914" y="3605716"/>
            <a:ext cx="2091440" cy="923330"/>
          </a:xfrm>
          <a:prstGeom prst="rect">
            <a:avLst/>
          </a:prstGeom>
          <a:noFill/>
        </p:spPr>
        <p:txBody>
          <a:bodyPr wrap="square" rtlCol="0">
            <a:spAutoFit/>
          </a:bodyPr>
          <a:lstStyle/>
          <a:p>
            <a:pPr algn="ctr" rtl="1" fontAlgn="base">
              <a:spcBef>
                <a:spcPct val="0"/>
              </a:spcBef>
              <a:spcAft>
                <a:spcPct val="0"/>
              </a:spcAft>
            </a:pPr>
            <a:r>
              <a:rPr lang="en-US">
                <a:solidFill>
                  <a:srgbClr val="00A03A"/>
                </a:solidFill>
                <a:cs typeface="Arial" charset="0"/>
              </a:rPr>
              <a:t>Programmatic and</a:t>
            </a:r>
          </a:p>
          <a:p>
            <a:pPr algn="ctr" rtl="1" fontAlgn="base">
              <a:spcBef>
                <a:spcPct val="0"/>
              </a:spcBef>
              <a:spcAft>
                <a:spcPct val="0"/>
              </a:spcAft>
            </a:pPr>
            <a:r>
              <a:rPr lang="en-US">
                <a:solidFill>
                  <a:srgbClr val="00A03A"/>
                </a:solidFill>
                <a:cs typeface="Arial" charset="0"/>
              </a:rPr>
              <a:t>financial sustainability</a:t>
            </a:r>
          </a:p>
        </p:txBody>
      </p:sp>
      <p:sp>
        <p:nvSpPr>
          <p:cNvPr id="3" name="Rectangle 2"/>
          <p:cNvSpPr/>
          <p:nvPr/>
        </p:nvSpPr>
        <p:spPr>
          <a:xfrm>
            <a:off x="497424" y="5204727"/>
            <a:ext cx="7974298" cy="1015663"/>
          </a:xfrm>
          <a:prstGeom prst="rect">
            <a:avLst/>
          </a:prstGeom>
        </p:spPr>
        <p:txBody>
          <a:bodyPr wrap="square">
            <a:spAutoFit/>
          </a:bodyPr>
          <a:lstStyle/>
          <a:p>
            <a:pPr rtl="1" fontAlgn="base">
              <a:spcBef>
                <a:spcPct val="0"/>
              </a:spcBef>
              <a:spcAft>
                <a:spcPct val="0"/>
              </a:spcAft>
            </a:pPr>
            <a:r>
              <a:rPr lang="en-GB" sz="2000">
                <a:solidFill>
                  <a:schemeClr val="accent4"/>
                </a:solidFill>
                <a:cs typeface="Arial" charset="0"/>
              </a:rPr>
              <a:t>- Measles is the ‘</a:t>
            </a:r>
            <a:r>
              <a:rPr lang="en-GB" sz="2000" b="1">
                <a:solidFill>
                  <a:schemeClr val="accent4"/>
                </a:solidFill>
                <a:cs typeface="Arial" charset="0"/>
              </a:rPr>
              <a:t>canary in the coalmine</a:t>
            </a:r>
            <a:r>
              <a:rPr lang="en-GB" sz="2000">
                <a:solidFill>
                  <a:schemeClr val="accent4"/>
                </a:solidFill>
                <a:cs typeface="Arial" charset="0"/>
              </a:rPr>
              <a:t>’ </a:t>
            </a:r>
          </a:p>
          <a:p>
            <a:pPr rtl="1" fontAlgn="base">
              <a:spcBef>
                <a:spcPct val="0"/>
              </a:spcBef>
              <a:spcAft>
                <a:spcPct val="0"/>
              </a:spcAft>
            </a:pPr>
            <a:r>
              <a:rPr lang="en-GB" sz="2000">
                <a:solidFill>
                  <a:schemeClr val="accent4"/>
                </a:solidFill>
                <a:cs typeface="Arial" charset="0"/>
              </a:rPr>
              <a:t>- More than 95% of measles deaths occur in countries with low per capita income and weak health systems  </a:t>
            </a:r>
          </a:p>
        </p:txBody>
      </p:sp>
      <p:sp>
        <p:nvSpPr>
          <p:cNvPr id="6" name="TextBox 5"/>
          <p:cNvSpPr txBox="1"/>
          <p:nvPr/>
        </p:nvSpPr>
        <p:spPr>
          <a:xfrm>
            <a:off x="1292188" y="1222155"/>
            <a:ext cx="2743200" cy="523220"/>
          </a:xfrm>
          <a:prstGeom prst="rect">
            <a:avLst/>
          </a:prstGeom>
        </p:spPr>
        <p:txBody>
          <a:bodyPr rtlCol="0">
            <a:spAutoFit/>
          </a:bodyPr>
          <a:lstStyle/>
          <a:p>
            <a:pPr algn="ctr" rtl="1" fontAlgn="base">
              <a:spcBef>
                <a:spcPct val="0"/>
              </a:spcBef>
              <a:spcAft>
                <a:spcPct val="0"/>
              </a:spcAft>
            </a:pPr>
            <a:r>
              <a:rPr lang="en-US" sz="2800" b="1">
                <a:solidFill>
                  <a:srgbClr val="005CB9"/>
                </a:solidFill>
                <a:cs typeface="Arial" charset="0"/>
              </a:rPr>
              <a:t>Principles</a:t>
            </a:r>
          </a:p>
        </p:txBody>
      </p:sp>
      <p:sp>
        <p:nvSpPr>
          <p:cNvPr id="8" name="Slide Number Placeholder 7"/>
          <p:cNvSpPr>
            <a:spLocks noGrp="1"/>
          </p:cNvSpPr>
          <p:nvPr>
            <p:ph type="sldNum" sz="quarter" idx="11"/>
          </p:nvPr>
        </p:nvSpPr>
        <p:spPr>
          <a:xfrm>
            <a:off x="1" y="6520585"/>
            <a:ext cx="323528" cy="360362"/>
          </a:xfrm>
        </p:spPr>
        <p:txBody>
          <a:bodyPr/>
          <a:lstStyle/>
          <a:p>
            <a:r>
              <a:rPr lang="en-GB" dirty="0" smtClean="0">
                <a:solidFill>
                  <a:srgbClr val="343434"/>
                </a:solidFill>
              </a:rPr>
              <a:t>5</a:t>
            </a:r>
            <a:endParaRPr lang="en-GB" dirty="0">
              <a:solidFill>
                <a:srgbClr val="343434"/>
              </a:solidFill>
            </a:endParaRPr>
          </a:p>
        </p:txBody>
      </p:sp>
      <p:sp>
        <p:nvSpPr>
          <p:cNvPr id="11" name="TextBox 10"/>
          <p:cNvSpPr txBox="1"/>
          <p:nvPr/>
        </p:nvSpPr>
        <p:spPr>
          <a:xfrm>
            <a:off x="1187624" y="2812725"/>
            <a:ext cx="2743200" cy="646331"/>
          </a:xfrm>
          <a:prstGeom prst="rect">
            <a:avLst/>
          </a:prstGeom>
          <a:noFill/>
        </p:spPr>
        <p:txBody>
          <a:bodyPr wrap="square" rtlCol="0">
            <a:spAutoFit/>
          </a:bodyPr>
          <a:lstStyle/>
          <a:p>
            <a:pPr algn="ctr" rtl="1" fontAlgn="base">
              <a:spcBef>
                <a:spcPct val="0"/>
              </a:spcBef>
              <a:spcAft>
                <a:spcPct val="0"/>
              </a:spcAft>
            </a:pPr>
            <a:r>
              <a:rPr lang="en-US">
                <a:solidFill>
                  <a:srgbClr val="00A03A"/>
                </a:solidFill>
                <a:cs typeface="Arial" charset="0"/>
              </a:rPr>
              <a:t>Routine immunisation strengthening</a:t>
            </a:r>
          </a:p>
        </p:txBody>
      </p:sp>
      <p:sp>
        <p:nvSpPr>
          <p:cNvPr id="13" name="Footer Placeholder 6"/>
          <p:cNvSpPr txBox="1">
            <a:spLocks/>
          </p:cNvSpPr>
          <p:nvPr/>
        </p:nvSpPr>
        <p:spPr bwMode="gray">
          <a:xfrm>
            <a:off x="2411413" y="6497638"/>
            <a:ext cx="4321175" cy="360362"/>
          </a:xfrm>
          <a:prstGeom prst="rect">
            <a:avLst/>
          </a:prstGeom>
        </p:spPr>
        <p:txBody>
          <a:bodyPr vert="horz" lIns="0" tIns="7200" rIns="0" bIns="0" rtlCol="0" anchor="t" anchorCtr="0">
            <a:noAutofit/>
          </a:bodyPr>
          <a:lstStyle>
            <a:defPPr>
              <a:defRPr lang="fr-FR"/>
            </a:defPPr>
            <a:lvl1pPr marL="0" algn="ctr" defTabSz="914400" rtl="0" eaLnBrk="1" fontAlgn="auto" latinLnBrk="0" hangingPunct="1">
              <a:spcBef>
                <a:spcPts val="0"/>
              </a:spcBef>
              <a:spcAft>
                <a:spcPts val="0"/>
              </a:spcAft>
              <a:defRPr sz="1000" b="1" kern="1200">
                <a:solidFill>
                  <a:schemeClr val="accent4"/>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a:solidFill>
                  <a:srgbClr val="005CB9"/>
                </a:solidFill>
              </a:rPr>
              <a:t>#vaccineswork</a:t>
            </a:r>
          </a:p>
        </p:txBody>
      </p:sp>
    </p:spTree>
    <p:extLst>
      <p:ext uri="{BB962C8B-B14F-4D97-AF65-F5344CB8AC3E}">
        <p14:creationId xmlns:p14="http://schemas.microsoft.com/office/powerpoint/2010/main" val="157132948"/>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stretch>
            <a:fillRect/>
          </a:stretch>
        </p:blipFill>
        <p:spPr>
          <a:xfrm>
            <a:off x="1374040" y="1246294"/>
            <a:ext cx="6677405" cy="4489393"/>
          </a:xfrm>
          <a:prstGeom prst="rect">
            <a:avLst/>
          </a:prstGeom>
        </p:spPr>
      </p:pic>
      <p:sp>
        <p:nvSpPr>
          <p:cNvPr id="2" name="Title 1"/>
          <p:cNvSpPr>
            <a:spLocks noGrp="1"/>
          </p:cNvSpPr>
          <p:nvPr>
            <p:ph type="title"/>
          </p:nvPr>
        </p:nvSpPr>
        <p:spPr/>
        <p:txBody>
          <a:bodyPr/>
          <a:lstStyle/>
          <a:p>
            <a:r>
              <a:rPr lang="pt-PT" sz="3200" dirty="0" smtClean="0"/>
              <a:t>Gavi </a:t>
            </a:r>
            <a:r>
              <a:rPr lang="pt-PT" sz="3200" dirty="0"/>
              <a:t>investments in Measles and </a:t>
            </a:r>
            <a:r>
              <a:rPr lang="pt-PT" sz="3200" dirty="0" smtClean="0"/>
              <a:t>Rubella programmes, </a:t>
            </a:r>
            <a:r>
              <a:rPr lang="pt-PT" sz="3200" dirty="0"/>
              <a:t>2000-2025</a:t>
            </a:r>
            <a:endParaRPr lang="en-GB" sz="3200" dirty="0"/>
          </a:p>
        </p:txBody>
      </p:sp>
      <p:sp>
        <p:nvSpPr>
          <p:cNvPr id="4" name="Footer Placeholder 3"/>
          <p:cNvSpPr>
            <a:spLocks noGrp="1"/>
          </p:cNvSpPr>
          <p:nvPr>
            <p:ph type="ftr" sz="quarter" idx="11"/>
          </p:nvPr>
        </p:nvSpPr>
        <p:spPr/>
        <p:txBody>
          <a:bodyPr/>
          <a:lstStyle/>
          <a:p>
            <a:pPr>
              <a:defRPr/>
            </a:pPr>
            <a:r>
              <a:rPr lang="en-US">
                <a:solidFill>
                  <a:srgbClr val="005CB9"/>
                </a:solidFill>
              </a:rPr>
              <a:t>#vaccineswork</a:t>
            </a:r>
          </a:p>
        </p:txBody>
      </p:sp>
      <p:sp>
        <p:nvSpPr>
          <p:cNvPr id="5" name="Slide Number Placeholder 4"/>
          <p:cNvSpPr>
            <a:spLocks noGrp="1"/>
          </p:cNvSpPr>
          <p:nvPr>
            <p:ph type="sldNum" sz="quarter" idx="12"/>
          </p:nvPr>
        </p:nvSpPr>
        <p:spPr>
          <a:xfrm>
            <a:off x="107504" y="6497638"/>
            <a:ext cx="900112" cy="360362"/>
          </a:xfrm>
        </p:spPr>
        <p:txBody>
          <a:bodyPr/>
          <a:lstStyle/>
          <a:p>
            <a:pPr>
              <a:defRPr/>
            </a:pPr>
            <a:r>
              <a:rPr lang="en-US" dirty="0" smtClean="0">
                <a:solidFill>
                  <a:srgbClr val="343434"/>
                </a:solidFill>
              </a:rPr>
              <a:t>6</a:t>
            </a:r>
            <a:endParaRPr lang="en-US" dirty="0">
              <a:solidFill>
                <a:srgbClr val="343434"/>
              </a:solidFill>
            </a:endParaRPr>
          </a:p>
        </p:txBody>
      </p:sp>
      <p:sp>
        <p:nvSpPr>
          <p:cNvPr id="16" name="TextBox 5"/>
          <p:cNvSpPr txBox="1"/>
          <p:nvPr/>
        </p:nvSpPr>
        <p:spPr>
          <a:xfrm rot="16200000">
            <a:off x="-156647" y="2777467"/>
            <a:ext cx="3333752" cy="394612"/>
          </a:xfrm>
          <a:prstGeom prst="rect">
            <a:avLst/>
          </a:prstGeom>
          <a:solidFill>
            <a:schemeClr val="lt1"/>
          </a:solidFill>
          <a:ln w="9525" cmpd="sng">
            <a:noFill/>
          </a:ln>
        </p:spPr>
        <p:style>
          <a:lnRef idx="0">
            <a:scrgbClr r="0" g="0" b="0"/>
          </a:lnRef>
          <a:fillRef idx="0">
            <a:scrgbClr r="0" g="0" b="0"/>
          </a:fillRef>
          <a:effectRef idx="0">
            <a:scrgbClr r="0" g="0" b="0"/>
          </a:effectRef>
          <a:fontRef idx="minor">
            <a:schemeClr val="dk1"/>
          </a:fontRef>
        </p:style>
        <p:txBody>
          <a:bodyPr wrap="square" rtlCol="0" anchor="t"/>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r>
              <a:rPr lang="en-GB" sz="1600" dirty="0">
                <a:solidFill>
                  <a:schemeClr val="tx1">
                    <a:lumMod val="75000"/>
                    <a:lumOff val="25000"/>
                  </a:schemeClr>
                </a:solidFill>
                <a:latin typeface="Arial" panose="020B0604020202020204" pitchFamily="34" charset="0"/>
                <a:cs typeface="Arial" panose="020B0604020202020204" pitchFamily="34" charset="0"/>
              </a:rPr>
              <a:t>Gavi expenditure (US$ million</a:t>
            </a:r>
            <a:r>
              <a:rPr lang="en-GB" sz="1600" dirty="0" smtClean="0">
                <a:solidFill>
                  <a:schemeClr val="tx1">
                    <a:lumMod val="75000"/>
                    <a:lumOff val="25000"/>
                  </a:schemeClr>
                </a:solidFill>
                <a:latin typeface="Arial" panose="020B0604020202020204" pitchFamily="34" charset="0"/>
                <a:cs typeface="Arial" panose="020B0604020202020204" pitchFamily="34" charset="0"/>
              </a:rPr>
              <a:t>)*</a:t>
            </a:r>
            <a:endParaRPr lang="en-GB" sz="1600" dirty="0">
              <a:solidFill>
                <a:schemeClr val="tx1">
                  <a:lumMod val="75000"/>
                  <a:lumOff val="25000"/>
                </a:schemeClr>
              </a:solidFill>
              <a:latin typeface="Arial" panose="020B0604020202020204" pitchFamily="34" charset="0"/>
              <a:cs typeface="Arial" panose="020B0604020202020204" pitchFamily="34" charset="0"/>
            </a:endParaRPr>
          </a:p>
        </p:txBody>
      </p:sp>
      <p:sp>
        <p:nvSpPr>
          <p:cNvPr id="17" name="Content Placeholder 5"/>
          <p:cNvSpPr txBox="1">
            <a:spLocks/>
          </p:cNvSpPr>
          <p:nvPr/>
        </p:nvSpPr>
        <p:spPr>
          <a:xfrm>
            <a:off x="867760" y="6285952"/>
            <a:ext cx="6389493" cy="260688"/>
          </a:xfrm>
          <a:prstGeom prst="rect">
            <a:avLst/>
          </a:prstGeom>
        </p:spPr>
        <p:txBody>
          <a:bodyPr/>
          <a:lstStyle>
            <a:lvl1pPr marL="0" indent="0" algn="l" defTabSz="914400" rtl="0" eaLnBrk="1" latinLnBrk="0" hangingPunct="1">
              <a:lnSpc>
                <a:spcPct val="110000"/>
              </a:lnSpc>
              <a:spcBef>
                <a:spcPts val="0"/>
              </a:spcBef>
              <a:buFont typeface="Arial" pitchFamily="34" charset="0"/>
              <a:buNone/>
              <a:defRPr sz="2000" b="1" kern="1200">
                <a:solidFill>
                  <a:schemeClr val="accent4"/>
                </a:solidFill>
                <a:latin typeface="+mn-lt"/>
                <a:ea typeface="+mn-ea"/>
                <a:cs typeface="+mn-cs"/>
              </a:defRPr>
            </a:lvl1pPr>
            <a:lvl2pPr marL="142875" indent="0" algn="l" defTabSz="914400" rtl="0" eaLnBrk="1" latinLnBrk="0" hangingPunct="1">
              <a:lnSpc>
                <a:spcPct val="100000"/>
              </a:lnSpc>
              <a:spcBef>
                <a:spcPts val="300"/>
              </a:spcBef>
              <a:buFont typeface="Arial" pitchFamily="34" charset="0"/>
              <a:buNone/>
              <a:defRPr sz="1600" b="1" kern="1200">
                <a:solidFill>
                  <a:schemeClr val="tx2"/>
                </a:solidFill>
                <a:latin typeface="+mn-lt"/>
                <a:ea typeface="+mn-ea"/>
                <a:cs typeface="+mn-cs"/>
              </a:defRPr>
            </a:lvl2pPr>
            <a:lvl3pPr marL="144000" indent="108000" algn="l" defTabSz="914400" rtl="0" eaLnBrk="1" latinLnBrk="0" hangingPunct="1">
              <a:lnSpc>
                <a:spcPct val="100000"/>
              </a:lnSpc>
              <a:spcBef>
                <a:spcPts val="300"/>
              </a:spcBef>
              <a:buSzPct val="100000"/>
              <a:buFont typeface="Arial" pitchFamily="34" charset="0"/>
              <a:buChar char="•"/>
              <a:defRPr sz="1400" b="1" kern="1200">
                <a:solidFill>
                  <a:schemeClr val="tx2"/>
                </a:solidFill>
                <a:latin typeface="+mn-lt"/>
                <a:ea typeface="+mn-ea"/>
                <a:cs typeface="+mn-cs"/>
              </a:defRPr>
            </a:lvl3pPr>
            <a:lvl4pPr marL="360000" indent="0" algn="l" defTabSz="914400" rtl="0" eaLnBrk="1" latinLnBrk="0" hangingPunct="1">
              <a:lnSpc>
                <a:spcPct val="100000"/>
              </a:lnSpc>
              <a:spcBef>
                <a:spcPts val="300"/>
              </a:spcBef>
              <a:buSzPct val="100000"/>
              <a:buFont typeface="Arial" pitchFamily="34" charset="0"/>
              <a:buNone/>
              <a:defRPr sz="1400" kern="1200">
                <a:solidFill>
                  <a:schemeClr val="tx2"/>
                </a:solidFill>
                <a:latin typeface="+mn-lt"/>
                <a:ea typeface="+mn-ea"/>
                <a:cs typeface="+mn-cs"/>
              </a:defRPr>
            </a:lvl4pPr>
            <a:lvl5pPr marL="504000" indent="108000" algn="l" defTabSz="914400" rtl="0" eaLnBrk="1" latinLnBrk="0" hangingPunct="1">
              <a:lnSpc>
                <a:spcPct val="100000"/>
              </a:lnSpc>
              <a:spcBef>
                <a:spcPts val="300"/>
              </a:spcBef>
              <a:buSzPct val="100000"/>
              <a:buFont typeface="Arial" pitchFamily="34" charset="0"/>
              <a:buChar char="•"/>
              <a:defRPr sz="12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300"/>
              </a:spcBef>
            </a:pPr>
            <a:r>
              <a:rPr lang="en-GB" sz="1000" b="0">
                <a:solidFill>
                  <a:schemeClr val="tx1">
                    <a:lumMod val="75000"/>
                    <a:lumOff val="25000"/>
                  </a:schemeClr>
                </a:solidFill>
              </a:rPr>
              <a:t>Source: Gavi, the Vaccine Alliance (Financial Forecast v14.0 / Dec 2016).</a:t>
            </a:r>
          </a:p>
        </p:txBody>
      </p:sp>
      <p:sp>
        <p:nvSpPr>
          <p:cNvPr id="8" name="TextBox 5"/>
          <p:cNvSpPr txBox="1"/>
          <p:nvPr/>
        </p:nvSpPr>
        <p:spPr>
          <a:xfrm>
            <a:off x="867760" y="5797289"/>
            <a:ext cx="8084127" cy="470046"/>
          </a:xfrm>
          <a:prstGeom prst="rect">
            <a:avLst/>
          </a:prstGeom>
          <a:noFill/>
          <a:ln w="9525" cmpd="sng">
            <a:noFill/>
          </a:ln>
        </p:spPr>
        <p:style>
          <a:lnRef idx="0">
            <a:scrgbClr r="0" g="0" b="0"/>
          </a:lnRef>
          <a:fillRef idx="0">
            <a:scrgbClr r="0" g="0" b="0"/>
          </a:fillRef>
          <a:effectRef idx="0">
            <a:scrgbClr r="0" g="0" b="0"/>
          </a:effectRef>
          <a:fontRef idx="minor">
            <a:schemeClr val="dk1"/>
          </a:fontRef>
        </p:style>
        <p:txBody>
          <a:bodyPr wrap="square" rtlCol="0" anchor="t"/>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r>
              <a:rPr lang="pt-PT" sz="1050" dirty="0" smtClean="0">
                <a:solidFill>
                  <a:schemeClr val="tx1">
                    <a:lumMod val="75000"/>
                    <a:lumOff val="25000"/>
                  </a:schemeClr>
                </a:solidFill>
                <a:latin typeface="Arial" panose="020B0604020202020204" pitchFamily="34" charset="0"/>
                <a:cs typeface="Arial" panose="020B0604020202020204" pitchFamily="34" charset="0"/>
              </a:rPr>
              <a:t>*Does not include expenditure/investments through the Partners Engagement Framework (Foundational Support or Targeted Country Assistance)</a:t>
            </a:r>
            <a:endParaRPr lang="en-GB" sz="1050" dirty="0" smtClean="0">
              <a:solidFill>
                <a:schemeClr val="tx1">
                  <a:lumMod val="75000"/>
                  <a:lumOff val="25000"/>
                </a:schemeClr>
              </a:solidFill>
              <a:latin typeface="Arial" panose="020B0604020202020204" pitchFamily="34" charset="0"/>
              <a:cs typeface="Arial" panose="020B0604020202020204" pitchFamily="34" charset="0"/>
            </a:endParaRPr>
          </a:p>
          <a:p>
            <a:r>
              <a:rPr lang="en-GB" sz="1050" dirty="0" smtClean="0">
                <a:solidFill>
                  <a:schemeClr val="tx1">
                    <a:lumMod val="75000"/>
                    <a:lumOff val="25000"/>
                  </a:schemeClr>
                </a:solidFill>
                <a:latin typeface="Arial" panose="020B0604020202020204" pitchFamily="34" charset="0"/>
                <a:cs typeface="Arial" panose="020B0604020202020204" pitchFamily="34" charset="0"/>
              </a:rPr>
              <a:t>**2016-2025 </a:t>
            </a:r>
            <a:r>
              <a:rPr lang="en-GB" sz="1050" dirty="0">
                <a:solidFill>
                  <a:schemeClr val="tx1">
                    <a:lumMod val="75000"/>
                    <a:lumOff val="25000"/>
                  </a:schemeClr>
                </a:solidFill>
                <a:latin typeface="Arial" panose="020B0604020202020204" pitchFamily="34" charset="0"/>
                <a:cs typeface="Arial" panose="020B0604020202020204" pitchFamily="34" charset="0"/>
              </a:rPr>
              <a:t>includes India and Indonesia MR </a:t>
            </a:r>
            <a:r>
              <a:rPr lang="en-GB" sz="1050" dirty="0" smtClean="0">
                <a:solidFill>
                  <a:schemeClr val="tx1">
                    <a:lumMod val="75000"/>
                    <a:lumOff val="25000"/>
                  </a:schemeClr>
                </a:solidFill>
                <a:latin typeface="Arial" panose="020B0604020202020204" pitchFamily="34" charset="0"/>
                <a:cs typeface="Arial" panose="020B0604020202020204" pitchFamily="34" charset="0"/>
              </a:rPr>
              <a:t>campaigns in 2017 </a:t>
            </a:r>
            <a:r>
              <a:rPr lang="en-GB" sz="1050" dirty="0">
                <a:solidFill>
                  <a:schemeClr val="tx1">
                    <a:lumMod val="75000"/>
                    <a:lumOff val="25000"/>
                  </a:schemeClr>
                </a:solidFill>
                <a:latin typeface="Arial" panose="020B0604020202020204" pitchFamily="34" charset="0"/>
                <a:cs typeface="Arial" panose="020B0604020202020204" pitchFamily="34" charset="0"/>
              </a:rPr>
              <a:t>(</a:t>
            </a:r>
            <a:r>
              <a:rPr lang="en-GB" sz="1050" dirty="0" smtClean="0">
                <a:solidFill>
                  <a:schemeClr val="tx1">
                    <a:lumMod val="75000"/>
                    <a:lumOff val="25000"/>
                  </a:schemeClr>
                </a:solidFill>
                <a:latin typeface="Arial" panose="020B0604020202020204" pitchFamily="34" charset="0"/>
                <a:cs typeface="Arial" panose="020B0604020202020204" pitchFamily="34" charset="0"/>
              </a:rPr>
              <a:t>US$115M </a:t>
            </a:r>
            <a:r>
              <a:rPr lang="en-GB" sz="1050" dirty="0">
                <a:solidFill>
                  <a:schemeClr val="tx1">
                    <a:lumMod val="75000"/>
                    <a:lumOff val="25000"/>
                  </a:schemeClr>
                </a:solidFill>
                <a:latin typeface="Arial" panose="020B0604020202020204" pitchFamily="34" charset="0"/>
                <a:cs typeface="Arial" panose="020B0604020202020204" pitchFamily="34" charset="0"/>
              </a:rPr>
              <a:t>and </a:t>
            </a:r>
            <a:r>
              <a:rPr lang="en-GB" sz="1050" dirty="0" smtClean="0">
                <a:solidFill>
                  <a:schemeClr val="tx1">
                    <a:lumMod val="75000"/>
                    <a:lumOff val="25000"/>
                  </a:schemeClr>
                </a:solidFill>
                <a:latin typeface="Arial" panose="020B0604020202020204" pitchFamily="34" charset="0"/>
                <a:cs typeface="Arial" panose="020B0604020202020204" pitchFamily="34" charset="0"/>
              </a:rPr>
              <a:t>US$31M </a:t>
            </a:r>
            <a:r>
              <a:rPr lang="en-GB" sz="1050" dirty="0">
                <a:solidFill>
                  <a:schemeClr val="tx1">
                    <a:lumMod val="75000"/>
                    <a:lumOff val="25000"/>
                  </a:schemeClr>
                </a:solidFill>
                <a:latin typeface="Arial" panose="020B0604020202020204" pitchFamily="34" charset="0"/>
                <a:cs typeface="Arial" panose="020B0604020202020204" pitchFamily="34" charset="0"/>
              </a:rPr>
              <a:t>resp.)</a:t>
            </a:r>
          </a:p>
          <a:p>
            <a:pPr marL="285750" indent="-285750">
              <a:buFont typeface="Arial" panose="020B0604020202020204" pitchFamily="34" charset="0"/>
              <a:buChar char="•"/>
            </a:pPr>
            <a:endParaRPr lang="en-GB" sz="1050" dirty="0">
              <a:solidFill>
                <a:schemeClr val="tx1">
                  <a:lumMod val="75000"/>
                  <a:lumOff val="25000"/>
                </a:schemeClr>
              </a:solidFill>
              <a:latin typeface="Arial" panose="020B0604020202020204" pitchFamily="34" charset="0"/>
              <a:cs typeface="Arial" panose="020B0604020202020204" pitchFamily="34" charset="0"/>
            </a:endParaRPr>
          </a:p>
        </p:txBody>
      </p:sp>
      <p:sp>
        <p:nvSpPr>
          <p:cNvPr id="9" name="TextBox 5"/>
          <p:cNvSpPr txBox="1"/>
          <p:nvPr/>
        </p:nvSpPr>
        <p:spPr>
          <a:xfrm>
            <a:off x="6989282" y="5085069"/>
            <a:ext cx="384283" cy="317646"/>
          </a:xfrm>
          <a:prstGeom prst="rect">
            <a:avLst/>
          </a:prstGeom>
          <a:noFill/>
          <a:ln w="9525" cmpd="sng">
            <a:noFill/>
          </a:ln>
        </p:spPr>
        <p:style>
          <a:lnRef idx="0">
            <a:scrgbClr r="0" g="0" b="0"/>
          </a:lnRef>
          <a:fillRef idx="0">
            <a:scrgbClr r="0" g="0" b="0"/>
          </a:fillRef>
          <a:effectRef idx="0">
            <a:scrgbClr r="0" g="0" b="0"/>
          </a:effectRef>
          <a:fontRef idx="minor">
            <a:schemeClr val="dk1"/>
          </a:fontRef>
        </p:style>
        <p:txBody>
          <a:bodyPr wrap="square" rtlCol="0" anchor="t"/>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r>
              <a:rPr lang="en-GB" sz="1600" dirty="0" smtClean="0">
                <a:solidFill>
                  <a:schemeClr val="tx1">
                    <a:lumMod val="75000"/>
                    <a:lumOff val="25000"/>
                  </a:schemeClr>
                </a:solidFill>
                <a:latin typeface="Arial" panose="020B0604020202020204" pitchFamily="34" charset="0"/>
                <a:cs typeface="Arial" panose="020B0604020202020204" pitchFamily="34" charset="0"/>
              </a:rPr>
              <a:t>**</a:t>
            </a:r>
            <a:endParaRPr lang="en-GB" sz="1600" dirty="0">
              <a:solidFill>
                <a:schemeClr val="tx1">
                  <a:lumMod val="75000"/>
                  <a:lumOff val="25000"/>
                </a:schemeClr>
              </a:solidFill>
              <a:latin typeface="Arial" panose="020B0604020202020204" pitchFamily="34" charset="0"/>
              <a:cs typeface="Arial" panose="020B0604020202020204" pitchFamily="34" charset="0"/>
            </a:endParaRPr>
          </a:p>
          <a:p>
            <a:pPr marL="285750" indent="-285750">
              <a:buFont typeface="Arial" panose="020B0604020202020204" pitchFamily="34" charset="0"/>
              <a:buChar char="•"/>
            </a:pPr>
            <a:endParaRPr lang="en-GB" sz="1600" dirty="0">
              <a:solidFill>
                <a:schemeClr val="tx1">
                  <a:lumMod val="75000"/>
                  <a:lumOff val="25000"/>
                </a:scheme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49401804"/>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35037" y="0"/>
            <a:ext cx="7848015" cy="1036638"/>
          </a:xfrm>
        </p:spPr>
        <p:txBody>
          <a:bodyPr/>
          <a:lstStyle/>
          <a:p>
            <a:r>
              <a:rPr lang="pt-PT" dirty="0" smtClean="0"/>
              <a:t>Gavi &amp; LCIF Partnership: Social Mobilisation</a:t>
            </a:r>
            <a:endParaRPr lang="en-GB" dirty="0"/>
          </a:p>
        </p:txBody>
      </p:sp>
      <p:sp>
        <p:nvSpPr>
          <p:cNvPr id="4" name="Footer Placeholder 3"/>
          <p:cNvSpPr>
            <a:spLocks noGrp="1"/>
          </p:cNvSpPr>
          <p:nvPr>
            <p:ph type="ftr" sz="quarter" idx="11"/>
          </p:nvPr>
        </p:nvSpPr>
        <p:spPr/>
        <p:txBody>
          <a:bodyPr/>
          <a:lstStyle/>
          <a:p>
            <a:pPr>
              <a:defRPr/>
            </a:pPr>
            <a:r>
              <a:rPr lang="en-US" smtClean="0">
                <a:solidFill>
                  <a:srgbClr val="005CB9"/>
                </a:solidFill>
              </a:rPr>
              <a:t>#vaccineswork</a:t>
            </a:r>
            <a:endParaRPr lang="en-US">
              <a:solidFill>
                <a:srgbClr val="005CB9"/>
              </a:solidFill>
            </a:endParaRPr>
          </a:p>
        </p:txBody>
      </p:sp>
      <p:sp>
        <p:nvSpPr>
          <p:cNvPr id="5" name="Slide Number Placeholder 4"/>
          <p:cNvSpPr>
            <a:spLocks noGrp="1"/>
          </p:cNvSpPr>
          <p:nvPr>
            <p:ph type="sldNum" sz="quarter" idx="12"/>
          </p:nvPr>
        </p:nvSpPr>
        <p:spPr>
          <a:xfrm>
            <a:off x="0" y="6497053"/>
            <a:ext cx="328278" cy="360947"/>
          </a:xfrm>
        </p:spPr>
        <p:txBody>
          <a:bodyPr/>
          <a:lstStyle/>
          <a:p>
            <a:pPr algn="ctr">
              <a:defRPr/>
            </a:pPr>
            <a:r>
              <a:rPr lang="en-US" dirty="0" smtClean="0">
                <a:solidFill>
                  <a:srgbClr val="343434"/>
                </a:solidFill>
              </a:rPr>
              <a:t>8</a:t>
            </a:r>
            <a:endParaRPr lang="en-US" dirty="0">
              <a:solidFill>
                <a:srgbClr val="343434"/>
              </a:solidFill>
            </a:endParaRPr>
          </a:p>
        </p:txBody>
      </p:sp>
      <p:pic>
        <p:nvPicPr>
          <p:cNvPr id="6" name="Picture 5"/>
          <p:cNvPicPr>
            <a:picLocks noChangeAspect="1"/>
          </p:cNvPicPr>
          <p:nvPr/>
        </p:nvPicPr>
        <p:blipFill>
          <a:blip r:embed="rId3"/>
          <a:stretch>
            <a:fillRect/>
          </a:stretch>
        </p:blipFill>
        <p:spPr>
          <a:xfrm>
            <a:off x="2918688" y="2084311"/>
            <a:ext cx="6225312" cy="3423922"/>
          </a:xfrm>
          <a:prstGeom prst="rect">
            <a:avLst/>
          </a:prstGeom>
        </p:spPr>
      </p:pic>
      <p:sp>
        <p:nvSpPr>
          <p:cNvPr id="7" name="TextBox 6"/>
          <p:cNvSpPr txBox="1"/>
          <p:nvPr/>
        </p:nvSpPr>
        <p:spPr>
          <a:xfrm>
            <a:off x="2605090" y="5436076"/>
            <a:ext cx="6852508" cy="307777"/>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smtClean="0">
                <a:ln>
                  <a:noFill/>
                </a:ln>
                <a:solidFill>
                  <a:prstClr val="black"/>
                </a:solidFill>
                <a:effectLst/>
                <a:uLnTx/>
                <a:uFillTx/>
              </a:rPr>
              <a:t>38 social mobilisation campaigns by the end of 2017</a:t>
            </a:r>
          </a:p>
        </p:txBody>
      </p:sp>
      <p:sp>
        <p:nvSpPr>
          <p:cNvPr id="8" name="TextBox 7"/>
          <p:cNvSpPr txBox="1"/>
          <p:nvPr/>
        </p:nvSpPr>
        <p:spPr>
          <a:xfrm>
            <a:off x="3193078" y="1397552"/>
            <a:ext cx="5676531" cy="523220"/>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smtClean="0">
                <a:ln>
                  <a:noFill/>
                </a:ln>
                <a:solidFill>
                  <a:prstClr val="black"/>
                </a:solidFill>
                <a:effectLst/>
                <a:uLnTx/>
                <a:uFillTx/>
              </a:rPr>
              <a:t>LCIF Social Mobilisation Campaigns in Gavi-supported Countries (2013-2017)</a:t>
            </a:r>
          </a:p>
        </p:txBody>
      </p:sp>
      <p:pic>
        <p:nvPicPr>
          <p:cNvPr id="9" name="Picture 8"/>
          <p:cNvPicPr>
            <a:picLocks noChangeAspect="1"/>
          </p:cNvPicPr>
          <p:nvPr/>
        </p:nvPicPr>
        <p:blipFill rotWithShape="1">
          <a:blip r:embed="rId4"/>
          <a:srcRect l="19703" t="13011"/>
          <a:stretch/>
        </p:blipFill>
        <p:spPr>
          <a:xfrm>
            <a:off x="177745" y="4371663"/>
            <a:ext cx="3081456" cy="2055456"/>
          </a:xfrm>
          <a:prstGeom prst="rect">
            <a:avLst/>
          </a:prstGeom>
          <a:ln w="12700">
            <a:solidFill>
              <a:srgbClr val="92D050"/>
            </a:solidFill>
          </a:ln>
        </p:spPr>
      </p:pic>
      <p:pic>
        <p:nvPicPr>
          <p:cNvPr id="13" name="Picture 12"/>
          <p:cNvPicPr>
            <a:picLocks noChangeAspect="1"/>
          </p:cNvPicPr>
          <p:nvPr/>
        </p:nvPicPr>
        <p:blipFill>
          <a:blip r:embed="rId5"/>
          <a:stretch>
            <a:fillRect/>
          </a:stretch>
        </p:blipFill>
        <p:spPr>
          <a:xfrm>
            <a:off x="307069" y="1459619"/>
            <a:ext cx="2454820" cy="2719056"/>
          </a:xfrm>
          <a:prstGeom prst="rect">
            <a:avLst/>
          </a:prstGeom>
          <a:ln w="12700">
            <a:solidFill>
              <a:srgbClr val="92D050"/>
            </a:solidFill>
          </a:ln>
        </p:spPr>
      </p:pic>
      <p:grpSp>
        <p:nvGrpSpPr>
          <p:cNvPr id="16" name="Group 15"/>
          <p:cNvGrpSpPr/>
          <p:nvPr/>
        </p:nvGrpSpPr>
        <p:grpSpPr>
          <a:xfrm>
            <a:off x="5560214" y="4201766"/>
            <a:ext cx="2344747" cy="857418"/>
            <a:chOff x="5975183" y="2001398"/>
            <a:chExt cx="2344747" cy="857418"/>
          </a:xfrm>
        </p:grpSpPr>
        <p:sp>
          <p:nvSpPr>
            <p:cNvPr id="17" name="Rectangle 16"/>
            <p:cNvSpPr/>
            <p:nvPr/>
          </p:nvSpPr>
          <p:spPr>
            <a:xfrm>
              <a:off x="5975183" y="2686979"/>
              <a:ext cx="168442" cy="153889"/>
            </a:xfrm>
            <a:prstGeom prst="rect">
              <a:avLst/>
            </a:prstGeom>
            <a:solidFill>
              <a:srgbClr val="005CB9"/>
            </a:solidFill>
            <a:ln w="25400" cap="flat" cmpd="sng" algn="ctr">
              <a:solidFill>
                <a:srgbClr val="005CB9"/>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prstClr val="white"/>
                </a:solidFill>
                <a:effectLst/>
                <a:uLnTx/>
                <a:uFillTx/>
                <a:latin typeface="Arial"/>
                <a:ea typeface="+mn-ea"/>
                <a:cs typeface="+mn-cs"/>
              </a:endParaRPr>
            </a:p>
          </p:txBody>
        </p:sp>
        <p:sp>
          <p:nvSpPr>
            <p:cNvPr id="18" name="Rectangle 17"/>
            <p:cNvSpPr/>
            <p:nvPr/>
          </p:nvSpPr>
          <p:spPr>
            <a:xfrm>
              <a:off x="5975183" y="2139896"/>
              <a:ext cx="168442" cy="153889"/>
            </a:xfrm>
            <a:prstGeom prst="rect">
              <a:avLst/>
            </a:prstGeom>
            <a:solidFill>
              <a:srgbClr val="95D600"/>
            </a:solidFill>
            <a:ln w="25400" cap="flat" cmpd="sng" algn="ctr">
              <a:solidFill>
                <a:srgbClr val="95D6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prstClr val="white"/>
                </a:solidFill>
                <a:effectLst/>
                <a:uLnTx/>
                <a:uFillTx/>
                <a:latin typeface="Arial"/>
                <a:ea typeface="+mn-ea"/>
                <a:cs typeface="+mn-cs"/>
              </a:endParaRPr>
            </a:p>
          </p:txBody>
        </p:sp>
        <p:sp>
          <p:nvSpPr>
            <p:cNvPr id="19" name="TextBox 18"/>
            <p:cNvSpPr txBox="1"/>
            <p:nvPr/>
          </p:nvSpPr>
          <p:spPr>
            <a:xfrm>
              <a:off x="6169555" y="2001398"/>
              <a:ext cx="1624263" cy="430887"/>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50" b="1" i="0" u="sng" strike="noStrike" kern="0" cap="none" spc="0" normalizeH="0" baseline="0" noProof="0" dirty="0" smtClean="0">
                  <a:ln>
                    <a:noFill/>
                  </a:ln>
                  <a:solidFill>
                    <a:prstClr val="black"/>
                  </a:solidFill>
                  <a:effectLst/>
                  <a:uLnTx/>
                  <a:uFillTx/>
                </a:rPr>
                <a:t>Joint Gavi-LCIF </a:t>
              </a:r>
              <a:r>
                <a:rPr kumimoji="0" lang="en-US" sz="1050" b="0" i="0" u="none" strike="noStrike" kern="0" cap="none" spc="0" normalizeH="0" baseline="0" noProof="0" dirty="0" smtClean="0">
                  <a:ln>
                    <a:noFill/>
                  </a:ln>
                  <a:solidFill>
                    <a:prstClr val="black"/>
                  </a:solidFill>
                  <a:effectLst/>
                  <a:uLnTx/>
                  <a:uFillTx/>
                </a:rPr>
                <a:t>SM activities (13)</a:t>
              </a:r>
            </a:p>
          </p:txBody>
        </p:sp>
        <p:sp>
          <p:nvSpPr>
            <p:cNvPr id="20" name="TextBox 19"/>
            <p:cNvSpPr txBox="1"/>
            <p:nvPr/>
          </p:nvSpPr>
          <p:spPr>
            <a:xfrm>
              <a:off x="6143625" y="2604900"/>
              <a:ext cx="2176305" cy="253916"/>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50" b="1" i="0" u="sng" strike="noStrike" kern="0" cap="none" spc="0" normalizeH="0" baseline="0" noProof="0" dirty="0" smtClean="0">
                  <a:ln>
                    <a:noFill/>
                  </a:ln>
                  <a:solidFill>
                    <a:prstClr val="black"/>
                  </a:solidFill>
                  <a:effectLst/>
                  <a:uLnTx/>
                  <a:uFillTx/>
                </a:rPr>
                <a:t>Lions-led </a:t>
              </a:r>
              <a:r>
                <a:rPr kumimoji="0" lang="en-US" sz="1050" b="0" i="0" u="none" strike="noStrike" kern="0" cap="none" spc="0" normalizeH="0" baseline="0" noProof="0" dirty="0" smtClean="0">
                  <a:ln>
                    <a:noFill/>
                  </a:ln>
                  <a:solidFill>
                    <a:prstClr val="black"/>
                  </a:solidFill>
                  <a:effectLst/>
                  <a:uLnTx/>
                  <a:uFillTx/>
                </a:rPr>
                <a:t>SM activities</a:t>
              </a:r>
            </a:p>
          </p:txBody>
        </p:sp>
      </p:grpSp>
    </p:spTree>
    <p:extLst>
      <p:ext uri="{BB962C8B-B14F-4D97-AF65-F5344CB8AC3E}">
        <p14:creationId xmlns:p14="http://schemas.microsoft.com/office/powerpoint/2010/main" val="1632973874"/>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27584" y="44624"/>
            <a:ext cx="8164016" cy="1036638"/>
          </a:xfrm>
        </p:spPr>
        <p:txBody>
          <a:bodyPr/>
          <a:lstStyle/>
          <a:p>
            <a:r>
              <a:rPr lang="en-US" dirty="0"/>
              <a:t>Gavi, the Vaccine Alliance strategy, </a:t>
            </a:r>
            <a:r>
              <a:rPr lang="en-US" dirty="0" smtClean="0"/>
              <a:t>2016-2020</a:t>
            </a:r>
            <a:r>
              <a:rPr lang="en-US" sz="2400" dirty="0" smtClean="0"/>
              <a:t/>
            </a:r>
            <a:br>
              <a:rPr lang="en-US" sz="2400" dirty="0" smtClean="0"/>
            </a:br>
            <a:r>
              <a:rPr lang="en-GB" sz="2000" dirty="0" smtClean="0"/>
              <a:t>Renewed </a:t>
            </a:r>
            <a:r>
              <a:rPr lang="en-GB" sz="2000" dirty="0"/>
              <a:t>focus and </a:t>
            </a:r>
            <a:r>
              <a:rPr lang="en-GB" sz="2000" dirty="0" smtClean="0"/>
              <a:t>shared </a:t>
            </a:r>
            <a:r>
              <a:rPr lang="en-GB" sz="2000" dirty="0"/>
              <a:t>accountability on Measles and Rubella</a:t>
            </a:r>
          </a:p>
        </p:txBody>
      </p:sp>
      <p:sp>
        <p:nvSpPr>
          <p:cNvPr id="4" name="Slide Number Placeholder 3"/>
          <p:cNvSpPr>
            <a:spLocks noGrp="1"/>
          </p:cNvSpPr>
          <p:nvPr>
            <p:ph type="sldNum" sz="quarter" idx="11"/>
          </p:nvPr>
        </p:nvSpPr>
        <p:spPr>
          <a:xfrm>
            <a:off x="1" y="6497638"/>
            <a:ext cx="467544" cy="360362"/>
          </a:xfrm>
        </p:spPr>
        <p:txBody>
          <a:bodyPr/>
          <a:lstStyle/>
          <a:p>
            <a:r>
              <a:rPr lang="en-GB" dirty="0" smtClean="0">
                <a:solidFill>
                  <a:srgbClr val="343434"/>
                </a:solidFill>
              </a:rPr>
              <a:t>4</a:t>
            </a:r>
            <a:endParaRPr lang="en-GB" dirty="0">
              <a:solidFill>
                <a:srgbClr val="343434"/>
              </a:solidFill>
            </a:endParaRPr>
          </a:p>
        </p:txBody>
      </p:sp>
      <p:sp>
        <p:nvSpPr>
          <p:cNvPr id="5" name="Footer Placeholder 6"/>
          <p:cNvSpPr txBox="1">
            <a:spLocks/>
          </p:cNvSpPr>
          <p:nvPr/>
        </p:nvSpPr>
        <p:spPr bwMode="gray">
          <a:xfrm>
            <a:off x="2411413" y="6497638"/>
            <a:ext cx="4321175" cy="360362"/>
          </a:xfrm>
          <a:prstGeom prst="rect">
            <a:avLst/>
          </a:prstGeom>
        </p:spPr>
        <p:txBody>
          <a:bodyPr vert="horz" lIns="0" tIns="7200" rIns="0" bIns="0" rtlCol="0" anchor="t" anchorCtr="0">
            <a:noAutofit/>
          </a:bodyPr>
          <a:lstStyle>
            <a:defPPr>
              <a:defRPr lang="fr-FR"/>
            </a:defPPr>
            <a:lvl1pPr marL="0" algn="ctr" defTabSz="914400" rtl="0" eaLnBrk="1" fontAlgn="auto" latinLnBrk="0" hangingPunct="1">
              <a:spcBef>
                <a:spcPts val="0"/>
              </a:spcBef>
              <a:spcAft>
                <a:spcPts val="0"/>
              </a:spcAft>
              <a:defRPr sz="1000" b="1" kern="1200">
                <a:solidFill>
                  <a:schemeClr val="accent4"/>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a:solidFill>
                  <a:srgbClr val="005CB9"/>
                </a:solidFill>
              </a:rPr>
              <a:t>#vaccineswork</a:t>
            </a:r>
          </a:p>
        </p:txBody>
      </p:sp>
      <p:sp>
        <p:nvSpPr>
          <p:cNvPr id="6" name="Content Placeholder 5"/>
          <p:cNvSpPr>
            <a:spLocks noGrp="1"/>
          </p:cNvSpPr>
          <p:nvPr>
            <p:ph idx="1"/>
          </p:nvPr>
        </p:nvSpPr>
        <p:spPr/>
        <p:txBody>
          <a:bodyPr/>
          <a:lstStyle/>
          <a:p>
            <a:endParaRPr lang="en-GB"/>
          </a:p>
        </p:txBody>
      </p:sp>
      <p:pic>
        <p:nvPicPr>
          <p:cNvPr id="7" name="Picture 6"/>
          <p:cNvPicPr>
            <a:picLocks noChangeAspect="1"/>
          </p:cNvPicPr>
          <p:nvPr/>
        </p:nvPicPr>
        <p:blipFill rotWithShape="1">
          <a:blip r:embed="rId3" cstate="print">
            <a:extLst>
              <a:ext uri="{28A0092B-C50C-407E-A947-70E740481C1C}">
                <a14:useLocalDpi xmlns:a14="http://schemas.microsoft.com/office/drawing/2010/main" val="0"/>
              </a:ext>
            </a:extLst>
          </a:blip>
          <a:srcRect t="2359"/>
          <a:stretch/>
        </p:blipFill>
        <p:spPr>
          <a:xfrm>
            <a:off x="315687" y="1131760"/>
            <a:ext cx="8317177" cy="5062791"/>
          </a:xfrm>
          <a:prstGeom prst="rect">
            <a:avLst/>
          </a:prstGeom>
        </p:spPr>
      </p:pic>
      <p:sp>
        <p:nvSpPr>
          <p:cNvPr id="8" name="Rectangle 7"/>
          <p:cNvSpPr/>
          <p:nvPr/>
        </p:nvSpPr>
        <p:spPr>
          <a:xfrm>
            <a:off x="544286" y="1131760"/>
            <a:ext cx="7815944" cy="49860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9" name="Picture 8"/>
          <p:cNvPicPr>
            <a:picLocks noChangeAspect="1"/>
          </p:cNvPicPr>
          <p:nvPr/>
        </p:nvPicPr>
        <p:blipFill>
          <a:blip r:embed="rId4"/>
          <a:stretch>
            <a:fillRect/>
          </a:stretch>
        </p:blipFill>
        <p:spPr>
          <a:xfrm>
            <a:off x="217789" y="1631440"/>
            <a:ext cx="2989754" cy="4330403"/>
          </a:xfrm>
          <a:prstGeom prst="rect">
            <a:avLst/>
          </a:prstGeom>
        </p:spPr>
      </p:pic>
      <p:pic>
        <p:nvPicPr>
          <p:cNvPr id="28" name="Picture 27"/>
          <p:cNvPicPr>
            <a:picLocks noChangeAspect="1"/>
          </p:cNvPicPr>
          <p:nvPr/>
        </p:nvPicPr>
        <p:blipFill>
          <a:blip r:embed="rId5"/>
          <a:stretch>
            <a:fillRect/>
          </a:stretch>
        </p:blipFill>
        <p:spPr>
          <a:xfrm>
            <a:off x="3409848" y="1188516"/>
            <a:ext cx="5261304" cy="1158340"/>
          </a:xfrm>
          <a:prstGeom prst="rect">
            <a:avLst/>
          </a:prstGeom>
        </p:spPr>
      </p:pic>
      <p:pic>
        <p:nvPicPr>
          <p:cNvPr id="29" name="Picture 28"/>
          <p:cNvPicPr>
            <a:picLocks noChangeAspect="1"/>
          </p:cNvPicPr>
          <p:nvPr/>
        </p:nvPicPr>
        <p:blipFill>
          <a:blip r:embed="rId6"/>
          <a:stretch>
            <a:fillRect/>
          </a:stretch>
        </p:blipFill>
        <p:spPr>
          <a:xfrm>
            <a:off x="3408636" y="2242664"/>
            <a:ext cx="5285690" cy="1420491"/>
          </a:xfrm>
          <a:prstGeom prst="rect">
            <a:avLst/>
          </a:prstGeom>
        </p:spPr>
      </p:pic>
      <p:pic>
        <p:nvPicPr>
          <p:cNvPr id="30" name="Picture 29"/>
          <p:cNvPicPr>
            <a:picLocks noChangeAspect="1"/>
          </p:cNvPicPr>
          <p:nvPr/>
        </p:nvPicPr>
        <p:blipFill>
          <a:blip r:embed="rId7"/>
          <a:stretch>
            <a:fillRect/>
          </a:stretch>
        </p:blipFill>
        <p:spPr>
          <a:xfrm>
            <a:off x="3402291" y="3595137"/>
            <a:ext cx="5261304" cy="1426588"/>
          </a:xfrm>
          <a:prstGeom prst="rect">
            <a:avLst/>
          </a:prstGeom>
        </p:spPr>
      </p:pic>
      <p:pic>
        <p:nvPicPr>
          <p:cNvPr id="31" name="Picture 30"/>
          <p:cNvPicPr>
            <a:picLocks noChangeAspect="1"/>
          </p:cNvPicPr>
          <p:nvPr/>
        </p:nvPicPr>
        <p:blipFill>
          <a:blip r:embed="rId8"/>
          <a:stretch>
            <a:fillRect/>
          </a:stretch>
        </p:blipFill>
        <p:spPr>
          <a:xfrm>
            <a:off x="3390098" y="4963232"/>
            <a:ext cx="5273497" cy="1420491"/>
          </a:xfrm>
          <a:prstGeom prst="rect">
            <a:avLst/>
          </a:prstGeom>
        </p:spPr>
      </p:pic>
    </p:spTree>
    <p:extLst>
      <p:ext uri="{BB962C8B-B14F-4D97-AF65-F5344CB8AC3E}">
        <p14:creationId xmlns:p14="http://schemas.microsoft.com/office/powerpoint/2010/main" val="319022616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par>
                                <p:cTn id="13" presetID="10" presetClass="entr" presetSubtype="0" fill="hold" nodeType="withEffect">
                                  <p:stCondLst>
                                    <p:cond delay="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500"/>
                                        <p:tgtEl>
                                          <p:spTgt spid="9"/>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28"/>
                                        </p:tgtEl>
                                        <p:attrNameLst>
                                          <p:attrName>style.visibility</p:attrName>
                                        </p:attrNameLst>
                                      </p:cBhvr>
                                      <p:to>
                                        <p:strVal val="visible"/>
                                      </p:to>
                                    </p:set>
                                    <p:animEffect transition="in" filter="fade">
                                      <p:cBhvr>
                                        <p:cTn id="20" dur="500"/>
                                        <p:tgtEl>
                                          <p:spTgt spid="28"/>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nodeType="clickEffect">
                                  <p:stCondLst>
                                    <p:cond delay="0"/>
                                  </p:stCondLst>
                                  <p:childTnLst>
                                    <p:set>
                                      <p:cBhvr>
                                        <p:cTn id="24" dur="1" fill="hold">
                                          <p:stCondLst>
                                            <p:cond delay="0"/>
                                          </p:stCondLst>
                                        </p:cTn>
                                        <p:tgtEl>
                                          <p:spTgt spid="29"/>
                                        </p:tgtEl>
                                        <p:attrNameLst>
                                          <p:attrName>style.visibility</p:attrName>
                                        </p:attrNameLst>
                                      </p:cBhvr>
                                      <p:to>
                                        <p:strVal val="visible"/>
                                      </p:to>
                                    </p:set>
                                    <p:animEffect transition="in" filter="fade">
                                      <p:cBhvr>
                                        <p:cTn id="25" dur="500"/>
                                        <p:tgtEl>
                                          <p:spTgt spid="29"/>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nodeType="clickEffect">
                                  <p:stCondLst>
                                    <p:cond delay="0"/>
                                  </p:stCondLst>
                                  <p:childTnLst>
                                    <p:set>
                                      <p:cBhvr>
                                        <p:cTn id="29" dur="1" fill="hold">
                                          <p:stCondLst>
                                            <p:cond delay="0"/>
                                          </p:stCondLst>
                                        </p:cTn>
                                        <p:tgtEl>
                                          <p:spTgt spid="30"/>
                                        </p:tgtEl>
                                        <p:attrNameLst>
                                          <p:attrName>style.visibility</p:attrName>
                                        </p:attrNameLst>
                                      </p:cBhvr>
                                      <p:to>
                                        <p:strVal val="visible"/>
                                      </p:to>
                                    </p:set>
                                    <p:animEffect transition="in" filter="fade">
                                      <p:cBhvr>
                                        <p:cTn id="30" dur="500"/>
                                        <p:tgtEl>
                                          <p:spTgt spid="30"/>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nodeType="clickEffect">
                                  <p:stCondLst>
                                    <p:cond delay="0"/>
                                  </p:stCondLst>
                                  <p:childTnLst>
                                    <p:set>
                                      <p:cBhvr>
                                        <p:cTn id="34" dur="1" fill="hold">
                                          <p:stCondLst>
                                            <p:cond delay="0"/>
                                          </p:stCondLst>
                                        </p:cTn>
                                        <p:tgtEl>
                                          <p:spTgt spid="31"/>
                                        </p:tgtEl>
                                        <p:attrNameLst>
                                          <p:attrName>style.visibility</p:attrName>
                                        </p:attrNameLst>
                                      </p:cBhvr>
                                      <p:to>
                                        <p:strVal val="visible"/>
                                      </p:to>
                                    </p:set>
                                    <p:animEffect transition="in" filter="fade">
                                      <p:cBhvr>
                                        <p:cTn id="35" dur="500"/>
                                        <p:tgtEl>
                                          <p:spTgt spid="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Espace réservé du texte 6"/>
          <p:cNvSpPr>
            <a:spLocks noGrp="1"/>
          </p:cNvSpPr>
          <p:nvPr>
            <p:ph type="body" sz="quarter" idx="13"/>
          </p:nvPr>
        </p:nvSpPr>
        <p:spPr/>
        <p:txBody>
          <a:bodyPr/>
          <a:lstStyle/>
          <a:p>
            <a:r>
              <a:rPr lang="en-US"/>
              <a:t>THANK YOU</a:t>
            </a:r>
          </a:p>
        </p:txBody>
      </p:sp>
      <p:sp>
        <p:nvSpPr>
          <p:cNvPr id="3" name="Espace réservé du numéro de diapositive 2"/>
          <p:cNvSpPr>
            <a:spLocks noGrp="1"/>
          </p:cNvSpPr>
          <p:nvPr>
            <p:ph type="sldNum" sz="quarter" idx="16"/>
          </p:nvPr>
        </p:nvSpPr>
        <p:spPr/>
        <p:txBody>
          <a:bodyPr/>
          <a:lstStyle/>
          <a:p>
            <a:pPr algn="l"/>
            <a:r>
              <a:rPr lang="en-US"/>
              <a:t>Page: </a:t>
            </a:r>
            <a:fld id="{733122C9-A0B9-462F-8757-0847AD287B63}" type="slidenum">
              <a:rPr lang="en-US" smtClean="0"/>
              <a:pPr algn="l"/>
              <a:t>8</a:t>
            </a:fld>
            <a:endParaRPr lang="en-US"/>
          </a:p>
        </p:txBody>
      </p:sp>
      <p:sp>
        <p:nvSpPr>
          <p:cNvPr id="8" name="Espace réservé du texte 7"/>
          <p:cNvSpPr>
            <a:spLocks noGrp="1"/>
          </p:cNvSpPr>
          <p:nvPr>
            <p:ph type="body" sz="quarter" idx="19"/>
          </p:nvPr>
        </p:nvSpPr>
        <p:spPr/>
        <p:txBody>
          <a:bodyPr/>
          <a:lstStyle/>
          <a:p>
            <a:r>
              <a:rPr lang="en-US"/>
              <a:t>Reach every child</a:t>
            </a:r>
          </a:p>
        </p:txBody>
      </p:sp>
      <p:sp>
        <p:nvSpPr>
          <p:cNvPr id="9" name="Espace réservé du texte 8"/>
          <p:cNvSpPr>
            <a:spLocks noGrp="1"/>
          </p:cNvSpPr>
          <p:nvPr>
            <p:ph type="body" sz="quarter" idx="20"/>
          </p:nvPr>
        </p:nvSpPr>
        <p:spPr/>
        <p:txBody>
          <a:bodyPr/>
          <a:lstStyle/>
          <a:p>
            <a:r>
              <a:rPr lang="en-US"/>
              <a:t> </a:t>
            </a:r>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stretch>
            <a:fillRect/>
          </a:stretch>
        </p:blipFill>
        <p:spPr>
          <a:xfrm>
            <a:off x="4257309" y="2054297"/>
            <a:ext cx="4862624" cy="3242717"/>
          </a:xfrm>
          <a:prstGeom prst="rect">
            <a:avLst/>
          </a:prstGeom>
        </p:spPr>
      </p:pic>
      <p:sp>
        <p:nvSpPr>
          <p:cNvPr id="2" name="Title 1"/>
          <p:cNvSpPr>
            <a:spLocks noGrp="1"/>
          </p:cNvSpPr>
          <p:nvPr>
            <p:ph type="title"/>
          </p:nvPr>
        </p:nvSpPr>
        <p:spPr/>
        <p:txBody>
          <a:bodyPr/>
          <a:lstStyle/>
          <a:p>
            <a:r>
              <a:rPr lang="en-US" dirty="0"/>
              <a:t>Gavi forecasted </a:t>
            </a:r>
            <a:r>
              <a:rPr lang="en-US" dirty="0" smtClean="0"/>
              <a:t>expenditure for all </a:t>
            </a:r>
            <a:r>
              <a:rPr lang="en-US" dirty="0" err="1" smtClean="0"/>
              <a:t>programmes</a:t>
            </a:r>
            <a:r>
              <a:rPr lang="en-US" dirty="0" smtClean="0"/>
              <a:t>, 2000-2015 and </a:t>
            </a:r>
            <a:r>
              <a:rPr lang="en-US" dirty="0"/>
              <a:t>2016-2020</a:t>
            </a:r>
          </a:p>
        </p:txBody>
      </p:sp>
      <p:sp>
        <p:nvSpPr>
          <p:cNvPr id="4" name="Slide Number Placeholder 3"/>
          <p:cNvSpPr>
            <a:spLocks noGrp="1"/>
          </p:cNvSpPr>
          <p:nvPr>
            <p:ph type="sldNum" sz="quarter" idx="11"/>
          </p:nvPr>
        </p:nvSpPr>
        <p:spPr>
          <a:xfrm>
            <a:off x="75764" y="6498000"/>
            <a:ext cx="396602" cy="360000"/>
          </a:xfrm>
        </p:spPr>
        <p:txBody>
          <a:bodyPr/>
          <a:lstStyle/>
          <a:p>
            <a:pPr algn="l"/>
            <a:fld id="{733122C9-A0B9-462F-8757-0847AD287B63}" type="slidenum">
              <a:rPr lang="en-US" smtClean="0">
                <a:solidFill>
                  <a:srgbClr val="343434"/>
                </a:solidFill>
              </a:rPr>
              <a:pPr algn="l"/>
              <a:t>9</a:t>
            </a:fld>
            <a:endParaRPr lang="en-US">
              <a:solidFill>
                <a:srgbClr val="343434"/>
              </a:solidFill>
            </a:endParaRPr>
          </a:p>
        </p:txBody>
      </p:sp>
      <p:sp>
        <p:nvSpPr>
          <p:cNvPr id="5" name="Footer Placeholder 4"/>
          <p:cNvSpPr>
            <a:spLocks noGrp="1"/>
          </p:cNvSpPr>
          <p:nvPr>
            <p:ph type="ftr" sz="quarter" idx="12"/>
          </p:nvPr>
        </p:nvSpPr>
        <p:spPr/>
        <p:txBody>
          <a:bodyPr/>
          <a:lstStyle/>
          <a:p>
            <a:r>
              <a:rPr lang="en-US">
                <a:solidFill>
                  <a:srgbClr val="005CB9"/>
                </a:solidFill>
              </a:rPr>
              <a:t>#</a:t>
            </a:r>
            <a:r>
              <a:rPr lang="en-US" err="1">
                <a:solidFill>
                  <a:srgbClr val="005CB9"/>
                </a:solidFill>
              </a:rPr>
              <a:t>vaccineswork</a:t>
            </a:r>
            <a:endParaRPr lang="en-US">
              <a:solidFill>
                <a:srgbClr val="005CB9"/>
              </a:solidFill>
            </a:endParaRPr>
          </a:p>
        </p:txBody>
      </p:sp>
      <p:sp>
        <p:nvSpPr>
          <p:cNvPr id="6" name="Content Placeholder 5"/>
          <p:cNvSpPr txBox="1">
            <a:spLocks/>
          </p:cNvSpPr>
          <p:nvPr/>
        </p:nvSpPr>
        <p:spPr>
          <a:xfrm>
            <a:off x="867760" y="6165304"/>
            <a:ext cx="6389493" cy="332696"/>
          </a:xfrm>
          <a:prstGeom prst="rect">
            <a:avLst/>
          </a:prstGeom>
        </p:spPr>
        <p:txBody>
          <a:bodyPr/>
          <a:lstStyle>
            <a:lvl1pPr marL="0" indent="0" algn="l" defTabSz="914400" rtl="0" eaLnBrk="1" latinLnBrk="0" hangingPunct="1">
              <a:lnSpc>
                <a:spcPct val="110000"/>
              </a:lnSpc>
              <a:spcBef>
                <a:spcPts val="0"/>
              </a:spcBef>
              <a:buFont typeface="Arial" pitchFamily="34" charset="0"/>
              <a:buNone/>
              <a:defRPr sz="2000" b="1" kern="1200">
                <a:solidFill>
                  <a:schemeClr val="accent4"/>
                </a:solidFill>
                <a:latin typeface="+mn-lt"/>
                <a:ea typeface="+mn-ea"/>
                <a:cs typeface="+mn-cs"/>
              </a:defRPr>
            </a:lvl1pPr>
            <a:lvl2pPr marL="142875" indent="0" algn="l" defTabSz="914400" rtl="0" eaLnBrk="1" latinLnBrk="0" hangingPunct="1">
              <a:lnSpc>
                <a:spcPct val="100000"/>
              </a:lnSpc>
              <a:spcBef>
                <a:spcPts val="300"/>
              </a:spcBef>
              <a:buFont typeface="Arial" pitchFamily="34" charset="0"/>
              <a:buNone/>
              <a:defRPr sz="1600" b="1" kern="1200">
                <a:solidFill>
                  <a:schemeClr val="tx2"/>
                </a:solidFill>
                <a:latin typeface="+mn-lt"/>
                <a:ea typeface="+mn-ea"/>
                <a:cs typeface="+mn-cs"/>
              </a:defRPr>
            </a:lvl2pPr>
            <a:lvl3pPr marL="144000" indent="108000" algn="l" defTabSz="914400" rtl="0" eaLnBrk="1" latinLnBrk="0" hangingPunct="1">
              <a:lnSpc>
                <a:spcPct val="100000"/>
              </a:lnSpc>
              <a:spcBef>
                <a:spcPts val="300"/>
              </a:spcBef>
              <a:buSzPct val="100000"/>
              <a:buFont typeface="Arial" pitchFamily="34" charset="0"/>
              <a:buChar char="•"/>
              <a:defRPr sz="1400" b="1" kern="1200">
                <a:solidFill>
                  <a:schemeClr val="tx2"/>
                </a:solidFill>
                <a:latin typeface="+mn-lt"/>
                <a:ea typeface="+mn-ea"/>
                <a:cs typeface="+mn-cs"/>
              </a:defRPr>
            </a:lvl3pPr>
            <a:lvl4pPr marL="360000" indent="0" algn="l" defTabSz="914400" rtl="0" eaLnBrk="1" latinLnBrk="0" hangingPunct="1">
              <a:lnSpc>
                <a:spcPct val="100000"/>
              </a:lnSpc>
              <a:spcBef>
                <a:spcPts val="300"/>
              </a:spcBef>
              <a:buSzPct val="100000"/>
              <a:buFont typeface="Arial" pitchFamily="34" charset="0"/>
              <a:buNone/>
              <a:defRPr sz="1400" kern="1200">
                <a:solidFill>
                  <a:schemeClr val="tx2"/>
                </a:solidFill>
                <a:latin typeface="+mn-lt"/>
                <a:ea typeface="+mn-ea"/>
                <a:cs typeface="+mn-cs"/>
              </a:defRPr>
            </a:lvl4pPr>
            <a:lvl5pPr marL="504000" indent="108000" algn="l" defTabSz="914400" rtl="0" eaLnBrk="1" latinLnBrk="0" hangingPunct="1">
              <a:lnSpc>
                <a:spcPct val="100000"/>
              </a:lnSpc>
              <a:spcBef>
                <a:spcPts val="300"/>
              </a:spcBef>
              <a:buSzPct val="100000"/>
              <a:buFont typeface="Arial" pitchFamily="34" charset="0"/>
              <a:buChar char="•"/>
              <a:defRPr sz="12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300"/>
              </a:spcBef>
            </a:pPr>
            <a:r>
              <a:rPr lang="en-GB" sz="1000" b="0">
                <a:solidFill>
                  <a:schemeClr val="tx1"/>
                </a:solidFill>
              </a:rPr>
              <a:t>Source: Gavi, the Vaccine Alliance (Financial Forecast v14.0 / Dec 2016).</a:t>
            </a:r>
          </a:p>
        </p:txBody>
      </p:sp>
      <p:sp>
        <p:nvSpPr>
          <p:cNvPr id="11" name="Content Placeholder 2"/>
          <p:cNvSpPr txBox="1">
            <a:spLocks/>
          </p:cNvSpPr>
          <p:nvPr/>
        </p:nvSpPr>
        <p:spPr bwMode="gray">
          <a:xfrm>
            <a:off x="6002869" y="3473235"/>
            <a:ext cx="1188542" cy="5917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rtl="0" eaLnBrk="0" fontAlgn="base" hangingPunct="0">
              <a:lnSpc>
                <a:spcPct val="110000"/>
              </a:lnSpc>
              <a:spcBef>
                <a:spcPct val="0"/>
              </a:spcBef>
              <a:spcAft>
                <a:spcPct val="0"/>
              </a:spcAft>
              <a:buFont typeface="Arial" charset="0"/>
              <a:defRPr sz="2000" b="1" kern="1200">
                <a:solidFill>
                  <a:srgbClr val="005CB9"/>
                </a:solidFill>
                <a:latin typeface="+mn-lt"/>
                <a:ea typeface="+mn-ea"/>
                <a:cs typeface="+mn-cs"/>
              </a:defRPr>
            </a:lvl1pPr>
            <a:lvl2pPr marL="142875" algn="l" rtl="0" eaLnBrk="0" fontAlgn="base" hangingPunct="0">
              <a:spcBef>
                <a:spcPts val="300"/>
              </a:spcBef>
              <a:spcAft>
                <a:spcPct val="0"/>
              </a:spcAft>
              <a:buFont typeface="Arial" charset="0"/>
              <a:defRPr sz="1600" b="1" kern="1200">
                <a:solidFill>
                  <a:schemeClr val="tx2"/>
                </a:solidFill>
                <a:latin typeface="+mn-lt"/>
                <a:ea typeface="+mn-ea"/>
                <a:cs typeface="+mn-cs"/>
              </a:defRPr>
            </a:lvl2pPr>
            <a:lvl3pPr marL="142875" indent="107950" algn="l" rtl="0" eaLnBrk="0" fontAlgn="base" hangingPunct="0">
              <a:spcBef>
                <a:spcPts val="300"/>
              </a:spcBef>
              <a:spcAft>
                <a:spcPct val="0"/>
              </a:spcAft>
              <a:buSzPct val="100000"/>
              <a:buFont typeface="Arial" charset="0"/>
              <a:buChar char="•"/>
              <a:defRPr sz="1400" b="1" kern="1200">
                <a:solidFill>
                  <a:schemeClr val="tx2"/>
                </a:solidFill>
                <a:latin typeface="+mn-lt"/>
                <a:ea typeface="+mn-ea"/>
                <a:cs typeface="+mn-cs"/>
              </a:defRPr>
            </a:lvl3pPr>
            <a:lvl4pPr marL="358775" algn="l" rtl="0" eaLnBrk="0" fontAlgn="base" hangingPunct="0">
              <a:spcBef>
                <a:spcPts val="300"/>
              </a:spcBef>
              <a:spcAft>
                <a:spcPct val="0"/>
              </a:spcAft>
              <a:buSzPct val="100000"/>
              <a:buFont typeface="Arial" charset="0"/>
              <a:defRPr sz="1400" kern="1200" baseline="0">
                <a:solidFill>
                  <a:schemeClr val="tx2"/>
                </a:solidFill>
                <a:latin typeface="+mn-lt"/>
                <a:ea typeface="+mn-ea"/>
                <a:cs typeface="+mn-cs"/>
              </a:defRPr>
            </a:lvl4pPr>
            <a:lvl5pPr marL="503238" indent="107950" algn="l" rtl="0" eaLnBrk="0" fontAlgn="base" hangingPunct="0">
              <a:spcBef>
                <a:spcPts val="300"/>
              </a:spcBef>
              <a:spcAft>
                <a:spcPct val="0"/>
              </a:spcAft>
              <a:buSzPct val="100000"/>
              <a:buFont typeface="Arial" charset="0"/>
              <a:buChar char="•"/>
              <a:defRPr sz="12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GB" sz="1800" b="0" dirty="0">
                <a:solidFill>
                  <a:schemeClr val="tx1">
                    <a:lumMod val="75000"/>
                    <a:lumOff val="25000"/>
                  </a:schemeClr>
                </a:solidFill>
              </a:rPr>
              <a:t>US$ 8.1 billion</a:t>
            </a:r>
          </a:p>
        </p:txBody>
      </p:sp>
      <p:sp>
        <p:nvSpPr>
          <p:cNvPr id="8" name="Content Placeholder 2"/>
          <p:cNvSpPr txBox="1">
            <a:spLocks/>
          </p:cNvSpPr>
          <p:nvPr/>
        </p:nvSpPr>
        <p:spPr bwMode="gray">
          <a:xfrm>
            <a:off x="4477310" y="1457131"/>
            <a:ext cx="3980895" cy="3600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rtl="0" eaLnBrk="0" fontAlgn="base" hangingPunct="0">
              <a:lnSpc>
                <a:spcPct val="110000"/>
              </a:lnSpc>
              <a:spcBef>
                <a:spcPct val="0"/>
              </a:spcBef>
              <a:spcAft>
                <a:spcPct val="0"/>
              </a:spcAft>
              <a:buFont typeface="Arial" charset="0"/>
              <a:defRPr sz="2000" b="1" kern="1200">
                <a:solidFill>
                  <a:srgbClr val="005CB9"/>
                </a:solidFill>
                <a:latin typeface="+mn-lt"/>
                <a:ea typeface="+mn-ea"/>
                <a:cs typeface="+mn-cs"/>
              </a:defRPr>
            </a:lvl1pPr>
            <a:lvl2pPr marL="142875" algn="l" rtl="0" eaLnBrk="0" fontAlgn="base" hangingPunct="0">
              <a:spcBef>
                <a:spcPts val="300"/>
              </a:spcBef>
              <a:spcAft>
                <a:spcPct val="0"/>
              </a:spcAft>
              <a:buFont typeface="Arial" charset="0"/>
              <a:defRPr sz="1600" b="1" kern="1200">
                <a:solidFill>
                  <a:schemeClr val="tx2"/>
                </a:solidFill>
                <a:latin typeface="+mn-lt"/>
                <a:ea typeface="+mn-ea"/>
                <a:cs typeface="+mn-cs"/>
              </a:defRPr>
            </a:lvl2pPr>
            <a:lvl3pPr marL="142875" indent="107950" algn="l" rtl="0" eaLnBrk="0" fontAlgn="base" hangingPunct="0">
              <a:spcBef>
                <a:spcPts val="300"/>
              </a:spcBef>
              <a:spcAft>
                <a:spcPct val="0"/>
              </a:spcAft>
              <a:buSzPct val="100000"/>
              <a:buFont typeface="Arial" charset="0"/>
              <a:buChar char="•"/>
              <a:defRPr sz="1400" b="1" kern="1200">
                <a:solidFill>
                  <a:schemeClr val="tx2"/>
                </a:solidFill>
                <a:latin typeface="+mn-lt"/>
                <a:ea typeface="+mn-ea"/>
                <a:cs typeface="+mn-cs"/>
              </a:defRPr>
            </a:lvl3pPr>
            <a:lvl4pPr marL="358775" algn="l" rtl="0" eaLnBrk="0" fontAlgn="base" hangingPunct="0">
              <a:spcBef>
                <a:spcPts val="300"/>
              </a:spcBef>
              <a:spcAft>
                <a:spcPct val="0"/>
              </a:spcAft>
              <a:buSzPct val="100000"/>
              <a:buFont typeface="Arial" charset="0"/>
              <a:defRPr sz="1400" kern="1200" baseline="0">
                <a:solidFill>
                  <a:schemeClr val="tx2"/>
                </a:solidFill>
                <a:latin typeface="+mn-lt"/>
                <a:ea typeface="+mn-ea"/>
                <a:cs typeface="+mn-cs"/>
              </a:defRPr>
            </a:lvl4pPr>
            <a:lvl5pPr marL="503238" indent="107950" algn="l" rtl="0" eaLnBrk="0" fontAlgn="base" hangingPunct="0">
              <a:spcBef>
                <a:spcPts val="300"/>
              </a:spcBef>
              <a:spcAft>
                <a:spcPct val="0"/>
              </a:spcAft>
              <a:buSzPct val="100000"/>
              <a:buFont typeface="Arial" charset="0"/>
              <a:buChar char="•"/>
              <a:defRPr sz="12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GB" sz="2400" dirty="0" smtClean="0">
                <a:solidFill>
                  <a:schemeClr val="tx1">
                    <a:lumMod val="75000"/>
                    <a:lumOff val="25000"/>
                  </a:schemeClr>
                </a:solidFill>
              </a:rPr>
              <a:t>2016-2020</a:t>
            </a:r>
            <a:endParaRPr lang="en-GB" sz="2400" dirty="0">
              <a:solidFill>
                <a:schemeClr val="tx1">
                  <a:lumMod val="75000"/>
                  <a:lumOff val="25000"/>
                </a:schemeClr>
              </a:solidFill>
            </a:endParaRPr>
          </a:p>
        </p:txBody>
      </p:sp>
      <p:pic>
        <p:nvPicPr>
          <p:cNvPr id="9" name="Picture 8"/>
          <p:cNvPicPr>
            <a:picLocks noChangeAspect="1"/>
          </p:cNvPicPr>
          <p:nvPr/>
        </p:nvPicPr>
        <p:blipFill>
          <a:blip r:embed="rId4"/>
          <a:stretch>
            <a:fillRect/>
          </a:stretch>
        </p:blipFill>
        <p:spPr>
          <a:xfrm>
            <a:off x="0" y="2040288"/>
            <a:ext cx="4362740" cy="3270733"/>
          </a:xfrm>
          <a:prstGeom prst="rect">
            <a:avLst/>
          </a:prstGeom>
        </p:spPr>
      </p:pic>
      <p:sp>
        <p:nvSpPr>
          <p:cNvPr id="10" name="Content Placeholder 2"/>
          <p:cNvSpPr>
            <a:spLocks noGrp="1"/>
          </p:cNvSpPr>
          <p:nvPr>
            <p:ph idx="1"/>
          </p:nvPr>
        </p:nvSpPr>
        <p:spPr>
          <a:xfrm>
            <a:off x="1477864" y="3403808"/>
            <a:ext cx="1301582" cy="648072"/>
          </a:xfrm>
        </p:spPr>
        <p:txBody>
          <a:bodyPr/>
          <a:lstStyle/>
          <a:p>
            <a:pPr algn="ctr"/>
            <a:r>
              <a:rPr lang="en-GB" sz="1800" b="0" dirty="0">
                <a:solidFill>
                  <a:schemeClr val="tx1">
                    <a:lumMod val="75000"/>
                    <a:lumOff val="25000"/>
                  </a:schemeClr>
                </a:solidFill>
              </a:rPr>
              <a:t>US$ 9.5 billion</a:t>
            </a:r>
          </a:p>
        </p:txBody>
      </p:sp>
      <p:sp>
        <p:nvSpPr>
          <p:cNvPr id="12" name="Content Placeholder 2"/>
          <p:cNvSpPr txBox="1">
            <a:spLocks/>
          </p:cNvSpPr>
          <p:nvPr/>
        </p:nvSpPr>
        <p:spPr bwMode="gray">
          <a:xfrm>
            <a:off x="190922" y="1482017"/>
            <a:ext cx="3980895" cy="3600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rtl="0" eaLnBrk="0" fontAlgn="base" hangingPunct="0">
              <a:lnSpc>
                <a:spcPct val="110000"/>
              </a:lnSpc>
              <a:spcBef>
                <a:spcPct val="0"/>
              </a:spcBef>
              <a:spcAft>
                <a:spcPct val="0"/>
              </a:spcAft>
              <a:buFont typeface="Arial" charset="0"/>
              <a:defRPr sz="2000" b="1" kern="1200">
                <a:solidFill>
                  <a:srgbClr val="005CB9"/>
                </a:solidFill>
                <a:latin typeface="+mn-lt"/>
                <a:ea typeface="+mn-ea"/>
                <a:cs typeface="+mn-cs"/>
              </a:defRPr>
            </a:lvl1pPr>
            <a:lvl2pPr marL="142875" algn="l" rtl="0" eaLnBrk="0" fontAlgn="base" hangingPunct="0">
              <a:spcBef>
                <a:spcPts val="300"/>
              </a:spcBef>
              <a:spcAft>
                <a:spcPct val="0"/>
              </a:spcAft>
              <a:buFont typeface="Arial" charset="0"/>
              <a:defRPr sz="1600" b="1" kern="1200">
                <a:solidFill>
                  <a:schemeClr val="tx2"/>
                </a:solidFill>
                <a:latin typeface="+mn-lt"/>
                <a:ea typeface="+mn-ea"/>
                <a:cs typeface="+mn-cs"/>
              </a:defRPr>
            </a:lvl2pPr>
            <a:lvl3pPr marL="142875" indent="107950" algn="l" rtl="0" eaLnBrk="0" fontAlgn="base" hangingPunct="0">
              <a:spcBef>
                <a:spcPts val="300"/>
              </a:spcBef>
              <a:spcAft>
                <a:spcPct val="0"/>
              </a:spcAft>
              <a:buSzPct val="100000"/>
              <a:buFont typeface="Arial" charset="0"/>
              <a:buChar char="•"/>
              <a:defRPr sz="1400" b="1" kern="1200">
                <a:solidFill>
                  <a:schemeClr val="tx2"/>
                </a:solidFill>
                <a:latin typeface="+mn-lt"/>
                <a:ea typeface="+mn-ea"/>
                <a:cs typeface="+mn-cs"/>
              </a:defRPr>
            </a:lvl3pPr>
            <a:lvl4pPr marL="358775" algn="l" rtl="0" eaLnBrk="0" fontAlgn="base" hangingPunct="0">
              <a:spcBef>
                <a:spcPts val="300"/>
              </a:spcBef>
              <a:spcAft>
                <a:spcPct val="0"/>
              </a:spcAft>
              <a:buSzPct val="100000"/>
              <a:buFont typeface="Arial" charset="0"/>
              <a:defRPr sz="1400" kern="1200" baseline="0">
                <a:solidFill>
                  <a:schemeClr val="tx2"/>
                </a:solidFill>
                <a:latin typeface="+mn-lt"/>
                <a:ea typeface="+mn-ea"/>
                <a:cs typeface="+mn-cs"/>
              </a:defRPr>
            </a:lvl4pPr>
            <a:lvl5pPr marL="503238" indent="107950" algn="l" rtl="0" eaLnBrk="0" fontAlgn="base" hangingPunct="0">
              <a:spcBef>
                <a:spcPts val="300"/>
              </a:spcBef>
              <a:spcAft>
                <a:spcPct val="0"/>
              </a:spcAft>
              <a:buSzPct val="100000"/>
              <a:buFont typeface="Arial" charset="0"/>
              <a:buChar char="•"/>
              <a:defRPr sz="12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GB" sz="2400" dirty="0" smtClean="0">
                <a:solidFill>
                  <a:schemeClr val="tx1">
                    <a:lumMod val="75000"/>
                    <a:lumOff val="25000"/>
                  </a:schemeClr>
                </a:solidFill>
              </a:rPr>
              <a:t>2000-2015</a:t>
            </a:r>
            <a:endParaRPr lang="en-GB" sz="2400" dirty="0">
              <a:solidFill>
                <a:schemeClr val="tx1">
                  <a:lumMod val="75000"/>
                  <a:lumOff val="25000"/>
                </a:schemeClr>
              </a:solidFill>
            </a:endParaRPr>
          </a:p>
        </p:txBody>
      </p:sp>
    </p:spTree>
    <p:extLst>
      <p:ext uri="{BB962C8B-B14F-4D97-AF65-F5344CB8AC3E}">
        <p14:creationId xmlns:p14="http://schemas.microsoft.com/office/powerpoint/2010/main" val="20701457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10" presetClass="entr" presetSubtype="0" fill="hold" nodeType="withEffect">
                                  <p:stCondLst>
                                    <p:cond delay="0"/>
                                  </p:stCondLst>
                                  <p:childTnLst>
                                    <p:set>
                                      <p:cBhvr>
                                        <p:cTn id="9" dur="1" fill="hold">
                                          <p:stCondLst>
                                            <p:cond delay="0"/>
                                          </p:stCondLst>
                                        </p:cTn>
                                        <p:tgtEl>
                                          <p:spTgt spid="3"/>
                                        </p:tgtEl>
                                        <p:attrNameLst>
                                          <p:attrName>style.visibility</p:attrName>
                                        </p:attrNameLst>
                                      </p:cBhvr>
                                      <p:to>
                                        <p:strVal val="visible"/>
                                      </p:to>
                                    </p:set>
                                    <p:animEffect transition="in" filter="fade">
                                      <p:cBhvr>
                                        <p:cTn id="10" dur="500"/>
                                        <p:tgtEl>
                                          <p:spTgt spid="3"/>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1"/>
                                        </p:tgtEl>
                                        <p:attrNameLst>
                                          <p:attrName>style.visibility</p:attrName>
                                        </p:attrNameLst>
                                      </p:cBhvr>
                                      <p:to>
                                        <p:strVal val="visible"/>
                                      </p:to>
                                    </p:set>
                                    <p:animEffect transition="in" filter="fade">
                                      <p:cBhvr>
                                        <p:cTn id="13"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8"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1.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2.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3.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4.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5.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6.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7.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8.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9.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2.xml><?xml version="1.0" encoding="utf-8"?>
<p:tagLst xmlns:a="http://schemas.openxmlformats.org/drawingml/2006/main" xmlns:r="http://schemas.openxmlformats.org/officeDocument/2006/relationships" xmlns:p="http://schemas.openxmlformats.org/presentationml/2006/main">
  <p:tag name="NAME" val="Moon"/>
  <p:tag name="TYPE" val="McK Moon"/>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NAME" val="Moon"/>
  <p:tag name="TYPE" val="McK Moon"/>
</p:tagLst>
</file>

<file path=ppt/tags/tag26.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27.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8.xml><?xml version="1.0" encoding="utf-8"?>
<p:tagLst xmlns:a="http://schemas.openxmlformats.org/drawingml/2006/main" xmlns:r="http://schemas.openxmlformats.org/officeDocument/2006/relationships" xmlns:p="http://schemas.openxmlformats.org/presentationml/2006/main">
  <p:tag name="NAME" val="Moon"/>
</p:tagLst>
</file>

<file path=ppt/tags/tag29.xml><?xml version="1.0" encoding="utf-8"?>
<p:tagLst xmlns:a="http://schemas.openxmlformats.org/drawingml/2006/main" xmlns:r="http://schemas.openxmlformats.org/officeDocument/2006/relationships" xmlns:p="http://schemas.openxmlformats.org/presentationml/2006/main">
  <p:tag name="NAME" val="Moon"/>
</p:tagLst>
</file>

<file path=ppt/tags/tag3.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30.xml><?xml version="1.0" encoding="utf-8"?>
<p:tagLst xmlns:a="http://schemas.openxmlformats.org/drawingml/2006/main" xmlns:r="http://schemas.openxmlformats.org/officeDocument/2006/relationships" xmlns:p="http://schemas.openxmlformats.org/presentationml/2006/main">
  <p:tag name="NAME" val="Moon"/>
</p:tagLst>
</file>

<file path=ppt/tags/tag31.xml><?xml version="1.0" encoding="utf-8"?>
<p:tagLst xmlns:a="http://schemas.openxmlformats.org/drawingml/2006/main" xmlns:r="http://schemas.openxmlformats.org/officeDocument/2006/relationships" xmlns:p="http://schemas.openxmlformats.org/presentationml/2006/main">
  <p:tag name="NAME" val="Moon"/>
</p:tagLst>
</file>

<file path=ppt/tags/tag32.xml><?xml version="1.0" encoding="utf-8"?>
<p:tagLst xmlns:a="http://schemas.openxmlformats.org/drawingml/2006/main" xmlns:r="http://schemas.openxmlformats.org/officeDocument/2006/relationships" xmlns:p="http://schemas.openxmlformats.org/presentationml/2006/main">
  <p:tag name="NAME" val="Moon"/>
</p:tagLst>
</file>

<file path=ppt/tags/tag33.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3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5.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36.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37.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38.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9.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4.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40.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41.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42.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heme/theme1.xml><?xml version="1.0" encoding="utf-8"?>
<a:theme xmlns:a="http://schemas.openxmlformats.org/drawingml/2006/main" name="Gavi_v11">
  <a:themeElements>
    <a:clrScheme name="Gavi">
      <a:dk1>
        <a:srgbClr val="343434"/>
      </a:dk1>
      <a:lt1>
        <a:sysClr val="window" lastClr="FFFFFF"/>
      </a:lt1>
      <a:dk2>
        <a:srgbClr val="F59BBB"/>
      </a:dk2>
      <a:lt2>
        <a:srgbClr val="878787"/>
      </a:lt2>
      <a:accent1>
        <a:srgbClr val="005CB9"/>
      </a:accent1>
      <a:accent2>
        <a:srgbClr val="00A1DF"/>
      </a:accent2>
      <a:accent3>
        <a:srgbClr val="95D600"/>
      </a:accent3>
      <a:accent4>
        <a:srgbClr val="A51890"/>
      </a:accent4>
      <a:accent5>
        <a:srgbClr val="CE0F69"/>
      </a:accent5>
      <a:accent6>
        <a:srgbClr val="005A70"/>
      </a:accent6>
      <a:hlink>
        <a:srgbClr val="343434"/>
      </a:hlink>
      <a:folHlink>
        <a:srgbClr val="343434"/>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0.xml><?xml version="1.0" encoding="utf-8"?>
<a:theme xmlns:a="http://schemas.openxmlformats.org/drawingml/2006/main" name="7_Gavi_v9">
  <a:themeElements>
    <a:clrScheme name="Custom 1">
      <a:dk1>
        <a:sysClr val="windowText" lastClr="000000"/>
      </a:dk1>
      <a:lt1>
        <a:sysClr val="window" lastClr="FFFFFF"/>
      </a:lt1>
      <a:dk2>
        <a:srgbClr val="343434"/>
      </a:dk2>
      <a:lt2>
        <a:srgbClr val="E6E6E6"/>
      </a:lt2>
      <a:accent1>
        <a:srgbClr val="95D600"/>
      </a:accent1>
      <a:accent2>
        <a:srgbClr val="00A03A"/>
      </a:accent2>
      <a:accent3>
        <a:srgbClr val="00A1DF"/>
      </a:accent3>
      <a:accent4>
        <a:srgbClr val="005CB9"/>
      </a:accent4>
      <a:accent5>
        <a:srgbClr val="878787"/>
      </a:accent5>
      <a:accent6>
        <a:srgbClr val="595959"/>
      </a:accent6>
      <a:hlink>
        <a:srgbClr val="000000"/>
      </a:hlink>
      <a:folHlink>
        <a:srgbClr val="000000"/>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1.xml><?xml version="1.0" encoding="utf-8"?>
<a:theme xmlns:a="http://schemas.openxmlformats.org/drawingml/2006/main" name="4_Gavi_CF_GAE403">
  <a:themeElements>
    <a:clrScheme name="Current">
      <a:dk1>
        <a:srgbClr val="000000"/>
      </a:dk1>
      <a:lt1>
        <a:srgbClr val="FFFFFF"/>
      </a:lt1>
      <a:dk2>
        <a:srgbClr val="95D600"/>
      </a:dk2>
      <a:lt2>
        <a:srgbClr val="878787"/>
      </a:lt2>
      <a:accent1>
        <a:srgbClr val="005CB9"/>
      </a:accent1>
      <a:accent2>
        <a:srgbClr val="00A1DF"/>
      </a:accent2>
      <a:accent3>
        <a:srgbClr val="95D600"/>
      </a:accent3>
      <a:accent4>
        <a:srgbClr val="A51890"/>
      </a:accent4>
      <a:accent5>
        <a:srgbClr val="CE0F69"/>
      </a:accent5>
      <a:accent6>
        <a:srgbClr val="808080"/>
      </a:accent6>
      <a:hlink>
        <a:srgbClr val="95D600"/>
      </a:hlink>
      <a:folHlink>
        <a:srgbClr val="A51890"/>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95D600"/>
        </a:dk2>
        <a:lt2>
          <a:srgbClr val="878787"/>
        </a:lt2>
        <a:accent1>
          <a:srgbClr val="005CB9"/>
        </a:accent1>
        <a:accent2>
          <a:srgbClr val="00A1DF"/>
        </a:accent2>
        <a:accent3>
          <a:srgbClr val="95D600"/>
        </a:accent3>
        <a:accent4>
          <a:srgbClr val="A51890"/>
        </a:accent4>
        <a:accent5>
          <a:srgbClr val="CE0F69"/>
        </a:accent5>
        <a:accent6>
          <a:srgbClr val="808080"/>
        </a:accent6>
        <a:hlink>
          <a:srgbClr val="95D600"/>
        </a:hlink>
        <a:folHlink>
          <a:srgbClr val="A5189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Presentation1" id="{484828F0-AA8F-4137-B0F2-B011484B12FA}" vid="{9DE342CE-56C8-40A7-B28D-01EE4580F01B}"/>
    </a:ext>
  </a:extLst>
</a:theme>
</file>

<file path=ppt/theme/theme12.xml><?xml version="1.0" encoding="utf-8"?>
<a:theme xmlns:a="http://schemas.openxmlformats.org/drawingml/2006/main" name="Gavi_CF_GAE403">
  <a:themeElements>
    <a:clrScheme name="Current">
      <a:dk1>
        <a:srgbClr val="000000"/>
      </a:dk1>
      <a:lt1>
        <a:srgbClr val="FFFFFF"/>
      </a:lt1>
      <a:dk2>
        <a:srgbClr val="95D600"/>
      </a:dk2>
      <a:lt2>
        <a:srgbClr val="878787"/>
      </a:lt2>
      <a:accent1>
        <a:srgbClr val="005CB9"/>
      </a:accent1>
      <a:accent2>
        <a:srgbClr val="00A1DF"/>
      </a:accent2>
      <a:accent3>
        <a:srgbClr val="95D600"/>
      </a:accent3>
      <a:accent4>
        <a:srgbClr val="A51890"/>
      </a:accent4>
      <a:accent5>
        <a:srgbClr val="CE0F69"/>
      </a:accent5>
      <a:accent6>
        <a:srgbClr val="808080"/>
      </a:accent6>
      <a:hlink>
        <a:srgbClr val="95D600"/>
      </a:hlink>
      <a:folHlink>
        <a:srgbClr val="A51890"/>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95D600"/>
        </a:dk2>
        <a:lt2>
          <a:srgbClr val="878787"/>
        </a:lt2>
        <a:accent1>
          <a:srgbClr val="005CB9"/>
        </a:accent1>
        <a:accent2>
          <a:srgbClr val="00A1DF"/>
        </a:accent2>
        <a:accent3>
          <a:srgbClr val="95D600"/>
        </a:accent3>
        <a:accent4>
          <a:srgbClr val="A51890"/>
        </a:accent4>
        <a:accent5>
          <a:srgbClr val="CE0F69"/>
        </a:accent5>
        <a:accent6>
          <a:srgbClr val="808080"/>
        </a:accent6>
        <a:hlink>
          <a:srgbClr val="95D600"/>
        </a:hlink>
        <a:folHlink>
          <a:srgbClr val="A5189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Presentation1" id="{484828F0-AA8F-4137-B0F2-B011484B12FA}" vid="{9DE342CE-56C8-40A7-B28D-01EE4580F01B}"/>
    </a:ext>
  </a:extLst>
</a:theme>
</file>

<file path=ppt/theme/theme13.xml><?xml version="1.0" encoding="utf-8"?>
<a:theme xmlns:a="http://schemas.openxmlformats.org/drawingml/2006/main" name="8_Gavi_v9">
  <a:themeElements>
    <a:clrScheme name="Custom 1">
      <a:dk1>
        <a:sysClr val="windowText" lastClr="000000"/>
      </a:dk1>
      <a:lt1>
        <a:sysClr val="window" lastClr="FFFFFF"/>
      </a:lt1>
      <a:dk2>
        <a:srgbClr val="343434"/>
      </a:dk2>
      <a:lt2>
        <a:srgbClr val="E6E6E6"/>
      </a:lt2>
      <a:accent1>
        <a:srgbClr val="95D600"/>
      </a:accent1>
      <a:accent2>
        <a:srgbClr val="00A03A"/>
      </a:accent2>
      <a:accent3>
        <a:srgbClr val="00A1DF"/>
      </a:accent3>
      <a:accent4>
        <a:srgbClr val="005CB9"/>
      </a:accent4>
      <a:accent5>
        <a:srgbClr val="878787"/>
      </a:accent5>
      <a:accent6>
        <a:srgbClr val="595959"/>
      </a:accent6>
      <a:hlink>
        <a:srgbClr val="000000"/>
      </a:hlink>
      <a:folHlink>
        <a:srgbClr val="000000"/>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4.xml><?xml version="1.0" encoding="utf-8"?>
<a:theme xmlns:a="http://schemas.openxmlformats.org/drawingml/2006/main" name="9_Gavi_v9">
  <a:themeElements>
    <a:clrScheme name="Custom 1">
      <a:dk1>
        <a:sysClr val="windowText" lastClr="000000"/>
      </a:dk1>
      <a:lt1>
        <a:sysClr val="window" lastClr="FFFFFF"/>
      </a:lt1>
      <a:dk2>
        <a:srgbClr val="343434"/>
      </a:dk2>
      <a:lt2>
        <a:srgbClr val="E6E6E6"/>
      </a:lt2>
      <a:accent1>
        <a:srgbClr val="95D600"/>
      </a:accent1>
      <a:accent2>
        <a:srgbClr val="00A03A"/>
      </a:accent2>
      <a:accent3>
        <a:srgbClr val="00A1DF"/>
      </a:accent3>
      <a:accent4>
        <a:srgbClr val="005CB9"/>
      </a:accent4>
      <a:accent5>
        <a:srgbClr val="878787"/>
      </a:accent5>
      <a:accent6>
        <a:srgbClr val="595959"/>
      </a:accent6>
      <a:hlink>
        <a:srgbClr val="000000"/>
      </a:hlink>
      <a:folHlink>
        <a:srgbClr val="000000"/>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5.xml><?xml version="1.0" encoding="utf-8"?>
<a:theme xmlns:a="http://schemas.openxmlformats.org/drawingml/2006/main" name="10_Gavi_v9">
  <a:themeElements>
    <a:clrScheme name="Custom 1">
      <a:dk1>
        <a:sysClr val="windowText" lastClr="000000"/>
      </a:dk1>
      <a:lt1>
        <a:sysClr val="window" lastClr="FFFFFF"/>
      </a:lt1>
      <a:dk2>
        <a:srgbClr val="343434"/>
      </a:dk2>
      <a:lt2>
        <a:srgbClr val="E6E6E6"/>
      </a:lt2>
      <a:accent1>
        <a:srgbClr val="95D600"/>
      </a:accent1>
      <a:accent2>
        <a:srgbClr val="00A03A"/>
      </a:accent2>
      <a:accent3>
        <a:srgbClr val="00A1DF"/>
      </a:accent3>
      <a:accent4>
        <a:srgbClr val="005CB9"/>
      </a:accent4>
      <a:accent5>
        <a:srgbClr val="878787"/>
      </a:accent5>
      <a:accent6>
        <a:srgbClr val="595959"/>
      </a:accent6>
      <a:hlink>
        <a:srgbClr val="000000"/>
      </a:hlink>
      <a:folHlink>
        <a:srgbClr val="000000"/>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6.xml><?xml version="1.0" encoding="utf-8"?>
<a:theme xmlns:a="http://schemas.openxmlformats.org/drawingml/2006/main" name="11_Gavi_v9">
  <a:themeElements>
    <a:clrScheme name="Custom 1">
      <a:dk1>
        <a:sysClr val="windowText" lastClr="000000"/>
      </a:dk1>
      <a:lt1>
        <a:sysClr val="window" lastClr="FFFFFF"/>
      </a:lt1>
      <a:dk2>
        <a:srgbClr val="343434"/>
      </a:dk2>
      <a:lt2>
        <a:srgbClr val="E6E6E6"/>
      </a:lt2>
      <a:accent1>
        <a:srgbClr val="95D600"/>
      </a:accent1>
      <a:accent2>
        <a:srgbClr val="00A03A"/>
      </a:accent2>
      <a:accent3>
        <a:srgbClr val="00A1DF"/>
      </a:accent3>
      <a:accent4>
        <a:srgbClr val="005CB9"/>
      </a:accent4>
      <a:accent5>
        <a:srgbClr val="878787"/>
      </a:accent5>
      <a:accent6>
        <a:srgbClr val="595959"/>
      </a:accent6>
      <a:hlink>
        <a:srgbClr val="000000"/>
      </a:hlink>
      <a:folHlink>
        <a:srgbClr val="000000"/>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7.xml><?xml version="1.0" encoding="utf-8"?>
<a:theme xmlns:a="http://schemas.openxmlformats.org/drawingml/2006/main" name="12_Gavi_v9">
  <a:themeElements>
    <a:clrScheme name="Custom 1">
      <a:dk1>
        <a:sysClr val="windowText" lastClr="000000"/>
      </a:dk1>
      <a:lt1>
        <a:sysClr val="window" lastClr="FFFFFF"/>
      </a:lt1>
      <a:dk2>
        <a:srgbClr val="343434"/>
      </a:dk2>
      <a:lt2>
        <a:srgbClr val="E6E6E6"/>
      </a:lt2>
      <a:accent1>
        <a:srgbClr val="95D600"/>
      </a:accent1>
      <a:accent2>
        <a:srgbClr val="00A03A"/>
      </a:accent2>
      <a:accent3>
        <a:srgbClr val="00A1DF"/>
      </a:accent3>
      <a:accent4>
        <a:srgbClr val="005CB9"/>
      </a:accent4>
      <a:accent5>
        <a:srgbClr val="878787"/>
      </a:accent5>
      <a:accent6>
        <a:srgbClr val="595959"/>
      </a:accent6>
      <a:hlink>
        <a:srgbClr val="000000"/>
      </a:hlink>
      <a:folHlink>
        <a:srgbClr val="000000"/>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8.xml><?xml version="1.0" encoding="utf-8"?>
<a:theme xmlns:a="http://schemas.openxmlformats.org/drawingml/2006/main" name="13_Gavi_v9">
  <a:themeElements>
    <a:clrScheme name="Custom 1">
      <a:dk1>
        <a:sysClr val="windowText" lastClr="000000"/>
      </a:dk1>
      <a:lt1>
        <a:sysClr val="window" lastClr="FFFFFF"/>
      </a:lt1>
      <a:dk2>
        <a:srgbClr val="343434"/>
      </a:dk2>
      <a:lt2>
        <a:srgbClr val="E6E6E6"/>
      </a:lt2>
      <a:accent1>
        <a:srgbClr val="95D600"/>
      </a:accent1>
      <a:accent2>
        <a:srgbClr val="00A03A"/>
      </a:accent2>
      <a:accent3>
        <a:srgbClr val="00A1DF"/>
      </a:accent3>
      <a:accent4>
        <a:srgbClr val="005CB9"/>
      </a:accent4>
      <a:accent5>
        <a:srgbClr val="878787"/>
      </a:accent5>
      <a:accent6>
        <a:srgbClr val="595959"/>
      </a:accent6>
      <a:hlink>
        <a:srgbClr val="000000"/>
      </a:hlink>
      <a:folHlink>
        <a:srgbClr val="000000"/>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9.xml><?xml version="1.0" encoding="utf-8"?>
<a:theme xmlns:a="http://schemas.openxmlformats.org/drawingml/2006/main" name="FULL_Gavi_PPT_TEMPLATE 2">
  <a:themeElements>
    <a:clrScheme name="Gavi">
      <a:dk1>
        <a:srgbClr val="343434"/>
      </a:dk1>
      <a:lt1>
        <a:sysClr val="window" lastClr="FFFFFF"/>
      </a:lt1>
      <a:dk2>
        <a:srgbClr val="F59BBB"/>
      </a:dk2>
      <a:lt2>
        <a:srgbClr val="878787"/>
      </a:lt2>
      <a:accent1>
        <a:srgbClr val="005CB9"/>
      </a:accent1>
      <a:accent2>
        <a:srgbClr val="00A1DF"/>
      </a:accent2>
      <a:accent3>
        <a:srgbClr val="95D600"/>
      </a:accent3>
      <a:accent4>
        <a:srgbClr val="A51890"/>
      </a:accent4>
      <a:accent5>
        <a:srgbClr val="CE0F69"/>
      </a:accent5>
      <a:accent6>
        <a:srgbClr val="005A70"/>
      </a:accent6>
      <a:hlink>
        <a:srgbClr val="343434"/>
      </a:hlink>
      <a:folHlink>
        <a:srgbClr val="343434"/>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Gavi ppt template_full.potx [Read-Only]" id="{EFA8E062-70A8-4D7E-9592-11E2FFA7FC6A}" vid="{4A8C1E53-84B8-4886-A245-17CE9BC5CD67}"/>
    </a:ext>
  </a:extLst>
</a:theme>
</file>

<file path=ppt/theme/theme2.xml><?xml version="1.0" encoding="utf-8"?>
<a:theme xmlns:a="http://schemas.openxmlformats.org/drawingml/2006/main" name="Gavi_v9">
  <a:themeElements>
    <a:clrScheme name="Custom 1">
      <a:dk1>
        <a:sysClr val="windowText" lastClr="000000"/>
      </a:dk1>
      <a:lt1>
        <a:sysClr val="window" lastClr="FFFFFF"/>
      </a:lt1>
      <a:dk2>
        <a:srgbClr val="343434"/>
      </a:dk2>
      <a:lt2>
        <a:srgbClr val="E6E6E6"/>
      </a:lt2>
      <a:accent1>
        <a:srgbClr val="95D600"/>
      </a:accent1>
      <a:accent2>
        <a:srgbClr val="00A03A"/>
      </a:accent2>
      <a:accent3>
        <a:srgbClr val="00A1DF"/>
      </a:accent3>
      <a:accent4>
        <a:srgbClr val="005CB9"/>
      </a:accent4>
      <a:accent5>
        <a:srgbClr val="878787"/>
      </a:accent5>
      <a:accent6>
        <a:srgbClr val="595959"/>
      </a:accent6>
      <a:hlink>
        <a:srgbClr val="000000"/>
      </a:hlink>
      <a:folHlink>
        <a:srgbClr val="000000"/>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0.xml><?xml version="1.0" encoding="utf-8"?>
<a:theme xmlns:a="http://schemas.openxmlformats.org/drawingml/2006/main" name="14_Gavi_v9">
  <a:themeElements>
    <a:clrScheme name="Custom 1">
      <a:dk1>
        <a:sysClr val="windowText" lastClr="000000"/>
      </a:dk1>
      <a:lt1>
        <a:sysClr val="window" lastClr="FFFFFF"/>
      </a:lt1>
      <a:dk2>
        <a:srgbClr val="343434"/>
      </a:dk2>
      <a:lt2>
        <a:srgbClr val="E6E6E6"/>
      </a:lt2>
      <a:accent1>
        <a:srgbClr val="95D600"/>
      </a:accent1>
      <a:accent2>
        <a:srgbClr val="00A03A"/>
      </a:accent2>
      <a:accent3>
        <a:srgbClr val="00A1DF"/>
      </a:accent3>
      <a:accent4>
        <a:srgbClr val="005CB9"/>
      </a:accent4>
      <a:accent5>
        <a:srgbClr val="878787"/>
      </a:accent5>
      <a:accent6>
        <a:srgbClr val="595959"/>
      </a:accent6>
      <a:hlink>
        <a:srgbClr val="000000"/>
      </a:hlink>
      <a:folHlink>
        <a:srgbClr val="000000"/>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1.xml><?xml version="1.0" encoding="utf-8"?>
<a:theme xmlns:a="http://schemas.openxmlformats.org/drawingml/2006/main" name="15_Gavi_v9">
  <a:themeElements>
    <a:clrScheme name="Custom 1">
      <a:dk1>
        <a:sysClr val="windowText" lastClr="000000"/>
      </a:dk1>
      <a:lt1>
        <a:sysClr val="window" lastClr="FFFFFF"/>
      </a:lt1>
      <a:dk2>
        <a:srgbClr val="343434"/>
      </a:dk2>
      <a:lt2>
        <a:srgbClr val="E6E6E6"/>
      </a:lt2>
      <a:accent1>
        <a:srgbClr val="95D600"/>
      </a:accent1>
      <a:accent2>
        <a:srgbClr val="00A03A"/>
      </a:accent2>
      <a:accent3>
        <a:srgbClr val="00A1DF"/>
      </a:accent3>
      <a:accent4>
        <a:srgbClr val="005CB9"/>
      </a:accent4>
      <a:accent5>
        <a:srgbClr val="878787"/>
      </a:accent5>
      <a:accent6>
        <a:srgbClr val="595959"/>
      </a:accent6>
      <a:hlink>
        <a:srgbClr val="000000"/>
      </a:hlink>
      <a:folHlink>
        <a:srgbClr val="000000"/>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2.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Gavi_v9">
  <a:themeElements>
    <a:clrScheme name="Custom 1">
      <a:dk1>
        <a:sysClr val="windowText" lastClr="000000"/>
      </a:dk1>
      <a:lt1>
        <a:sysClr val="window" lastClr="FFFFFF"/>
      </a:lt1>
      <a:dk2>
        <a:srgbClr val="343434"/>
      </a:dk2>
      <a:lt2>
        <a:srgbClr val="E6E6E6"/>
      </a:lt2>
      <a:accent1>
        <a:srgbClr val="95D600"/>
      </a:accent1>
      <a:accent2>
        <a:srgbClr val="00A03A"/>
      </a:accent2>
      <a:accent3>
        <a:srgbClr val="00A1DF"/>
      </a:accent3>
      <a:accent4>
        <a:srgbClr val="005CB9"/>
      </a:accent4>
      <a:accent5>
        <a:srgbClr val="878787"/>
      </a:accent5>
      <a:accent6>
        <a:srgbClr val="595959"/>
      </a:accent6>
      <a:hlink>
        <a:srgbClr val="000000"/>
      </a:hlink>
      <a:folHlink>
        <a:srgbClr val="000000"/>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4_Gavi_v9">
  <a:themeElements>
    <a:clrScheme name="Custom 1">
      <a:dk1>
        <a:sysClr val="windowText" lastClr="000000"/>
      </a:dk1>
      <a:lt1>
        <a:sysClr val="window" lastClr="FFFFFF"/>
      </a:lt1>
      <a:dk2>
        <a:srgbClr val="343434"/>
      </a:dk2>
      <a:lt2>
        <a:srgbClr val="E6E6E6"/>
      </a:lt2>
      <a:accent1>
        <a:srgbClr val="95D600"/>
      </a:accent1>
      <a:accent2>
        <a:srgbClr val="00A03A"/>
      </a:accent2>
      <a:accent3>
        <a:srgbClr val="00A1DF"/>
      </a:accent3>
      <a:accent4>
        <a:srgbClr val="005CB9"/>
      </a:accent4>
      <a:accent5>
        <a:srgbClr val="878787"/>
      </a:accent5>
      <a:accent6>
        <a:srgbClr val="595959"/>
      </a:accent6>
      <a:hlink>
        <a:srgbClr val="000000"/>
      </a:hlink>
      <a:folHlink>
        <a:srgbClr val="000000"/>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2_Gavi_v9">
  <a:themeElements>
    <a:clrScheme name="Custom 1">
      <a:dk1>
        <a:sysClr val="windowText" lastClr="000000"/>
      </a:dk1>
      <a:lt1>
        <a:sysClr val="window" lastClr="FFFFFF"/>
      </a:lt1>
      <a:dk2>
        <a:srgbClr val="343434"/>
      </a:dk2>
      <a:lt2>
        <a:srgbClr val="E6E6E6"/>
      </a:lt2>
      <a:accent1>
        <a:srgbClr val="95D600"/>
      </a:accent1>
      <a:accent2>
        <a:srgbClr val="00A03A"/>
      </a:accent2>
      <a:accent3>
        <a:srgbClr val="00A1DF"/>
      </a:accent3>
      <a:accent4>
        <a:srgbClr val="005CB9"/>
      </a:accent4>
      <a:accent5>
        <a:srgbClr val="878787"/>
      </a:accent5>
      <a:accent6>
        <a:srgbClr val="595959"/>
      </a:accent6>
      <a:hlink>
        <a:srgbClr val="000000"/>
      </a:hlink>
      <a:folHlink>
        <a:srgbClr val="000000"/>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5_Gavi_v9">
  <a:themeElements>
    <a:clrScheme name="Custom 1">
      <a:dk1>
        <a:sysClr val="windowText" lastClr="000000"/>
      </a:dk1>
      <a:lt1>
        <a:sysClr val="window" lastClr="FFFFFF"/>
      </a:lt1>
      <a:dk2>
        <a:srgbClr val="343434"/>
      </a:dk2>
      <a:lt2>
        <a:srgbClr val="E6E6E6"/>
      </a:lt2>
      <a:accent1>
        <a:srgbClr val="95D600"/>
      </a:accent1>
      <a:accent2>
        <a:srgbClr val="00A03A"/>
      </a:accent2>
      <a:accent3>
        <a:srgbClr val="00A1DF"/>
      </a:accent3>
      <a:accent4>
        <a:srgbClr val="005CB9"/>
      </a:accent4>
      <a:accent5>
        <a:srgbClr val="878787"/>
      </a:accent5>
      <a:accent6>
        <a:srgbClr val="595959"/>
      </a:accent6>
      <a:hlink>
        <a:srgbClr val="000000"/>
      </a:hlink>
      <a:folHlink>
        <a:srgbClr val="000000"/>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1_Gavi_v11">
  <a:themeElements>
    <a:clrScheme name="Gavi">
      <a:dk1>
        <a:srgbClr val="343434"/>
      </a:dk1>
      <a:lt1>
        <a:sysClr val="window" lastClr="FFFFFF"/>
      </a:lt1>
      <a:dk2>
        <a:srgbClr val="F59BBB"/>
      </a:dk2>
      <a:lt2>
        <a:srgbClr val="878787"/>
      </a:lt2>
      <a:accent1>
        <a:srgbClr val="005CB9"/>
      </a:accent1>
      <a:accent2>
        <a:srgbClr val="00A1DF"/>
      </a:accent2>
      <a:accent3>
        <a:srgbClr val="95D600"/>
      </a:accent3>
      <a:accent4>
        <a:srgbClr val="A51890"/>
      </a:accent4>
      <a:accent5>
        <a:srgbClr val="CE0F69"/>
      </a:accent5>
      <a:accent6>
        <a:srgbClr val="005A70"/>
      </a:accent6>
      <a:hlink>
        <a:srgbClr val="343434"/>
      </a:hlink>
      <a:folHlink>
        <a:srgbClr val="343434"/>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3_Gavi_v9">
  <a:themeElements>
    <a:clrScheme name="Custom 1">
      <a:dk1>
        <a:sysClr val="windowText" lastClr="000000"/>
      </a:dk1>
      <a:lt1>
        <a:sysClr val="window" lastClr="FFFFFF"/>
      </a:lt1>
      <a:dk2>
        <a:srgbClr val="343434"/>
      </a:dk2>
      <a:lt2>
        <a:srgbClr val="E6E6E6"/>
      </a:lt2>
      <a:accent1>
        <a:srgbClr val="95D600"/>
      </a:accent1>
      <a:accent2>
        <a:srgbClr val="00A03A"/>
      </a:accent2>
      <a:accent3>
        <a:srgbClr val="00A1DF"/>
      </a:accent3>
      <a:accent4>
        <a:srgbClr val="005CB9"/>
      </a:accent4>
      <a:accent5>
        <a:srgbClr val="878787"/>
      </a:accent5>
      <a:accent6>
        <a:srgbClr val="595959"/>
      </a:accent6>
      <a:hlink>
        <a:srgbClr val="000000"/>
      </a:hlink>
      <a:folHlink>
        <a:srgbClr val="000000"/>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9.xml><?xml version="1.0" encoding="utf-8"?>
<a:theme xmlns:a="http://schemas.openxmlformats.org/drawingml/2006/main" name="6_Gavi_v9">
  <a:themeElements>
    <a:clrScheme name="Custom 1">
      <a:dk1>
        <a:sysClr val="windowText" lastClr="000000"/>
      </a:dk1>
      <a:lt1>
        <a:sysClr val="window" lastClr="FFFFFF"/>
      </a:lt1>
      <a:dk2>
        <a:srgbClr val="343434"/>
      </a:dk2>
      <a:lt2>
        <a:srgbClr val="E6E6E6"/>
      </a:lt2>
      <a:accent1>
        <a:srgbClr val="95D600"/>
      </a:accent1>
      <a:accent2>
        <a:srgbClr val="00A03A"/>
      </a:accent2>
      <a:accent3>
        <a:srgbClr val="00A1DF"/>
      </a:accent3>
      <a:accent4>
        <a:srgbClr val="005CB9"/>
      </a:accent4>
      <a:accent5>
        <a:srgbClr val="878787"/>
      </a:accent5>
      <a:accent6>
        <a:srgbClr val="595959"/>
      </a:accent6>
      <a:hlink>
        <a:srgbClr val="000000"/>
      </a:hlink>
      <a:folHlink>
        <a:srgbClr val="000000"/>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E00F1E29967BCF46B2042BA0FD2A930E" ma:contentTypeVersion="2" ma:contentTypeDescription="Create a new document." ma:contentTypeScope="" ma:versionID="4ec1b6501a7bd9590342abd2dcb71cbd">
  <xsd:schema xmlns:xsd="http://www.w3.org/2001/XMLSchema" xmlns:p="http://schemas.microsoft.com/office/2006/metadata/properties" xmlns:ns2="4da83286-743c-4061-996c-b2dfddb10c52" targetNamespace="http://schemas.microsoft.com/office/2006/metadata/properties" ma:root="true" ma:fieldsID="3f9e8d88439821ed0dccd5bde7d09a0c" ns2:_="">
    <xsd:import namespace="4da83286-743c-4061-996c-b2dfddb10c52"/>
    <xsd:element name="properties">
      <xsd:complexType>
        <xsd:sequence>
          <xsd:element name="documentManagement">
            <xsd:complexType>
              <xsd:all>
                <xsd:element ref="ns2:TemplateType" minOccurs="0"/>
                <xsd:element ref="ns2:Doctype" minOccurs="0"/>
              </xsd:all>
            </xsd:complexType>
          </xsd:element>
        </xsd:sequence>
      </xsd:complexType>
    </xsd:element>
  </xsd:schema>
  <xsd:schema xmlns:xsd="http://www.w3.org/2001/XMLSchema" xmlns:dms="http://schemas.microsoft.com/office/2006/documentManagement/types" targetNamespace="4da83286-743c-4061-996c-b2dfddb10c52" elementFormDefault="qualified">
    <xsd:import namespace="http://schemas.microsoft.com/office/2006/documentManagement/types"/>
    <xsd:element name="TemplateType" ma:index="8" nillable="true" ma:displayName="TemplateType" ma:default="New" ma:format="Dropdown" ma:internalName="TemplateType">
      <xsd:simpleType>
        <xsd:restriction base="dms:Choice">
          <xsd:enumeration value="New"/>
        </xsd:restriction>
      </xsd:simpleType>
    </xsd:element>
    <xsd:element name="Doctype" ma:index="9" nillable="true" ma:displayName="Doctype" ma:default="Template" ma:format="Dropdown" ma:internalName="Doctype">
      <xsd:simpleType>
        <xsd:restriction base="dms:Choice">
          <xsd:enumeration value="Template"/>
          <xsd:enumeration value="Presentation"/>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office/internal/2005/internalDocumentation"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ma:readOnly="tru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lastPrinted" minOccurs="0" maxOccurs="1" type="xsd:dateTime"/>
        <xsd:element name="contentStatus" minOccurs="0" maxOccurs="1" type="xsd:string"/>
      </xsd:all>
    </xsd:complexType>
  </xsd: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documentManagement>
    <TemplateType xmlns="4da83286-743c-4061-996c-b2dfddb10c52">New</TemplateType>
    <Doctype xmlns="4da83286-743c-4061-996c-b2dfddb10c52">Template</Doctype>
  </documentManagement>
</p:properties>
</file>

<file path=customXml/itemProps1.xml><?xml version="1.0" encoding="utf-8"?>
<ds:datastoreItem xmlns:ds="http://schemas.openxmlformats.org/officeDocument/2006/customXml" ds:itemID="{8939FC58-4A9C-4582-A9FD-D6972A381F0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da83286-743c-4061-996c-b2dfddb10c52"/>
    <ds:schemaRef ds:uri="http://schemas.microsoft.com/office/2006/documentManagement/types"/>
    <ds:schemaRef ds:uri="http://schemas.openxmlformats.org/package/2006/metadata/core-properties"/>
    <ds:schemaRef ds:uri="http://purl.org/dc/elements/1.1/"/>
    <ds:schemaRef ds:uri="http://purl.org/dc/terms/"/>
    <ds:schemaRef ds:uri="http://schemas.microsoft.com/office/internal/2005/internalDocumentation"/>
  </ds:schemaRefs>
</ds:datastoreItem>
</file>

<file path=customXml/itemProps2.xml><?xml version="1.0" encoding="utf-8"?>
<ds:datastoreItem xmlns:ds="http://schemas.openxmlformats.org/officeDocument/2006/customXml" ds:itemID="{A9C6E5ED-1DD9-4222-B33E-D82545032C3C}">
  <ds:schemaRefs>
    <ds:schemaRef ds:uri="http://schemas.microsoft.com/sharepoint/v3/contenttype/forms"/>
  </ds:schemaRefs>
</ds:datastoreItem>
</file>

<file path=customXml/itemProps3.xml><?xml version="1.0" encoding="utf-8"?>
<ds:datastoreItem xmlns:ds="http://schemas.openxmlformats.org/officeDocument/2006/customXml" ds:itemID="{1ACA9646-39BE-4D64-9974-387FB3072E44}">
  <ds:schemaRefs>
    <ds:schemaRef ds:uri="4da83286-743c-4061-996c-b2dfddb10c52"/>
    <ds:schemaRef ds:uri="http://purl.org/dc/terms/"/>
    <ds:schemaRef ds:uri="http://schemas.openxmlformats.org/package/2006/metadata/core-properties"/>
    <ds:schemaRef ds:uri="http://schemas.microsoft.com/office/2006/documentManagement/types"/>
    <ds:schemaRef ds:uri="http://purl.org/dc/elements/1.1/"/>
    <ds:schemaRef ds:uri="http://schemas.microsoft.com/office/2006/metadata/propertie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otalTime>3691</TotalTime>
  <Words>2233</Words>
  <Application>Microsoft Office PowerPoint</Application>
  <PresentationFormat>On-screen Show (4:3)</PresentationFormat>
  <Paragraphs>348</Paragraphs>
  <Slides>15</Slides>
  <Notes>11</Notes>
  <HiddenSlides>0</HiddenSlides>
  <MMClips>0</MMClips>
  <ScaleCrop>false</ScaleCrop>
  <HeadingPairs>
    <vt:vector size="8" baseType="variant">
      <vt:variant>
        <vt:lpstr>Fonts Used</vt:lpstr>
      </vt:variant>
      <vt:variant>
        <vt:i4>6</vt:i4>
      </vt:variant>
      <vt:variant>
        <vt:lpstr>Theme</vt:lpstr>
      </vt:variant>
      <vt:variant>
        <vt:i4>21</vt:i4>
      </vt:variant>
      <vt:variant>
        <vt:lpstr>Embedded OLE Servers</vt:lpstr>
      </vt:variant>
      <vt:variant>
        <vt:i4>1</vt:i4>
      </vt:variant>
      <vt:variant>
        <vt:lpstr>Slide Titles</vt:lpstr>
      </vt:variant>
      <vt:variant>
        <vt:i4>15</vt:i4>
      </vt:variant>
    </vt:vector>
  </HeadingPairs>
  <TitlesOfParts>
    <vt:vector size="43" baseType="lpstr">
      <vt:lpstr>Arial Unicode MS</vt:lpstr>
      <vt:lpstr>ＭＳ Ｐゴシック</vt:lpstr>
      <vt:lpstr>Arial</vt:lpstr>
      <vt:lpstr>Calibri</vt:lpstr>
      <vt:lpstr>Wingdings</vt:lpstr>
      <vt:lpstr>ヒラギノ角ゴ Pro W3</vt:lpstr>
      <vt:lpstr>Gavi_v11</vt:lpstr>
      <vt:lpstr>Gavi_v9</vt:lpstr>
      <vt:lpstr>1_Gavi_v9</vt:lpstr>
      <vt:lpstr>4_Gavi_v9</vt:lpstr>
      <vt:lpstr>2_Gavi_v9</vt:lpstr>
      <vt:lpstr>5_Gavi_v9</vt:lpstr>
      <vt:lpstr>1_Gavi_v11</vt:lpstr>
      <vt:lpstr>3_Gavi_v9</vt:lpstr>
      <vt:lpstr>6_Gavi_v9</vt:lpstr>
      <vt:lpstr>7_Gavi_v9</vt:lpstr>
      <vt:lpstr>4_Gavi_CF_GAE403</vt:lpstr>
      <vt:lpstr>Gavi_CF_GAE403</vt:lpstr>
      <vt:lpstr>8_Gavi_v9</vt:lpstr>
      <vt:lpstr>9_Gavi_v9</vt:lpstr>
      <vt:lpstr>10_Gavi_v9</vt:lpstr>
      <vt:lpstr>11_Gavi_v9</vt:lpstr>
      <vt:lpstr>12_Gavi_v9</vt:lpstr>
      <vt:lpstr>13_Gavi_v9</vt:lpstr>
      <vt:lpstr>FULL_Gavi_PPT_TEMPLATE 2</vt:lpstr>
      <vt:lpstr>14_Gavi_v9</vt:lpstr>
      <vt:lpstr>15_Gavi_v9</vt:lpstr>
      <vt:lpstr>think-cell Slide</vt:lpstr>
      <vt:lpstr>PowerPoint Presentation</vt:lpstr>
      <vt:lpstr>Measles and Rubella support in Gavi countries by end of 2016</vt:lpstr>
      <vt:lpstr>Nonetheless, MCV1 coverage has  stagnated in Gavi countries </vt:lpstr>
      <vt:lpstr>Gavi’s new Measles and Rubella Strategy: Best pragmatic return on investment </vt:lpstr>
      <vt:lpstr>Gavi investments in Measles and Rubella programmes, 2000-2025</vt:lpstr>
      <vt:lpstr>Gavi &amp; LCIF Partnership: Social Mobilisation</vt:lpstr>
      <vt:lpstr>Gavi, the Vaccine Alliance strategy, 2016-2020 Renewed focus and shared accountability on Measles and Rubella</vt:lpstr>
      <vt:lpstr>PowerPoint Presentation</vt:lpstr>
      <vt:lpstr>Gavi forecasted expenditure for all programmes, 2000-2015 and 2016-2020</vt:lpstr>
      <vt:lpstr>PREVIOUS Gavi Measles-Rubella ProgramME</vt:lpstr>
      <vt:lpstr>Gavi supported 50 Measles and Rubella programmes by end 2016</vt:lpstr>
      <vt:lpstr>Gavi support to enable successful implementation of Measles and Rubella strategy</vt:lpstr>
      <vt:lpstr>1. NVS for Measles and Rubella</vt:lpstr>
      <vt:lpstr>PowerPoint Presentation</vt:lpstr>
      <vt:lpstr>2. PEF Targeted Country Assistance (TCA): High-level identification of technical assistance needs takes place during country-led processes</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Lissy Moskowitz</dc:creator>
  <cp:lastModifiedBy>Noe, James</cp:lastModifiedBy>
  <cp:revision>50</cp:revision>
  <cp:lastPrinted>2017-09-07T17:25:25Z</cp:lastPrinted>
  <dcterms:modified xsi:type="dcterms:W3CDTF">2017-09-07T18:20:2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00F1E29967BCF46B2042BA0FD2A930E</vt:lpwstr>
  </property>
  <property fmtid="{D5CDD505-2E9C-101B-9397-08002B2CF9AE}" pid="3" name="Order">
    <vt:r8>1300</vt:r8>
  </property>
</Properties>
</file>